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3.xml" ContentType="application/vnd.openxmlformats-officedocument.theme+xml"/>
  <Override PartName="/ppt/tags/tag6.xml" ContentType="application/vnd.openxmlformats-officedocument.presentationml.tags+xml"/>
  <Override PartName="/ppt/theme/themeOverride1.xml" ContentType="application/vnd.openxmlformats-officedocument.themeOverr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4.xml" ContentType="application/vnd.openxmlformats-officedocument.theme+xml"/>
  <Override PartName="/ppt/tags/tag13.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5.xml" ContentType="application/vnd.openxmlformats-officedocument.theme+xml"/>
  <Override PartName="/ppt/tags/tag14.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6.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heme/theme7.xml" ContentType="application/vnd.openxmlformats-officedocument.theme+xml"/>
  <Override PartName="/ppt/theme/theme8.xml" ContentType="application/vnd.openxmlformats-officedocument.theme+xml"/>
  <Override PartName="/ppt/tags/tag18.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84" r:id="rId1"/>
    <p:sldMasterId id="2147483697" r:id="rId2"/>
    <p:sldMasterId id="2147483700" r:id="rId3"/>
    <p:sldMasterId id="2147483726" r:id="rId4"/>
    <p:sldMasterId id="2147483731" r:id="rId5"/>
    <p:sldMasterId id="2147483734" r:id="rId6"/>
  </p:sldMasterIdLst>
  <p:notesMasterIdLst>
    <p:notesMasterId r:id="rId17"/>
  </p:notesMasterIdLst>
  <p:handoutMasterIdLst>
    <p:handoutMasterId r:id="rId18"/>
  </p:handoutMasterIdLst>
  <p:sldIdLst>
    <p:sldId id="329" r:id="rId7"/>
    <p:sldId id="4137" r:id="rId8"/>
    <p:sldId id="4138" r:id="rId9"/>
    <p:sldId id="4132" r:id="rId10"/>
    <p:sldId id="4135" r:id="rId11"/>
    <p:sldId id="4136" r:id="rId12"/>
    <p:sldId id="4140" r:id="rId13"/>
    <p:sldId id="4141" r:id="rId14"/>
    <p:sldId id="267" r:id="rId15"/>
    <p:sldId id="4134" r:id="rId16"/>
  </p:sldIdLst>
  <p:sldSz cx="12192000" cy="6858000"/>
  <p:notesSz cx="6794500" cy="9906000"/>
  <p:custDataLst>
    <p:tags r:id="rId1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user" initials="u" lastIdx="1" clrIdx="0">
    <p:extLst>
      <p:ext uri="{19B8F6BF-5375-455C-9EA6-DF929625EA0E}">
        <p15:presenceInfo xmlns:p15="http://schemas.microsoft.com/office/powerpoint/2012/main" userId="f3861667-b52a-4cad-a58b-0961775f0ef2"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15FA8"/>
    <a:srgbClr val="004A96"/>
    <a:srgbClr val="21A0D2"/>
    <a:srgbClr val="4A66AC"/>
    <a:srgbClr val="6DB426"/>
    <a:srgbClr val="9A9792"/>
    <a:srgbClr val="013874"/>
    <a:srgbClr val="4966AC"/>
    <a:srgbClr val="C60021"/>
    <a:srgbClr val="21A0D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173" autoAdjust="0"/>
    <p:restoredTop sz="82245" autoAdjust="0"/>
  </p:normalViewPr>
  <p:slideViewPr>
    <p:cSldViewPr snapToGrid="0" snapToObjects="1">
      <p:cViewPr varScale="1">
        <p:scale>
          <a:sx n="66" d="100"/>
          <a:sy n="66" d="100"/>
        </p:scale>
        <p:origin x="1382" y="43"/>
      </p:cViewPr>
      <p:guideLst/>
    </p:cSldViewPr>
  </p:slideViewPr>
  <p:notesTextViewPr>
    <p:cViewPr>
      <p:scale>
        <a:sx n="1" d="1"/>
        <a:sy n="1" d="1"/>
      </p:scale>
      <p:origin x="0" y="0"/>
    </p:cViewPr>
  </p:notesTextViewPr>
  <p:sorterViewPr>
    <p:cViewPr>
      <p:scale>
        <a:sx n="100" d="100"/>
        <a:sy n="100" d="100"/>
      </p:scale>
      <p:origin x="0" y="0"/>
    </p:cViewPr>
  </p:sorterViewPr>
  <p:notesViewPr>
    <p:cSldViewPr snapToGrid="0" snapToObjects="1">
      <p:cViewPr varScale="1">
        <p:scale>
          <a:sx n="88" d="100"/>
          <a:sy n="88" d="100"/>
        </p:scale>
        <p:origin x="2736" y="19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handoutMaster" Target="handoutMasters/handoutMaster1.xml"/><Relationship Id="rId3" Type="http://schemas.openxmlformats.org/officeDocument/2006/relationships/slideMaster" Target="slideMasters/slideMaster3.xml"/><Relationship Id="rId21" Type="http://schemas.openxmlformats.org/officeDocument/2006/relationships/presProps" Target="pres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notesMaster" Target="notesMasters/notesMaster1.xml"/><Relationship Id="rId25" Type="http://schemas.microsoft.com/office/2016/11/relationships/changesInfo" Target="changesInfos/changesInfo1.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theme" Target="theme/theme1.xml"/><Relationship Id="rId10" Type="http://schemas.openxmlformats.org/officeDocument/2006/relationships/slide" Target="slides/slide4.xml"/><Relationship Id="rId19" Type="http://schemas.openxmlformats.org/officeDocument/2006/relationships/tags" Target="tags/tag1.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an QIN" userId="41f7588c-b4dd-4b17-9f2b-64ea31aabb9e" providerId="ADAL" clId="{077A8A56-E29D-479F-85B1-9317F7296F5F}"/>
    <pc:docChg chg="delSld">
      <pc:chgData name="Han QIN" userId="41f7588c-b4dd-4b17-9f2b-64ea31aabb9e" providerId="ADAL" clId="{077A8A56-E29D-479F-85B1-9317F7296F5F}" dt="2019-06-20T06:27:22.164" v="0" actId="2696"/>
      <pc:docMkLst>
        <pc:docMk/>
      </pc:docMkLst>
      <pc:sldChg chg="del">
        <pc:chgData name="Han QIN" userId="41f7588c-b4dd-4b17-9f2b-64ea31aabb9e" providerId="ADAL" clId="{077A8A56-E29D-479F-85B1-9317F7296F5F}" dt="2019-06-20T06:27:22.164" v="0" actId="2696"/>
        <pc:sldMkLst>
          <pc:docMk/>
          <pc:sldMk cId="4107202099" sldId="264"/>
        </pc:sldMkLst>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8A60C1-AD12-4345-BD1A-21D4430AE1B5}"/>
              </a:ext>
            </a:extLst>
          </p:cNvPr>
          <p:cNvSpPr>
            <a:spLocks noGrp="1"/>
          </p:cNvSpPr>
          <p:nvPr>
            <p:ph type="hdr" sz="quarter"/>
          </p:nvPr>
        </p:nvSpPr>
        <p:spPr>
          <a:xfrm>
            <a:off x="0" y="0"/>
            <a:ext cx="2944283" cy="497020"/>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214A37D6-22D2-8149-899D-FAA84E656F55}"/>
              </a:ext>
            </a:extLst>
          </p:cNvPr>
          <p:cNvSpPr>
            <a:spLocks noGrp="1"/>
          </p:cNvSpPr>
          <p:nvPr>
            <p:ph type="dt" sz="quarter" idx="1"/>
          </p:nvPr>
        </p:nvSpPr>
        <p:spPr>
          <a:xfrm>
            <a:off x="3848645" y="0"/>
            <a:ext cx="2944283" cy="497020"/>
          </a:xfrm>
          <a:prstGeom prst="rect">
            <a:avLst/>
          </a:prstGeom>
        </p:spPr>
        <p:txBody>
          <a:bodyPr vert="horz" lIns="91440" tIns="45720" rIns="91440" bIns="45720" rtlCol="0"/>
          <a:lstStyle>
            <a:lvl1pPr algn="r">
              <a:defRPr sz="1200"/>
            </a:lvl1pPr>
          </a:lstStyle>
          <a:p>
            <a:fld id="{29FDCFB4-4E22-074A-996F-77183540C717}" type="datetimeFigureOut">
              <a:rPr lang="en-US" smtClean="0"/>
              <a:t>6/20/2019</a:t>
            </a:fld>
            <a:endParaRPr lang="en-US"/>
          </a:p>
        </p:txBody>
      </p:sp>
      <p:sp>
        <p:nvSpPr>
          <p:cNvPr id="4" name="Footer Placeholder 3">
            <a:extLst>
              <a:ext uri="{FF2B5EF4-FFF2-40B4-BE49-F238E27FC236}">
                <a16:creationId xmlns:a16="http://schemas.microsoft.com/office/drawing/2014/main" id="{82F03AC4-020A-344D-AD16-6746DCFB32DC}"/>
              </a:ext>
            </a:extLst>
          </p:cNvPr>
          <p:cNvSpPr>
            <a:spLocks noGrp="1"/>
          </p:cNvSpPr>
          <p:nvPr>
            <p:ph type="ftr" sz="quarter" idx="2"/>
          </p:nvPr>
        </p:nvSpPr>
        <p:spPr>
          <a:xfrm>
            <a:off x="0" y="9408981"/>
            <a:ext cx="2944283" cy="497019"/>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8F6D7EF6-664B-FE42-925C-65573ECB98D1}"/>
              </a:ext>
            </a:extLst>
          </p:cNvPr>
          <p:cNvSpPr>
            <a:spLocks noGrp="1"/>
          </p:cNvSpPr>
          <p:nvPr>
            <p:ph type="sldNum" sz="quarter" idx="3"/>
          </p:nvPr>
        </p:nvSpPr>
        <p:spPr>
          <a:xfrm>
            <a:off x="3848645" y="9408981"/>
            <a:ext cx="2944283" cy="497019"/>
          </a:xfrm>
          <a:prstGeom prst="rect">
            <a:avLst/>
          </a:prstGeom>
        </p:spPr>
        <p:txBody>
          <a:bodyPr vert="horz" lIns="91440" tIns="45720" rIns="91440" bIns="45720" rtlCol="0" anchor="b"/>
          <a:lstStyle>
            <a:lvl1pPr algn="r">
              <a:defRPr sz="1200"/>
            </a:lvl1pPr>
          </a:lstStyle>
          <a:p>
            <a:fld id="{CBB1A971-7A09-E340-8AC5-AB4AEB865674}" type="slidenum">
              <a:rPr lang="en-US" smtClean="0"/>
              <a:t>‹#›</a:t>
            </a:fld>
            <a:endParaRPr lang="en-US"/>
          </a:p>
        </p:txBody>
      </p:sp>
    </p:spTree>
    <p:extLst>
      <p:ext uri="{BB962C8B-B14F-4D97-AF65-F5344CB8AC3E}">
        <p14:creationId xmlns:p14="http://schemas.microsoft.com/office/powerpoint/2010/main" val="2673979947"/>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4283" cy="49702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48645" y="0"/>
            <a:ext cx="2944283" cy="497020"/>
          </a:xfrm>
          <a:prstGeom prst="rect">
            <a:avLst/>
          </a:prstGeom>
        </p:spPr>
        <p:txBody>
          <a:bodyPr vert="horz" lIns="91440" tIns="45720" rIns="91440" bIns="45720" rtlCol="0"/>
          <a:lstStyle>
            <a:lvl1pPr algn="r">
              <a:defRPr sz="1200"/>
            </a:lvl1pPr>
          </a:lstStyle>
          <a:p>
            <a:fld id="{9FB4EE24-7846-DB43-8B5A-C20945552493}" type="datetimeFigureOut">
              <a:rPr lang="en-US" smtClean="0"/>
              <a:t>6/20/2019</a:t>
            </a:fld>
            <a:endParaRPr lang="en-US"/>
          </a:p>
        </p:txBody>
      </p:sp>
      <p:sp>
        <p:nvSpPr>
          <p:cNvPr id="4" name="Slide Image Placeholder 3"/>
          <p:cNvSpPr>
            <a:spLocks noGrp="1" noRot="1" noChangeAspect="1"/>
          </p:cNvSpPr>
          <p:nvPr>
            <p:ph type="sldImg" idx="2"/>
          </p:nvPr>
        </p:nvSpPr>
        <p:spPr>
          <a:xfrm>
            <a:off x="425450" y="1238250"/>
            <a:ext cx="5943600" cy="334327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450" y="4767262"/>
            <a:ext cx="5435600" cy="3900488"/>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08981"/>
            <a:ext cx="2944283" cy="497019"/>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48645" y="9408981"/>
            <a:ext cx="2944283" cy="497019"/>
          </a:xfrm>
          <a:prstGeom prst="rect">
            <a:avLst/>
          </a:prstGeom>
        </p:spPr>
        <p:txBody>
          <a:bodyPr vert="horz" lIns="91440" tIns="45720" rIns="91440" bIns="45720" rtlCol="0" anchor="b"/>
          <a:lstStyle>
            <a:lvl1pPr algn="r">
              <a:defRPr sz="1200"/>
            </a:lvl1pPr>
          </a:lstStyle>
          <a:p>
            <a:fld id="{EEF9EDAE-F11D-7E4B-86D1-401D36986558}" type="slidenum">
              <a:rPr lang="en-US" smtClean="0"/>
              <a:t>‹#›</a:t>
            </a:fld>
            <a:endParaRPr lang="en-US"/>
          </a:p>
        </p:txBody>
      </p:sp>
    </p:spTree>
    <p:extLst>
      <p:ext uri="{BB962C8B-B14F-4D97-AF65-F5344CB8AC3E}">
        <p14:creationId xmlns:p14="http://schemas.microsoft.com/office/powerpoint/2010/main" val="2717172634"/>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8FF7B9E9-6F9D-4999-8E35-8BAD09A8460E}" type="slidenum">
              <a:rPr lang="de-DE" smtClean="0"/>
              <a:pPr/>
              <a:t>1</a:t>
            </a:fld>
            <a:endParaRPr lang="de-DE"/>
          </a:p>
        </p:txBody>
      </p:sp>
      <p:sp>
        <p:nvSpPr>
          <p:cNvPr id="5" name="Fußzeilenplatzhalter 4"/>
          <p:cNvSpPr>
            <a:spLocks noGrp="1"/>
          </p:cNvSpPr>
          <p:nvPr>
            <p:ph type="ftr" sz="quarter" idx="11"/>
          </p:nvPr>
        </p:nvSpPr>
        <p:spPr/>
        <p:txBody>
          <a:bodyPr/>
          <a:lstStyle/>
          <a:p>
            <a:endParaRPr lang="de-DE"/>
          </a:p>
        </p:txBody>
      </p:sp>
    </p:spTree>
    <p:extLst>
      <p:ext uri="{BB962C8B-B14F-4D97-AF65-F5344CB8AC3E}">
        <p14:creationId xmlns:p14="http://schemas.microsoft.com/office/powerpoint/2010/main" val="24121509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CN" altLang="en-US" dirty="0"/>
          </a:p>
        </p:txBody>
      </p:sp>
      <p:sp>
        <p:nvSpPr>
          <p:cNvPr id="4" name="Slide Number Placeholder 3"/>
          <p:cNvSpPr>
            <a:spLocks noGrp="1"/>
          </p:cNvSpPr>
          <p:nvPr>
            <p:ph type="sldNum" sz="quarter" idx="5"/>
          </p:nvPr>
        </p:nvSpPr>
        <p:spPr/>
        <p:txBody>
          <a:bodyPr/>
          <a:lstStyle/>
          <a:p>
            <a:fld id="{4EA43FCC-9BC9-4EF2-B868-C96BF293DA50}" type="slidenum">
              <a:rPr lang="de-DE" smtClean="0"/>
              <a:t>2</a:t>
            </a:fld>
            <a:endParaRPr lang="de-DE"/>
          </a:p>
        </p:txBody>
      </p:sp>
    </p:spTree>
    <p:extLst>
      <p:ext uri="{BB962C8B-B14F-4D97-AF65-F5344CB8AC3E}">
        <p14:creationId xmlns:p14="http://schemas.microsoft.com/office/powerpoint/2010/main" val="311711453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CN" altLang="en-US" dirty="0"/>
          </a:p>
        </p:txBody>
      </p:sp>
      <p:sp>
        <p:nvSpPr>
          <p:cNvPr id="4" name="Slide Number Placeholder 3"/>
          <p:cNvSpPr>
            <a:spLocks noGrp="1"/>
          </p:cNvSpPr>
          <p:nvPr>
            <p:ph type="sldNum" sz="quarter" idx="5"/>
          </p:nvPr>
        </p:nvSpPr>
        <p:spPr/>
        <p:txBody>
          <a:bodyPr/>
          <a:lstStyle/>
          <a:p>
            <a:fld id="{EEF9EDAE-F11D-7E4B-86D1-401D36986558}" type="slidenum">
              <a:rPr lang="en-US" smtClean="0"/>
              <a:t>7</a:t>
            </a:fld>
            <a:endParaRPr lang="en-US"/>
          </a:p>
        </p:txBody>
      </p:sp>
    </p:spTree>
    <p:extLst>
      <p:ext uri="{BB962C8B-B14F-4D97-AF65-F5344CB8AC3E}">
        <p14:creationId xmlns:p14="http://schemas.microsoft.com/office/powerpoint/2010/main" val="5851066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vmlDrawing" Target="../drawings/vmlDrawing4.vml"/><Relationship Id="rId1" Type="http://schemas.openxmlformats.org/officeDocument/2006/relationships/themeOverride" Target="../theme/themeOverride1.x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slideMaster" Target="../slideMasters/slideMaster3.xml"/><Relationship Id="rId5" Type="http://schemas.openxmlformats.org/officeDocument/2006/relationships/tags" Target="../tags/tag12.xml"/><Relationship Id="rId4" Type="http://schemas.openxmlformats.org/officeDocument/2006/relationships/tags" Target="../tags/tag1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6.xml"/><Relationship Id="rId1" Type="http://schemas.openxmlformats.org/officeDocument/2006/relationships/tags" Target="../tags/tag15.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6.xml"/><Relationship Id="rId1" Type="http://schemas.openxmlformats.org/officeDocument/2006/relationships/tags" Target="../tags/tag16.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6.xml"/><Relationship Id="rId1" Type="http://schemas.openxmlformats.org/officeDocument/2006/relationships/tags" Target="../tags/tag17.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3.vml"/><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itle 8">
            <a:extLst>
              <a:ext uri="{FF2B5EF4-FFF2-40B4-BE49-F238E27FC236}">
                <a16:creationId xmlns:a16="http://schemas.microsoft.com/office/drawing/2014/main" id="{6F1D66AF-C0C0-724E-AF29-7CB3BBB54DA6}"/>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13" name="Slide Number Placeholder 12">
            <a:extLst>
              <a:ext uri="{FF2B5EF4-FFF2-40B4-BE49-F238E27FC236}">
                <a16:creationId xmlns:a16="http://schemas.microsoft.com/office/drawing/2014/main" id="{A55E0BF9-1391-F543-B362-82AE8BE3BFD1}"/>
              </a:ext>
            </a:extLst>
          </p:cNvPr>
          <p:cNvSpPr>
            <a:spLocks noGrp="1"/>
          </p:cNvSpPr>
          <p:nvPr>
            <p:ph type="sldNum" sz="quarter" idx="4"/>
          </p:nvPr>
        </p:nvSpPr>
        <p:spPr>
          <a:xfrm>
            <a:off x="11353800" y="6419851"/>
            <a:ext cx="486363" cy="365125"/>
          </a:xfrm>
          <a:prstGeom prst="rect">
            <a:avLst/>
          </a:prstGeom>
        </p:spPr>
        <p:txBody>
          <a:bodyPr vert="horz" lIns="91440" tIns="45720" rIns="91440" bIns="45720" rtlCol="0" anchor="ctr"/>
          <a:lstStyle>
            <a:lvl1pPr algn="r">
              <a:defRPr sz="1200">
                <a:solidFill>
                  <a:schemeClr val="tx1"/>
                </a:solidFill>
              </a:defRPr>
            </a:lvl1pPr>
          </a:lstStyle>
          <a:p>
            <a:fld id="{D5D29A3D-3D4E-0644-99C6-E19DFF2B4365}" type="slidenum">
              <a:rPr lang="en-US" smtClean="0"/>
              <a:pPr/>
              <a:t>‹#›</a:t>
            </a:fld>
            <a:endParaRPr lang="en-US"/>
          </a:p>
        </p:txBody>
      </p:sp>
    </p:spTree>
    <p:extLst>
      <p:ext uri="{BB962C8B-B14F-4D97-AF65-F5344CB8AC3E}">
        <p14:creationId xmlns:p14="http://schemas.microsoft.com/office/powerpoint/2010/main" val="81225542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ltLang="zh-CN"/>
              <a:t>Click to edit Master title style</a:t>
            </a:r>
            <a:endParaRPr lang="en-US" dirty="0"/>
          </a:p>
        </p:txBody>
      </p:sp>
      <p:sp>
        <p:nvSpPr>
          <p:cNvPr id="3" name="Date Placeholder 2"/>
          <p:cNvSpPr>
            <a:spLocks noGrp="1"/>
          </p:cNvSpPr>
          <p:nvPr>
            <p:ph type="dt" sz="half" idx="10"/>
          </p:nvPr>
        </p:nvSpPr>
        <p:spPr/>
        <p:txBody>
          <a:bodyPr/>
          <a:lstStyle>
            <a:lvl1pPr>
              <a:defRPr>
                <a:solidFill>
                  <a:schemeClr val="tx1"/>
                </a:solidFill>
              </a:defRPr>
            </a:lvl1pPr>
          </a:lstStyle>
          <a:p>
            <a:fld id="{C764DE79-268F-4C1A-8933-263129D2AF90}" type="datetimeFigureOut">
              <a:rPr lang="en-US" smtClean="0"/>
              <a:pPr/>
              <a:t>6/20/2019</a:t>
            </a:fld>
            <a:endParaRPr lang="en-US" dirty="0"/>
          </a:p>
        </p:txBody>
      </p:sp>
      <p:sp>
        <p:nvSpPr>
          <p:cNvPr id="4" name="Footer Placeholder 3"/>
          <p:cNvSpPr>
            <a:spLocks noGrp="1"/>
          </p:cNvSpPr>
          <p:nvPr>
            <p:ph type="ftr" sz="quarter" idx="11"/>
          </p:nvPr>
        </p:nvSpPr>
        <p:spPr/>
        <p:txBody>
          <a:bodyPr/>
          <a:lstStyle>
            <a:lvl1pPr>
              <a:defRPr>
                <a:solidFill>
                  <a:schemeClr val="tx1"/>
                </a:solidFill>
              </a:defRPr>
            </a:lvl1pPr>
          </a:lstStyle>
          <a:p>
            <a:endParaRPr lang="en-US" dirty="0"/>
          </a:p>
        </p:txBody>
      </p:sp>
      <p:sp>
        <p:nvSpPr>
          <p:cNvPr id="5" name="Slide Number Placeholder 4"/>
          <p:cNvSpPr>
            <a:spLocks noGrp="1"/>
          </p:cNvSpPr>
          <p:nvPr>
            <p:ph type="sldNum" sz="quarter" idx="12"/>
          </p:nvPr>
        </p:nvSpPr>
        <p:spPr/>
        <p:txBody>
          <a:bodyPr/>
          <a:lstStyle>
            <a:lvl1pPr>
              <a:defRPr>
                <a:solidFill>
                  <a:schemeClr val="tx1"/>
                </a:solidFill>
              </a:defRPr>
            </a:lvl1pPr>
          </a:lstStyle>
          <a:p>
            <a:fld id="{D5D29A3D-3D4E-0644-99C6-E19DFF2B4365}" type="slidenum">
              <a:rPr lang="en-US" smtClean="0"/>
              <a:pPr/>
              <a:t>‹#›</a:t>
            </a:fld>
            <a:endParaRPr lang="en-US"/>
          </a:p>
        </p:txBody>
      </p:sp>
    </p:spTree>
    <p:extLst>
      <p:ext uri="{BB962C8B-B14F-4D97-AF65-F5344CB8AC3E}">
        <p14:creationId xmlns:p14="http://schemas.microsoft.com/office/powerpoint/2010/main" val="1279565828"/>
      </p:ext>
    </p:extLst>
  </p:cSld>
  <p:clrMapOvr>
    <a:masterClrMapping/>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solidFill>
                  <a:schemeClr val="tx1"/>
                </a:solidFill>
              </a:defRPr>
            </a:lvl1pPr>
          </a:lstStyle>
          <a:p>
            <a:fld id="{C764DE79-268F-4C1A-8933-263129D2AF90}" type="datetimeFigureOut">
              <a:rPr lang="en-US" smtClean="0"/>
              <a:pPr/>
              <a:t>6/20/2019</a:t>
            </a:fld>
            <a:endParaRPr lang="en-US" dirty="0"/>
          </a:p>
        </p:txBody>
      </p:sp>
      <p:sp>
        <p:nvSpPr>
          <p:cNvPr id="3" name="Footer Placeholder 2"/>
          <p:cNvSpPr>
            <a:spLocks noGrp="1"/>
          </p:cNvSpPr>
          <p:nvPr>
            <p:ph type="ftr" sz="quarter" idx="11"/>
          </p:nvPr>
        </p:nvSpPr>
        <p:spPr/>
        <p:txBody>
          <a:bodyPr/>
          <a:lstStyle>
            <a:lvl1pPr>
              <a:defRPr>
                <a:solidFill>
                  <a:schemeClr val="tx1"/>
                </a:solidFill>
              </a:defRPr>
            </a:lvl1pPr>
          </a:lstStyle>
          <a:p>
            <a:endParaRPr lang="en-US" dirty="0"/>
          </a:p>
        </p:txBody>
      </p:sp>
      <p:sp>
        <p:nvSpPr>
          <p:cNvPr id="4" name="Slide Number Placeholder 3"/>
          <p:cNvSpPr>
            <a:spLocks noGrp="1"/>
          </p:cNvSpPr>
          <p:nvPr>
            <p:ph type="sldNum" sz="quarter" idx="12"/>
          </p:nvPr>
        </p:nvSpPr>
        <p:spPr/>
        <p:txBody>
          <a:bodyPr/>
          <a:lstStyle>
            <a:lvl1pPr>
              <a:defRPr>
                <a:solidFill>
                  <a:schemeClr val="tx1"/>
                </a:solidFill>
              </a:defRPr>
            </a:lvl1pPr>
          </a:lstStyle>
          <a:p>
            <a:fld id="{D5D29A3D-3D4E-0644-99C6-E19DFF2B4365}" type="slidenum">
              <a:rPr lang="en-US" smtClean="0"/>
              <a:pPr/>
              <a:t>‹#›</a:t>
            </a:fld>
            <a:endParaRPr lang="en-US"/>
          </a:p>
        </p:txBody>
      </p:sp>
    </p:spTree>
    <p:extLst>
      <p:ext uri="{BB962C8B-B14F-4D97-AF65-F5344CB8AC3E}">
        <p14:creationId xmlns:p14="http://schemas.microsoft.com/office/powerpoint/2010/main" val="2792230019"/>
      </p:ext>
    </p:extLst>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solidFill>
                  <a:schemeClr val="tx1"/>
                </a:solidFill>
              </a:defRPr>
            </a:lvl1pPr>
          </a:lstStyle>
          <a:p>
            <a:r>
              <a:rPr lang="en-US" altLang="zh-CN"/>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solidFill>
                  <a:schemeClr val="tx1"/>
                </a:solidFill>
              </a:defRPr>
            </a:lvl1pPr>
            <a:lvl2pPr>
              <a:defRPr sz="2800">
                <a:solidFill>
                  <a:schemeClr val="tx1"/>
                </a:solidFill>
              </a:defRPr>
            </a:lvl2pPr>
            <a:lvl3pPr>
              <a:defRPr sz="2400">
                <a:solidFill>
                  <a:schemeClr val="tx1"/>
                </a:solidFill>
              </a:defRPr>
            </a:lvl3pPr>
            <a:lvl4pPr>
              <a:defRPr sz="2000">
                <a:solidFill>
                  <a:schemeClr val="tx1"/>
                </a:solidFill>
              </a:defRPr>
            </a:lvl4pPr>
            <a:lvl5pPr>
              <a:defRPr sz="2000">
                <a:solidFill>
                  <a:schemeClr val="tx1"/>
                </a:solidFill>
              </a:defRPr>
            </a:lvl5pPr>
            <a:lvl6pPr>
              <a:defRPr sz="2000"/>
            </a:lvl6pPr>
            <a:lvl7pPr>
              <a:defRPr sz="2000"/>
            </a:lvl7pPr>
            <a:lvl8pPr>
              <a:defRPr sz="2000"/>
            </a:lvl8pPr>
            <a:lvl9pPr>
              <a:defRPr sz="2000"/>
            </a:lvl9pPr>
          </a:lstStyle>
          <a:p>
            <a:pPr lvl="0"/>
            <a:r>
              <a:rPr lang="en-US" altLang="zh-CN"/>
              <a:t>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ltLang="zh-CN"/>
              <a:t>Edit Master text styles</a:t>
            </a:r>
          </a:p>
        </p:txBody>
      </p:sp>
      <p:sp>
        <p:nvSpPr>
          <p:cNvPr id="5" name="Date Placeholder 4"/>
          <p:cNvSpPr>
            <a:spLocks noGrp="1"/>
          </p:cNvSpPr>
          <p:nvPr>
            <p:ph type="dt" sz="half" idx="10"/>
          </p:nvPr>
        </p:nvSpPr>
        <p:spPr/>
        <p:txBody>
          <a:bodyPr/>
          <a:lstStyle>
            <a:lvl1pPr>
              <a:defRPr>
                <a:solidFill>
                  <a:schemeClr val="tx1"/>
                </a:solidFill>
              </a:defRPr>
            </a:lvl1pPr>
          </a:lstStyle>
          <a:p>
            <a:fld id="{C764DE79-268F-4C1A-8933-263129D2AF90}" type="datetimeFigureOut">
              <a:rPr lang="en-US" smtClean="0"/>
              <a:pPr/>
              <a:t>6/20/2019</a:t>
            </a:fld>
            <a:endParaRPr lang="en-US" dirty="0"/>
          </a:p>
        </p:txBody>
      </p:sp>
      <p:sp>
        <p:nvSpPr>
          <p:cNvPr id="6" name="Footer Placeholder 5"/>
          <p:cNvSpPr>
            <a:spLocks noGrp="1"/>
          </p:cNvSpPr>
          <p:nvPr>
            <p:ph type="ftr" sz="quarter" idx="11"/>
          </p:nvPr>
        </p:nvSpPr>
        <p:spPr/>
        <p:txBody>
          <a:bodyPr/>
          <a:lstStyle>
            <a:lvl1pPr>
              <a:defRPr>
                <a:solidFill>
                  <a:schemeClr val="tx1"/>
                </a:solidFill>
              </a:defRPr>
            </a:lvl1pPr>
          </a:lstStyle>
          <a:p>
            <a:endParaRPr lang="en-US" dirty="0"/>
          </a:p>
        </p:txBody>
      </p:sp>
      <p:sp>
        <p:nvSpPr>
          <p:cNvPr id="7" name="Slide Number Placeholder 6"/>
          <p:cNvSpPr>
            <a:spLocks noGrp="1"/>
          </p:cNvSpPr>
          <p:nvPr>
            <p:ph type="sldNum" sz="quarter" idx="12"/>
          </p:nvPr>
        </p:nvSpPr>
        <p:spPr/>
        <p:txBody>
          <a:bodyPr/>
          <a:lstStyle>
            <a:lvl1pPr>
              <a:defRPr>
                <a:solidFill>
                  <a:schemeClr val="tx1"/>
                </a:solidFill>
              </a:defRPr>
            </a:lvl1pPr>
          </a:lstStyle>
          <a:p>
            <a:fld id="{D5D29A3D-3D4E-0644-99C6-E19DFF2B4365}" type="slidenum">
              <a:rPr lang="en-US" smtClean="0"/>
              <a:pPr/>
              <a:t>‹#›</a:t>
            </a:fld>
            <a:endParaRPr lang="en-US"/>
          </a:p>
        </p:txBody>
      </p:sp>
    </p:spTree>
    <p:extLst>
      <p:ext uri="{BB962C8B-B14F-4D97-AF65-F5344CB8AC3E}">
        <p14:creationId xmlns:p14="http://schemas.microsoft.com/office/powerpoint/2010/main" val="1887936680"/>
      </p:ext>
    </p:extLst>
  </p:cSld>
  <p:clrMapOvr>
    <a:masterClrMapping/>
  </p:clrMapOvr>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solidFill>
                  <a:schemeClr val="tx1"/>
                </a:solidFill>
              </a:defRPr>
            </a:lvl1pPr>
          </a:lstStyle>
          <a:p>
            <a:r>
              <a:rPr lang="en-US" altLang="zh-CN"/>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zh-CN"/>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ltLang="zh-CN"/>
              <a:t>Edit Master text styles</a:t>
            </a:r>
          </a:p>
        </p:txBody>
      </p:sp>
      <p:sp>
        <p:nvSpPr>
          <p:cNvPr id="5" name="Date Placeholder 4"/>
          <p:cNvSpPr>
            <a:spLocks noGrp="1"/>
          </p:cNvSpPr>
          <p:nvPr>
            <p:ph type="dt" sz="half" idx="10"/>
          </p:nvPr>
        </p:nvSpPr>
        <p:spPr/>
        <p:txBody>
          <a:bodyPr/>
          <a:lstStyle>
            <a:lvl1pPr>
              <a:defRPr>
                <a:solidFill>
                  <a:schemeClr val="tx1"/>
                </a:solidFill>
              </a:defRPr>
            </a:lvl1pPr>
          </a:lstStyle>
          <a:p>
            <a:fld id="{C764DE79-268F-4C1A-8933-263129D2AF90}" type="datetimeFigureOut">
              <a:rPr lang="en-US" smtClean="0"/>
              <a:pPr/>
              <a:t>6/20/2019</a:t>
            </a:fld>
            <a:endParaRPr lang="en-US" dirty="0"/>
          </a:p>
        </p:txBody>
      </p:sp>
      <p:sp>
        <p:nvSpPr>
          <p:cNvPr id="6" name="Footer Placeholder 5"/>
          <p:cNvSpPr>
            <a:spLocks noGrp="1"/>
          </p:cNvSpPr>
          <p:nvPr>
            <p:ph type="ftr" sz="quarter" idx="11"/>
          </p:nvPr>
        </p:nvSpPr>
        <p:spPr/>
        <p:txBody>
          <a:bodyPr/>
          <a:lstStyle>
            <a:lvl1pPr>
              <a:defRPr>
                <a:solidFill>
                  <a:schemeClr val="tx1"/>
                </a:solidFill>
              </a:defRPr>
            </a:lvl1pPr>
          </a:lstStyle>
          <a:p>
            <a:endParaRPr lang="en-US" dirty="0"/>
          </a:p>
        </p:txBody>
      </p:sp>
      <p:sp>
        <p:nvSpPr>
          <p:cNvPr id="7" name="Slide Number Placeholder 6"/>
          <p:cNvSpPr>
            <a:spLocks noGrp="1"/>
          </p:cNvSpPr>
          <p:nvPr>
            <p:ph type="sldNum" sz="quarter" idx="12"/>
          </p:nvPr>
        </p:nvSpPr>
        <p:spPr/>
        <p:txBody>
          <a:bodyPr/>
          <a:lstStyle>
            <a:lvl1pPr>
              <a:defRPr>
                <a:solidFill>
                  <a:schemeClr val="tx1"/>
                </a:solidFill>
              </a:defRPr>
            </a:lvl1pPr>
          </a:lstStyle>
          <a:p>
            <a:fld id="{D5D29A3D-3D4E-0644-99C6-E19DFF2B4365}" type="slidenum">
              <a:rPr lang="en-US" smtClean="0"/>
              <a:pPr/>
              <a:t>‹#›</a:t>
            </a:fld>
            <a:endParaRPr lang="en-US"/>
          </a:p>
        </p:txBody>
      </p:sp>
    </p:spTree>
    <p:extLst>
      <p:ext uri="{BB962C8B-B14F-4D97-AF65-F5344CB8AC3E}">
        <p14:creationId xmlns:p14="http://schemas.microsoft.com/office/powerpoint/2010/main" val="4194519363"/>
      </p:ext>
    </p:extLst>
  </p:cSld>
  <p:clrMapOvr>
    <a:masterClrMapping/>
  </p:clrMapOvr>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ltLang="zh-CN"/>
              <a:t>Click to edit Master title style</a:t>
            </a:r>
            <a:endParaRPr lang="en-US" dirty="0"/>
          </a:p>
        </p:txBody>
      </p:sp>
      <p:sp>
        <p:nvSpPr>
          <p:cNvPr id="3" name="Vertical Text Placeholder 2"/>
          <p:cNvSpPr>
            <a:spLocks noGrp="1"/>
          </p:cNvSpPr>
          <p:nvPr>
            <p:ph type="body" orient="vert" idx="1"/>
          </p:nvPr>
        </p:nvSpPr>
        <p:spPr/>
        <p:txBody>
          <a:bodyPr vert="eaVert"/>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ltLang="zh-CN"/>
              <a:t>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en-US" dirty="0"/>
          </a:p>
        </p:txBody>
      </p:sp>
      <p:sp>
        <p:nvSpPr>
          <p:cNvPr id="4" name="Date Placeholder 3"/>
          <p:cNvSpPr>
            <a:spLocks noGrp="1"/>
          </p:cNvSpPr>
          <p:nvPr>
            <p:ph type="dt" sz="half" idx="10"/>
          </p:nvPr>
        </p:nvSpPr>
        <p:spPr/>
        <p:txBody>
          <a:bodyPr/>
          <a:lstStyle>
            <a:lvl1pPr>
              <a:defRPr>
                <a:solidFill>
                  <a:schemeClr val="tx1"/>
                </a:solidFill>
              </a:defRPr>
            </a:lvl1pPr>
          </a:lstStyle>
          <a:p>
            <a:fld id="{C764DE79-268F-4C1A-8933-263129D2AF90}" type="datetimeFigureOut">
              <a:rPr lang="en-US" smtClean="0"/>
              <a:pPr/>
              <a:t>6/20/2019</a:t>
            </a:fld>
            <a:endParaRPr lang="en-US" dirty="0"/>
          </a:p>
        </p:txBody>
      </p:sp>
      <p:sp>
        <p:nvSpPr>
          <p:cNvPr id="5" name="Footer Placeholder 4"/>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p:cNvSpPr>
            <a:spLocks noGrp="1"/>
          </p:cNvSpPr>
          <p:nvPr>
            <p:ph type="sldNum" sz="quarter" idx="12"/>
          </p:nvPr>
        </p:nvSpPr>
        <p:spPr/>
        <p:txBody>
          <a:bodyPr/>
          <a:lstStyle>
            <a:lvl1pPr>
              <a:defRPr>
                <a:solidFill>
                  <a:schemeClr val="tx1"/>
                </a:solidFill>
              </a:defRPr>
            </a:lvl1pPr>
          </a:lstStyle>
          <a:p>
            <a:fld id="{D5D29A3D-3D4E-0644-99C6-E19DFF2B4365}" type="slidenum">
              <a:rPr lang="en-US" smtClean="0"/>
              <a:pPr/>
              <a:t>‹#›</a:t>
            </a:fld>
            <a:endParaRPr lang="en-US"/>
          </a:p>
        </p:txBody>
      </p:sp>
    </p:spTree>
    <p:extLst>
      <p:ext uri="{BB962C8B-B14F-4D97-AF65-F5344CB8AC3E}">
        <p14:creationId xmlns:p14="http://schemas.microsoft.com/office/powerpoint/2010/main" val="4294119947"/>
      </p:ext>
    </p:extLst>
  </p:cSld>
  <p:clrMapOvr>
    <a:masterClrMapping/>
  </p:clrMapOvr>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lvl1pPr>
              <a:defRPr>
                <a:solidFill>
                  <a:schemeClr val="tx1"/>
                </a:solidFill>
              </a:defRPr>
            </a:lvl1pPr>
          </a:lstStyle>
          <a:p>
            <a:r>
              <a:rPr lang="en-US" altLang="zh-CN"/>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ltLang="zh-CN"/>
              <a:t>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en-US" dirty="0"/>
          </a:p>
        </p:txBody>
      </p:sp>
      <p:sp>
        <p:nvSpPr>
          <p:cNvPr id="4" name="Date Placeholder 3"/>
          <p:cNvSpPr>
            <a:spLocks noGrp="1"/>
          </p:cNvSpPr>
          <p:nvPr>
            <p:ph type="dt" sz="half" idx="10"/>
          </p:nvPr>
        </p:nvSpPr>
        <p:spPr/>
        <p:txBody>
          <a:bodyPr/>
          <a:lstStyle>
            <a:lvl1pPr>
              <a:defRPr>
                <a:solidFill>
                  <a:schemeClr val="tx1"/>
                </a:solidFill>
              </a:defRPr>
            </a:lvl1pPr>
          </a:lstStyle>
          <a:p>
            <a:fld id="{C764DE79-268F-4C1A-8933-263129D2AF90}" type="datetimeFigureOut">
              <a:rPr lang="en-US" smtClean="0"/>
              <a:pPr/>
              <a:t>6/20/2019</a:t>
            </a:fld>
            <a:endParaRPr lang="en-US" dirty="0"/>
          </a:p>
        </p:txBody>
      </p:sp>
      <p:sp>
        <p:nvSpPr>
          <p:cNvPr id="5" name="Footer Placeholder 4"/>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p:cNvSpPr>
            <a:spLocks noGrp="1"/>
          </p:cNvSpPr>
          <p:nvPr>
            <p:ph type="sldNum" sz="quarter" idx="12"/>
          </p:nvPr>
        </p:nvSpPr>
        <p:spPr/>
        <p:txBody>
          <a:bodyPr/>
          <a:lstStyle>
            <a:lvl1pPr>
              <a:defRPr>
                <a:solidFill>
                  <a:schemeClr val="tx1"/>
                </a:solidFill>
              </a:defRPr>
            </a:lvl1pPr>
          </a:lstStyle>
          <a:p>
            <a:fld id="{D5D29A3D-3D4E-0644-99C6-E19DFF2B4365}" type="slidenum">
              <a:rPr lang="en-US" smtClean="0"/>
              <a:pPr/>
              <a:t>‹#›</a:t>
            </a:fld>
            <a:endParaRPr lang="en-US"/>
          </a:p>
        </p:txBody>
      </p:sp>
    </p:spTree>
    <p:extLst>
      <p:ext uri="{BB962C8B-B14F-4D97-AF65-F5344CB8AC3E}">
        <p14:creationId xmlns:p14="http://schemas.microsoft.com/office/powerpoint/2010/main" val="1083352910"/>
      </p:ext>
    </p:extLst>
  </p:cSld>
  <p:clrMapOvr>
    <a:masterClrMapping/>
  </p:clrMapOvr>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elfolie_Individuell">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A00087A8-9F28-4EDC-A374-480A7D68C935}"/>
              </a:ext>
            </a:extLst>
          </p:cNvPr>
          <p:cNvGraphicFramePr>
            <a:graphicFrameLocks noChangeAspect="1"/>
          </p:cNvGraphicFramePr>
          <p:nvPr userDrawn="1">
            <p:custDataLst>
              <p:tags r:id="rId3"/>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4098" name="think-cell Folie" r:id="rId5" imgW="347" imgH="346" progId="TCLayout.ActiveDocument.1">
                  <p:embed/>
                </p:oleObj>
              </mc:Choice>
              <mc:Fallback>
                <p:oleObj name="think-cell Folie" r:id="rId5" imgW="347" imgH="346" progId="TCLayout.ActiveDocument.1">
                  <p:embed/>
                  <p:pic>
                    <p:nvPicPr>
                      <p:cNvPr id="3" name="Objekt 2" hidden="1">
                        <a:extLst>
                          <a:ext uri="{FF2B5EF4-FFF2-40B4-BE49-F238E27FC236}">
                            <a16:creationId xmlns:a16="http://schemas.microsoft.com/office/drawing/2014/main" id="{A00087A8-9F28-4EDC-A374-480A7D68C935}"/>
                          </a:ext>
                        </a:extLst>
                      </p:cNvPr>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14" name="Datumsplatzhalter 5">
            <a:extLst>
              <a:ext uri="{FF2B5EF4-FFF2-40B4-BE49-F238E27FC236}">
                <a16:creationId xmlns:a16="http://schemas.microsoft.com/office/drawing/2014/main" id="{154C6DE1-7BB1-4C0F-81DB-69EB4F7002F3}"/>
              </a:ext>
            </a:extLst>
          </p:cNvPr>
          <p:cNvSpPr>
            <a:spLocks noGrp="1"/>
          </p:cNvSpPr>
          <p:nvPr>
            <p:ph type="dt" sz="half" idx="2"/>
          </p:nvPr>
        </p:nvSpPr>
        <p:spPr>
          <a:xfrm>
            <a:off x="685849" y="6516409"/>
            <a:ext cx="468187" cy="175322"/>
          </a:xfrm>
          <a:prstGeom prst="rect">
            <a:avLst/>
          </a:prstGeom>
        </p:spPr>
        <p:txBody>
          <a:bodyPr wrap="none" lIns="0" tIns="0" rIns="0" bIns="0"/>
          <a:lstStyle>
            <a:lvl1pPr>
              <a:defRPr sz="900"/>
            </a:lvl1pPr>
          </a:lstStyle>
          <a:p>
            <a:fld id="{65010B03-D230-4701-9F37-B6F131066B93}" type="datetime1">
              <a:rPr lang="de-DE" smtClean="0"/>
              <a:t>20.06.2019</a:t>
            </a:fld>
            <a:endParaRPr lang="de-DE" dirty="0"/>
          </a:p>
        </p:txBody>
      </p:sp>
      <p:sp>
        <p:nvSpPr>
          <p:cNvPr id="15" name="Fußzeilenplatzhalter 6">
            <a:extLst>
              <a:ext uri="{FF2B5EF4-FFF2-40B4-BE49-F238E27FC236}">
                <a16:creationId xmlns:a16="http://schemas.microsoft.com/office/drawing/2014/main" id="{00665DE9-7EC3-48A1-83F9-41127DBB6104}"/>
              </a:ext>
            </a:extLst>
          </p:cNvPr>
          <p:cNvSpPr>
            <a:spLocks noGrp="1"/>
          </p:cNvSpPr>
          <p:nvPr>
            <p:ph type="ftr" sz="quarter" idx="3"/>
          </p:nvPr>
        </p:nvSpPr>
        <p:spPr>
          <a:xfrm>
            <a:off x="1368179" y="6516111"/>
            <a:ext cx="3364707" cy="167933"/>
          </a:xfrm>
          <a:prstGeom prst="rect">
            <a:avLst/>
          </a:prstGeom>
        </p:spPr>
        <p:txBody>
          <a:bodyPr lIns="0" tIns="0" rIns="0" bIns="0"/>
          <a:lstStyle>
            <a:lvl1pPr>
              <a:defRPr sz="900">
                <a:solidFill>
                  <a:srgbClr val="000000"/>
                </a:solidFill>
              </a:defRPr>
            </a:lvl1pPr>
          </a:lstStyle>
          <a:p>
            <a:r>
              <a:rPr lang="de-DE" dirty="0"/>
              <a:t>|  Optionale Zusatzinformationen</a:t>
            </a:r>
          </a:p>
        </p:txBody>
      </p:sp>
      <p:sp>
        <p:nvSpPr>
          <p:cNvPr id="16" name="Foliennummernplatzhalter 7">
            <a:extLst>
              <a:ext uri="{FF2B5EF4-FFF2-40B4-BE49-F238E27FC236}">
                <a16:creationId xmlns:a16="http://schemas.microsoft.com/office/drawing/2014/main" id="{9C713D9C-0C89-4530-8779-550EA07BE7B9}"/>
              </a:ext>
            </a:extLst>
          </p:cNvPr>
          <p:cNvSpPr>
            <a:spLocks noGrp="1"/>
          </p:cNvSpPr>
          <p:nvPr>
            <p:ph type="sldNum" sz="quarter" idx="4"/>
          </p:nvPr>
        </p:nvSpPr>
        <p:spPr>
          <a:xfrm>
            <a:off x="227043" y="6514798"/>
            <a:ext cx="384267" cy="151200"/>
          </a:xfrm>
          <a:prstGeom prst="rect">
            <a:avLst/>
          </a:prstGeom>
        </p:spPr>
        <p:txBody>
          <a:bodyPr lIns="0" tIns="0" rIns="0" bIns="0"/>
          <a:lstStyle>
            <a:lvl1pPr>
              <a:defRPr sz="900" b="1"/>
            </a:lvl1pPr>
          </a:lstStyle>
          <a:p>
            <a:fld id="{82EA1D04-CA53-4DE3-84A8-2B63E41036C9}" type="slidenum">
              <a:rPr lang="de-DE" smtClean="0"/>
              <a:pPr/>
              <a:t>‹#›</a:t>
            </a:fld>
            <a:endParaRPr lang="de-DE" dirty="0"/>
          </a:p>
        </p:txBody>
      </p:sp>
    </p:spTree>
    <p:extLst>
      <p:ext uri="{BB962C8B-B14F-4D97-AF65-F5344CB8AC3E}">
        <p14:creationId xmlns:p14="http://schemas.microsoft.com/office/powerpoint/2010/main" val="3314808043"/>
      </p:ext>
    </p:extLst>
  </p:cSld>
  <p:clrMapOvr>
    <a:masterClrMapping/>
  </p:clrMapOvr>
  <p:hf sldNum="0"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type="tx">
  <p:cSld name="1_Titel und Text (2)">
    <p:spTree>
      <p:nvGrpSpPr>
        <p:cNvPr id="1" name=""/>
        <p:cNvGrpSpPr/>
        <p:nvPr/>
      </p:nvGrpSpPr>
      <p:grpSpPr>
        <a:xfrm>
          <a:off x="0" y="0"/>
          <a:ext cx="0" cy="0"/>
          <a:chOff x="0" y="0"/>
          <a:chExt cx="0" cy="0"/>
        </a:xfrm>
      </p:grpSpPr>
      <p:sp>
        <p:nvSpPr>
          <p:cNvPr id="2" name="TitelPlaz"/>
          <p:cNvSpPr>
            <a:spLocks noGrp="1"/>
          </p:cNvSpPr>
          <p:nvPr>
            <p:ph type="title"/>
            <p:custDataLst>
              <p:tags r:id="rId1"/>
            </p:custDataLst>
          </p:nvPr>
        </p:nvSpPr>
        <p:spPr/>
        <p:txBody>
          <a:bodyPr/>
          <a:lstStyle/>
          <a:p>
            <a:r>
              <a:rPr lang="de-DE"/>
              <a:t>Titelmasterformat durch Klicken bearbeiten</a:t>
            </a:r>
          </a:p>
        </p:txBody>
      </p:sp>
      <p:sp>
        <p:nvSpPr>
          <p:cNvPr id="3" name="TextPlaz"/>
          <p:cNvSpPr>
            <a:spLocks noGrp="1"/>
          </p:cNvSpPr>
          <p:nvPr>
            <p:ph type="body" idx="1"/>
            <p:custDataLst>
              <p:tags r:id="rId2"/>
            </p:custDataLst>
          </p:nvPr>
        </p:nvSpPr>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SeitePlaz"/>
          <p:cNvSpPr>
            <a:spLocks noGrp="1"/>
          </p:cNvSpPr>
          <p:nvPr>
            <p:ph type="sldNum" sz="quarter" idx="10"/>
            <p:custDataLst>
              <p:tags r:id="rId3"/>
            </p:custDataLst>
          </p:nvPr>
        </p:nvSpPr>
        <p:spPr/>
        <p:txBody>
          <a:bodyPr/>
          <a:lstStyle/>
          <a:p>
            <a:fld id="{05C7D7BC-3A63-427C-9D7F-63F95FDD71B6}" type="slidenum">
              <a:rPr lang="de-DE" smtClean="0"/>
              <a:pPr/>
              <a:t>‹#›</a:t>
            </a:fld>
            <a:endParaRPr lang="de-DE"/>
          </a:p>
        </p:txBody>
      </p:sp>
      <p:sp>
        <p:nvSpPr>
          <p:cNvPr id="5" name="FussPlaz"/>
          <p:cNvSpPr>
            <a:spLocks noGrp="1"/>
          </p:cNvSpPr>
          <p:nvPr>
            <p:ph type="ftr" sz="quarter" idx="11"/>
            <p:custDataLst>
              <p:tags r:id="rId4"/>
            </p:custDataLst>
          </p:nvPr>
        </p:nvSpPr>
        <p:spPr/>
        <p:txBody>
          <a:bodyPr/>
          <a:lstStyle/>
          <a:p>
            <a:endParaRPr lang="de-DE"/>
          </a:p>
        </p:txBody>
      </p:sp>
      <p:sp>
        <p:nvSpPr>
          <p:cNvPr id="6" name="DatumPlaz"/>
          <p:cNvSpPr>
            <a:spLocks noGrp="1"/>
          </p:cNvSpPr>
          <p:nvPr>
            <p:ph type="dt" sz="half" idx="12"/>
            <p:custDataLst>
              <p:tags r:id="rId5"/>
            </p:custDataLst>
          </p:nvPr>
        </p:nvSpPr>
        <p:spPr/>
        <p:txBody>
          <a:bodyPr/>
          <a:lstStyle/>
          <a:p>
            <a:fld id="{64402EDC-432E-4ED1-9C44-D3A0A859FBE6}" type="datetimeFigureOut">
              <a:rPr lang="de-DE" smtClean="0"/>
              <a:pPr/>
              <a:t>20.06.2019</a:t>
            </a:fld>
            <a:endParaRPr lang="de-DE"/>
          </a:p>
        </p:txBody>
      </p:sp>
    </p:spTree>
    <p:extLst>
      <p:ext uri="{BB962C8B-B14F-4D97-AF65-F5344CB8AC3E}">
        <p14:creationId xmlns:p14="http://schemas.microsoft.com/office/powerpoint/2010/main" val="2274981481"/>
      </p:ext>
    </p:extLst>
  </p:cSld>
  <p:clrMapOvr>
    <a:masterClrMapping/>
  </p:clrMapOvr>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ASF_Finale_V10_3">
    <p:spTree>
      <p:nvGrpSpPr>
        <p:cNvPr id="1" name=""/>
        <p:cNvGrpSpPr/>
        <p:nvPr/>
      </p:nvGrpSpPr>
      <p:grpSpPr>
        <a:xfrm>
          <a:off x="0" y="0"/>
          <a:ext cx="0" cy="0"/>
          <a:chOff x="0" y="0"/>
          <a:chExt cx="0" cy="0"/>
        </a:xfrm>
      </p:grpSpPr>
      <p:grpSp>
        <p:nvGrpSpPr>
          <p:cNvPr id="2" name="Gruppieren 1">
            <a:extLst>
              <a:ext uri="{FF2B5EF4-FFF2-40B4-BE49-F238E27FC236}">
                <a16:creationId xmlns:a16="http://schemas.microsoft.com/office/drawing/2014/main" id="{4560EDE9-4AB6-439F-AE21-2378008743B0}"/>
              </a:ext>
            </a:extLst>
          </p:cNvPr>
          <p:cNvGrpSpPr/>
          <p:nvPr/>
        </p:nvGrpSpPr>
        <p:grpSpPr>
          <a:xfrm>
            <a:off x="2120" y="1"/>
            <a:ext cx="12187766" cy="6858000"/>
            <a:chOff x="2119" y="1"/>
            <a:chExt cx="12186180" cy="6858000"/>
          </a:xfrm>
        </p:grpSpPr>
        <p:pic>
          <p:nvPicPr>
            <p:cNvPr id="3" name="Picture 13" descr="C:\Documents and Settings\ROESSO\My Documents\Ablage\Corporate Design\PowerPoint\Logos Wizard\BASFc_Q_PPT_38_blau-hell.tif"/>
            <p:cNvPicPr>
              <a:picLocks noChangeAspect="1" noChangeArrowheads="1"/>
            </p:cNvPicPr>
            <p:nvPr/>
          </p:nvPicPr>
          <p:blipFill>
            <a:blip r:embed="rId2">
              <a:extLst>
                <a:ext uri="{28A0092B-C50C-407E-A947-70E740481C1C}">
                  <a14:useLocalDpi xmlns:a14="http://schemas.microsoft.com/office/drawing/2010/main" val="0"/>
                </a:ext>
              </a:extLst>
            </a:blip>
            <a:srcRect t="90031"/>
            <a:stretch>
              <a:fillRect/>
            </a:stretch>
          </p:blipFill>
          <p:spPr bwMode="auto">
            <a:xfrm>
              <a:off x="2119" y="1"/>
              <a:ext cx="1218618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6" name="Grafik 5">
              <a:extLst>
                <a:ext uri="{FF2B5EF4-FFF2-40B4-BE49-F238E27FC236}">
                  <a16:creationId xmlns:a16="http://schemas.microsoft.com/office/drawing/2014/main" id="{7CEA7137-09E0-48BC-BAE3-999D4510CF4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037439" y="2317598"/>
              <a:ext cx="6183516" cy="2234254"/>
            </a:xfrm>
            <a:prstGeom prst="rect">
              <a:avLst/>
            </a:prstGeom>
          </p:spPr>
        </p:pic>
      </p:grpSp>
    </p:spTree>
    <p:extLst>
      <p:ext uri="{BB962C8B-B14F-4D97-AF65-F5344CB8AC3E}">
        <p14:creationId xmlns:p14="http://schemas.microsoft.com/office/powerpoint/2010/main" val="14016580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BASF_Finale_V10_4">
    <p:spTree>
      <p:nvGrpSpPr>
        <p:cNvPr id="1" name=""/>
        <p:cNvGrpSpPr/>
        <p:nvPr/>
      </p:nvGrpSpPr>
      <p:grpSpPr>
        <a:xfrm>
          <a:off x="0" y="0"/>
          <a:ext cx="0" cy="0"/>
          <a:chOff x="0" y="0"/>
          <a:chExt cx="0" cy="0"/>
        </a:xfrm>
      </p:grpSpPr>
      <p:grpSp>
        <p:nvGrpSpPr>
          <p:cNvPr id="2" name="Gruppieren 1">
            <a:extLst>
              <a:ext uri="{FF2B5EF4-FFF2-40B4-BE49-F238E27FC236}">
                <a16:creationId xmlns:a16="http://schemas.microsoft.com/office/drawing/2014/main" id="{F7DDC7F9-56F0-4E94-842B-5FB9067B1505}"/>
              </a:ext>
            </a:extLst>
          </p:cNvPr>
          <p:cNvGrpSpPr/>
          <p:nvPr/>
        </p:nvGrpSpPr>
        <p:grpSpPr>
          <a:xfrm>
            <a:off x="2120" y="0"/>
            <a:ext cx="12187766" cy="6858000"/>
            <a:chOff x="2119" y="0"/>
            <a:chExt cx="12186180" cy="6858000"/>
          </a:xfrm>
        </p:grpSpPr>
        <p:pic>
          <p:nvPicPr>
            <p:cNvPr id="3" name="Picture 5" descr="C:\Documents and Settings\ROESSO\My Documents\Ablage\Corporate Design\PowerPoint\Logos Wizard\BASFc_Q_PPT_38_blau-dunkel.tif"/>
            <p:cNvPicPr>
              <a:picLocks noChangeAspect="1" noChangeArrowheads="1"/>
            </p:cNvPicPr>
            <p:nvPr/>
          </p:nvPicPr>
          <p:blipFill>
            <a:blip r:embed="rId2">
              <a:extLst>
                <a:ext uri="{28A0092B-C50C-407E-A947-70E740481C1C}">
                  <a14:useLocalDpi xmlns:a14="http://schemas.microsoft.com/office/drawing/2010/main" val="0"/>
                </a:ext>
              </a:extLst>
            </a:blip>
            <a:srcRect t="89439"/>
            <a:stretch>
              <a:fillRect/>
            </a:stretch>
          </p:blipFill>
          <p:spPr bwMode="auto">
            <a:xfrm>
              <a:off x="2119" y="0"/>
              <a:ext cx="1218618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6" name="Grafik 5">
              <a:extLst>
                <a:ext uri="{FF2B5EF4-FFF2-40B4-BE49-F238E27FC236}">
                  <a16:creationId xmlns:a16="http://schemas.microsoft.com/office/drawing/2014/main" id="{126545A0-B1A6-4A69-9FD9-A3022FFC0FB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037439" y="2317598"/>
              <a:ext cx="6183516" cy="2234254"/>
            </a:xfrm>
            <a:prstGeom prst="rect">
              <a:avLst/>
            </a:prstGeom>
          </p:spPr>
        </p:pic>
      </p:grpSp>
    </p:spTree>
    <p:extLst>
      <p:ext uri="{BB962C8B-B14F-4D97-AF65-F5344CB8AC3E}">
        <p14:creationId xmlns:p14="http://schemas.microsoft.com/office/powerpoint/2010/main" val="8141878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5" name="Picture 4" descr="C:\Documents and Settings\ROESSO\My Documents\Ablage\Corporate Design\PowerPoint\Logos Wizard\BASFc_Q_PPT_38_gruen-hell.tif">
            <a:extLst>
              <a:ext uri="{FF2B5EF4-FFF2-40B4-BE49-F238E27FC236}">
                <a16:creationId xmlns:a16="http://schemas.microsoft.com/office/drawing/2014/main" id="{95477E70-0A14-4C78-9861-9B5F5C1A3816}"/>
              </a:ext>
            </a:extLst>
          </p:cNvPr>
          <p:cNvPicPr>
            <a:picLocks noChangeArrowheads="1"/>
          </p:cNvPicPr>
          <p:nvPr userDrawn="1"/>
        </p:nvPicPr>
        <p:blipFill>
          <a:blip r:embed="rId2" cstate="hqprint">
            <a:biLevel thresh="50000"/>
            <a:extLst>
              <a:ext uri="{28A0092B-C50C-407E-A947-70E740481C1C}">
                <a14:useLocalDpi xmlns:a14="http://schemas.microsoft.com/office/drawing/2010/main"/>
              </a:ext>
            </a:extLst>
          </a:blip>
          <a:srcRect/>
          <a:stretch>
            <a:fillRect/>
          </a:stretch>
        </p:blipFill>
        <p:spPr bwMode="auto">
          <a:xfrm>
            <a:off x="2825" y="0"/>
            <a:ext cx="12196800" cy="6876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221133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itle 8">
            <a:extLst>
              <a:ext uri="{FF2B5EF4-FFF2-40B4-BE49-F238E27FC236}">
                <a16:creationId xmlns:a16="http://schemas.microsoft.com/office/drawing/2014/main" id="{6F1D66AF-C0C0-724E-AF29-7CB3BBB54DA6}"/>
              </a:ext>
            </a:extLst>
          </p:cNvPr>
          <p:cNvSpPr>
            <a:spLocks noGrp="1"/>
          </p:cNvSpPr>
          <p:nvPr>
            <p:ph type="title"/>
          </p:nvPr>
        </p:nvSpPr>
        <p:spPr/>
        <p:txBody>
          <a:bodyPr/>
          <a:lstStyle/>
          <a:p>
            <a:r>
              <a:rPr lang="en-US"/>
              <a:t>Click to edit Master title style</a:t>
            </a:r>
          </a:p>
        </p:txBody>
      </p:sp>
      <p:sp>
        <p:nvSpPr>
          <p:cNvPr id="13" name="Slide Number Placeholder 12">
            <a:extLst>
              <a:ext uri="{FF2B5EF4-FFF2-40B4-BE49-F238E27FC236}">
                <a16:creationId xmlns:a16="http://schemas.microsoft.com/office/drawing/2014/main" id="{A55E0BF9-1391-F543-B362-82AE8BE3BFD1}"/>
              </a:ext>
            </a:extLst>
          </p:cNvPr>
          <p:cNvSpPr>
            <a:spLocks noGrp="1"/>
          </p:cNvSpPr>
          <p:nvPr>
            <p:ph type="sldNum" sz="quarter" idx="4"/>
          </p:nvPr>
        </p:nvSpPr>
        <p:spPr>
          <a:xfrm>
            <a:off x="11353800" y="6419851"/>
            <a:ext cx="486363"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5D29A3D-3D4E-0644-99C6-E19DFF2B4365}" type="slidenum">
              <a:rPr lang="en-US" smtClean="0"/>
              <a:t>‹#›</a:t>
            </a:fld>
            <a:endParaRPr lang="en-US"/>
          </a:p>
        </p:txBody>
      </p:sp>
    </p:spTree>
    <p:extLst>
      <p:ext uri="{BB962C8B-B14F-4D97-AF65-F5344CB8AC3E}">
        <p14:creationId xmlns:p14="http://schemas.microsoft.com/office/powerpoint/2010/main" val="301254137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5" name="Picture 4" descr="C:\Documents and Settings\ROESSO\My Documents\Ablage\Corporate Design\PowerPoint\Logos Wizard\BASFc_Q_PPT_38_gruen-hell.tif">
            <a:extLst>
              <a:ext uri="{FF2B5EF4-FFF2-40B4-BE49-F238E27FC236}">
                <a16:creationId xmlns:a16="http://schemas.microsoft.com/office/drawing/2014/main" id="{95477E70-0A14-4C78-9861-9B5F5C1A3816}"/>
              </a:ext>
            </a:extLst>
          </p:cNvPr>
          <p:cNvPicPr>
            <a:picLocks noChangeArrowheads="1"/>
          </p:cNvPicPr>
          <p:nvPr userDrawn="1"/>
        </p:nvPicPr>
        <p:blipFill>
          <a:blip r:embed="rId2" cstate="hqprint">
            <a:biLevel thresh="50000"/>
            <a:extLst>
              <a:ext uri="{28A0092B-C50C-407E-A947-70E740481C1C}">
                <a14:useLocalDpi xmlns:a14="http://schemas.microsoft.com/office/drawing/2010/main"/>
              </a:ext>
            </a:extLst>
          </a:blip>
          <a:srcRect/>
          <a:stretch>
            <a:fillRect/>
          </a:stretch>
        </p:blipFill>
        <p:spPr bwMode="auto">
          <a:xfrm>
            <a:off x="2825" y="0"/>
            <a:ext cx="12196800" cy="6876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167504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elfolie (1)">
    <p:spTree>
      <p:nvGrpSpPr>
        <p:cNvPr id="1" name=""/>
        <p:cNvGrpSpPr/>
        <p:nvPr/>
      </p:nvGrpSpPr>
      <p:grpSpPr>
        <a:xfrm>
          <a:off x="0" y="0"/>
          <a:ext cx="0" cy="0"/>
          <a:chOff x="0" y="0"/>
          <a:chExt cx="0" cy="0"/>
        </a:xfrm>
      </p:grpSpPr>
      <p:grpSp>
        <p:nvGrpSpPr>
          <p:cNvPr id="2" name="Gruppieren 1">
            <a:extLst>
              <a:ext uri="{FF2B5EF4-FFF2-40B4-BE49-F238E27FC236}">
                <a16:creationId xmlns:a16="http://schemas.microsoft.com/office/drawing/2014/main" id="{91BD7B15-A2D9-47B0-8993-C9992C244CBC}"/>
              </a:ext>
            </a:extLst>
          </p:cNvPr>
          <p:cNvGrpSpPr/>
          <p:nvPr userDrawn="1"/>
        </p:nvGrpSpPr>
        <p:grpSpPr>
          <a:xfrm>
            <a:off x="1" y="864000"/>
            <a:ext cx="6195224" cy="1080000"/>
            <a:chOff x="1" y="864000"/>
            <a:chExt cx="6194418" cy="1080000"/>
          </a:xfrm>
        </p:grpSpPr>
        <p:sp>
          <p:nvSpPr>
            <p:cNvPr id="10" name="Rechteck 9"/>
            <p:cNvSpPr>
              <a:spLocks noChangeAspect="1"/>
            </p:cNvSpPr>
            <p:nvPr userDrawn="1"/>
          </p:nvSpPr>
          <p:spPr>
            <a:xfrm>
              <a:off x="1" y="864000"/>
              <a:ext cx="6194418" cy="108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pic>
          <p:nvPicPr>
            <p:cNvPr id="3" name="Grafik 2">
              <a:extLst>
                <a:ext uri="{FF2B5EF4-FFF2-40B4-BE49-F238E27FC236}">
                  <a16:creationId xmlns:a16="http://schemas.microsoft.com/office/drawing/2014/main" id="{39F54C14-632A-4F5D-AF18-1DA714CBB4EC}"/>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4311163" y="1127317"/>
              <a:ext cx="1619425" cy="586722"/>
            </a:xfrm>
            <a:prstGeom prst="rect">
              <a:avLst/>
            </a:prstGeom>
          </p:spPr>
        </p:pic>
      </p:grpSp>
      <p:sp>
        <p:nvSpPr>
          <p:cNvPr id="8" name="Rechteck 7"/>
          <p:cNvSpPr/>
          <p:nvPr userDrawn="1"/>
        </p:nvSpPr>
        <p:spPr>
          <a:xfrm>
            <a:off x="0" y="1944000"/>
            <a:ext cx="6195224" cy="3888432"/>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de-DE" sz="1800"/>
          </a:p>
        </p:txBody>
      </p:sp>
      <p:sp>
        <p:nvSpPr>
          <p:cNvPr id="42" name="Textplatzhalter 40"/>
          <p:cNvSpPr>
            <a:spLocks noGrp="1"/>
          </p:cNvSpPr>
          <p:nvPr userDrawn="1">
            <p:ph type="body" sz="quarter" idx="13" hasCustomPrompt="1"/>
          </p:nvPr>
        </p:nvSpPr>
        <p:spPr>
          <a:xfrm>
            <a:off x="432056" y="4968001"/>
            <a:ext cx="5444471" cy="433139"/>
          </a:xfrm>
          <a:prstGeom prst="rect">
            <a:avLst/>
          </a:prstGeom>
        </p:spPr>
        <p:txBody>
          <a:bodyPr lIns="0" tIns="0" rIns="0" bIns="0" anchor="b"/>
          <a:lstStyle>
            <a:lvl1pPr marL="0" indent="0">
              <a:buNone/>
              <a:defRPr>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Ludwigshafen, 26.05.2017</a:t>
            </a:r>
          </a:p>
        </p:txBody>
      </p:sp>
      <p:sp>
        <p:nvSpPr>
          <p:cNvPr id="6" name="Titel 5">
            <a:extLst>
              <a:ext uri="{FF2B5EF4-FFF2-40B4-BE49-F238E27FC236}">
                <a16:creationId xmlns:a16="http://schemas.microsoft.com/office/drawing/2014/main" id="{B1BB3A81-828C-46B6-8B45-0904C3B77353}"/>
              </a:ext>
            </a:extLst>
          </p:cNvPr>
          <p:cNvSpPr>
            <a:spLocks noGrp="1"/>
          </p:cNvSpPr>
          <p:nvPr>
            <p:ph type="title" hasCustomPrompt="1"/>
          </p:nvPr>
        </p:nvSpPr>
        <p:spPr>
          <a:xfrm>
            <a:off x="432057" y="2341404"/>
            <a:ext cx="5444471" cy="2516134"/>
          </a:xfrm>
          <a:prstGeom prst="rect">
            <a:avLst/>
          </a:prstGeom>
        </p:spPr>
        <p:txBody>
          <a:bodyPr lIns="0" tIns="0" rIns="0" bIns="0"/>
          <a:lstStyle>
            <a:lvl1pPr>
              <a:defRPr sz="3200">
                <a:solidFill>
                  <a:schemeClr val="accent1"/>
                </a:solidFill>
              </a:defRPr>
            </a:lvl1pPr>
          </a:lstStyle>
          <a:p>
            <a:r>
              <a:rPr lang="en-US" sz="3200" dirty="0"/>
              <a:t>Lorem Ipsum </a:t>
            </a:r>
            <a:r>
              <a:rPr lang="en-US" sz="3200" dirty="0" err="1"/>
              <a:t>dolormit</a:t>
            </a:r>
            <a:br>
              <a:rPr lang="en-US" sz="3200" dirty="0"/>
            </a:br>
            <a:r>
              <a:rPr lang="en-US" sz="3200" dirty="0" err="1"/>
              <a:t>amet</a:t>
            </a:r>
            <a:r>
              <a:rPr lang="en-US" sz="3200" dirty="0"/>
              <a:t> </a:t>
            </a:r>
            <a:r>
              <a:rPr lang="en-US" sz="3200" dirty="0" err="1"/>
              <a:t>avensis</a:t>
            </a:r>
            <a:r>
              <a:rPr lang="en-US" sz="3200" dirty="0"/>
              <a:t> </a:t>
            </a:r>
            <a:r>
              <a:rPr lang="en-US" sz="3200" dirty="0" err="1"/>
              <a:t>tusa</a:t>
            </a:r>
            <a:r>
              <a:rPr lang="en-US" sz="3200" dirty="0"/>
              <a:t>.</a:t>
            </a:r>
            <a:endParaRPr lang="de-DE" dirty="0"/>
          </a:p>
        </p:txBody>
      </p:sp>
      <p:sp>
        <p:nvSpPr>
          <p:cNvPr id="17" name="Textfeld 16">
            <a:extLst>
              <a:ext uri="{FF2B5EF4-FFF2-40B4-BE49-F238E27FC236}">
                <a16:creationId xmlns:a16="http://schemas.microsoft.com/office/drawing/2014/main" id="{4785AFB7-C388-4E45-BD2D-3D884C32812F}"/>
              </a:ext>
            </a:extLst>
          </p:cNvPr>
          <p:cNvSpPr txBox="1"/>
          <p:nvPr userDrawn="1"/>
        </p:nvSpPr>
        <p:spPr>
          <a:xfrm>
            <a:off x="5987785" y="6451321"/>
            <a:ext cx="216434" cy="184666"/>
          </a:xfrm>
          <a:prstGeom prst="rect">
            <a:avLst/>
          </a:prstGeom>
          <a:noFill/>
        </p:spPr>
        <p:txBody>
          <a:bodyPr wrap="none" lIns="0" tIns="0" rIns="0" bIns="0" rtlCol="0">
            <a:spAutoFit/>
          </a:bodyPr>
          <a:lstStyle/>
          <a:p>
            <a:pPr algn="ctr">
              <a:spcBef>
                <a:spcPts val="110"/>
              </a:spcBef>
              <a:spcAft>
                <a:spcPts val="110"/>
              </a:spcAft>
            </a:pPr>
            <a:r>
              <a:rPr lang="de-DE" sz="1200" dirty="0">
                <a:solidFill>
                  <a:srgbClr val="C50022"/>
                </a:solidFill>
              </a:rPr>
              <a:t>     </a:t>
            </a:r>
            <a:endParaRPr lang="de-DE" sz="1800" dirty="0">
              <a:solidFill>
                <a:srgbClr val="C50022"/>
              </a:solidFill>
            </a:endParaRPr>
          </a:p>
        </p:txBody>
      </p:sp>
      <p:sp>
        <p:nvSpPr>
          <p:cNvPr id="19" name="Datumsplatzhalter 5">
            <a:extLst>
              <a:ext uri="{FF2B5EF4-FFF2-40B4-BE49-F238E27FC236}">
                <a16:creationId xmlns:a16="http://schemas.microsoft.com/office/drawing/2014/main" id="{080CAAF3-72A8-4B9F-938F-054C585E4FFA}"/>
              </a:ext>
            </a:extLst>
          </p:cNvPr>
          <p:cNvSpPr>
            <a:spLocks noGrp="1"/>
          </p:cNvSpPr>
          <p:nvPr>
            <p:ph type="dt" sz="half" idx="2"/>
          </p:nvPr>
        </p:nvSpPr>
        <p:spPr>
          <a:xfrm>
            <a:off x="685849" y="6516409"/>
            <a:ext cx="468187" cy="175322"/>
          </a:xfrm>
          <a:prstGeom prst="rect">
            <a:avLst/>
          </a:prstGeom>
        </p:spPr>
        <p:txBody>
          <a:bodyPr wrap="none" lIns="0" tIns="0" rIns="0" bIns="0"/>
          <a:lstStyle>
            <a:lvl1pPr>
              <a:defRPr sz="900"/>
            </a:lvl1pPr>
          </a:lstStyle>
          <a:p>
            <a:fld id="{65010B03-D230-4701-9F37-B6F131066B93}" type="datetime1">
              <a:rPr lang="de-DE" smtClean="0"/>
              <a:t>20.06.2019</a:t>
            </a:fld>
            <a:endParaRPr lang="de-DE" dirty="0"/>
          </a:p>
        </p:txBody>
      </p:sp>
      <p:sp>
        <p:nvSpPr>
          <p:cNvPr id="20" name="Fußzeilenplatzhalter 6">
            <a:extLst>
              <a:ext uri="{FF2B5EF4-FFF2-40B4-BE49-F238E27FC236}">
                <a16:creationId xmlns:a16="http://schemas.microsoft.com/office/drawing/2014/main" id="{0AFC4AB5-DC9C-49A7-96AA-E02FE7953C85}"/>
              </a:ext>
            </a:extLst>
          </p:cNvPr>
          <p:cNvSpPr>
            <a:spLocks noGrp="1"/>
          </p:cNvSpPr>
          <p:nvPr>
            <p:ph type="ftr" sz="quarter" idx="3"/>
          </p:nvPr>
        </p:nvSpPr>
        <p:spPr>
          <a:xfrm>
            <a:off x="1368179" y="6516111"/>
            <a:ext cx="3364707" cy="167933"/>
          </a:xfrm>
          <a:prstGeom prst="rect">
            <a:avLst/>
          </a:prstGeom>
        </p:spPr>
        <p:txBody>
          <a:bodyPr lIns="0" tIns="0" rIns="0" bIns="0"/>
          <a:lstStyle>
            <a:lvl1pPr>
              <a:defRPr sz="900">
                <a:solidFill>
                  <a:srgbClr val="000000"/>
                </a:solidFill>
              </a:defRPr>
            </a:lvl1pPr>
          </a:lstStyle>
          <a:p>
            <a:r>
              <a:rPr lang="de-DE" dirty="0"/>
              <a:t>|  Optionale Zusatzinformationen</a:t>
            </a:r>
          </a:p>
        </p:txBody>
      </p:sp>
      <p:sp>
        <p:nvSpPr>
          <p:cNvPr id="21" name="Foliennummernplatzhalter 7">
            <a:extLst>
              <a:ext uri="{FF2B5EF4-FFF2-40B4-BE49-F238E27FC236}">
                <a16:creationId xmlns:a16="http://schemas.microsoft.com/office/drawing/2014/main" id="{18A080BE-65AF-4570-9C09-28CACD107D13}"/>
              </a:ext>
            </a:extLst>
          </p:cNvPr>
          <p:cNvSpPr>
            <a:spLocks noGrp="1"/>
          </p:cNvSpPr>
          <p:nvPr>
            <p:ph type="sldNum" sz="quarter" idx="4"/>
          </p:nvPr>
        </p:nvSpPr>
        <p:spPr>
          <a:xfrm>
            <a:off x="227043" y="6514798"/>
            <a:ext cx="384267" cy="151200"/>
          </a:xfrm>
          <a:prstGeom prst="rect">
            <a:avLst/>
          </a:prstGeom>
        </p:spPr>
        <p:txBody>
          <a:bodyPr lIns="0" tIns="0" rIns="0" bIns="0"/>
          <a:lstStyle>
            <a:lvl1pPr>
              <a:defRPr sz="900" b="1"/>
            </a:lvl1pPr>
          </a:lstStyle>
          <a:p>
            <a:fld id="{82EA1D04-CA53-4DE3-84A8-2B63E41036C9}" type="slidenum">
              <a:rPr lang="de-DE" smtClean="0"/>
              <a:pPr/>
              <a:t>‹#›</a:t>
            </a:fld>
            <a:endParaRPr lang="de-DE" dirty="0"/>
          </a:p>
        </p:txBody>
      </p:sp>
    </p:spTree>
    <p:extLst>
      <p:ext uri="{BB962C8B-B14F-4D97-AF65-F5344CB8AC3E}">
        <p14:creationId xmlns:p14="http://schemas.microsoft.com/office/powerpoint/2010/main" val="110872535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elfolie (2)">
    <p:spTree>
      <p:nvGrpSpPr>
        <p:cNvPr id="1" name=""/>
        <p:cNvGrpSpPr/>
        <p:nvPr/>
      </p:nvGrpSpPr>
      <p:grpSpPr>
        <a:xfrm>
          <a:off x="0" y="0"/>
          <a:ext cx="0" cy="0"/>
          <a:chOff x="0" y="0"/>
          <a:chExt cx="0" cy="0"/>
        </a:xfrm>
      </p:grpSpPr>
      <p:grpSp>
        <p:nvGrpSpPr>
          <p:cNvPr id="2" name="Gruppieren 1">
            <a:extLst>
              <a:ext uri="{FF2B5EF4-FFF2-40B4-BE49-F238E27FC236}">
                <a16:creationId xmlns:a16="http://schemas.microsoft.com/office/drawing/2014/main" id="{7137912A-42AE-4F38-BD0F-B7F89104FFE1}"/>
              </a:ext>
            </a:extLst>
          </p:cNvPr>
          <p:cNvGrpSpPr/>
          <p:nvPr userDrawn="1"/>
        </p:nvGrpSpPr>
        <p:grpSpPr>
          <a:xfrm>
            <a:off x="-8992" y="4687321"/>
            <a:ext cx="6195224" cy="1080000"/>
            <a:chOff x="-8991" y="4687321"/>
            <a:chExt cx="6194418" cy="1080000"/>
          </a:xfrm>
        </p:grpSpPr>
        <p:sp>
          <p:nvSpPr>
            <p:cNvPr id="11" name="Rechteck 10">
              <a:extLst>
                <a:ext uri="{FF2B5EF4-FFF2-40B4-BE49-F238E27FC236}">
                  <a16:creationId xmlns:a16="http://schemas.microsoft.com/office/drawing/2014/main" id="{C622B6B7-93D8-429A-857C-8366FC4A34C3}"/>
                </a:ext>
              </a:extLst>
            </p:cNvPr>
            <p:cNvSpPr>
              <a:spLocks noChangeAspect="1"/>
            </p:cNvSpPr>
            <p:nvPr userDrawn="1"/>
          </p:nvSpPr>
          <p:spPr>
            <a:xfrm>
              <a:off x="-8991" y="4687321"/>
              <a:ext cx="6194418" cy="108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pic>
          <p:nvPicPr>
            <p:cNvPr id="16" name="Grafik 15">
              <a:extLst>
                <a:ext uri="{FF2B5EF4-FFF2-40B4-BE49-F238E27FC236}">
                  <a16:creationId xmlns:a16="http://schemas.microsoft.com/office/drawing/2014/main" id="{B4F8C86B-0CE3-46DA-87BF-F661EA2941DA}"/>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4302171" y="4950638"/>
              <a:ext cx="1619425" cy="586722"/>
            </a:xfrm>
            <a:prstGeom prst="rect">
              <a:avLst/>
            </a:prstGeom>
          </p:spPr>
        </p:pic>
      </p:grpSp>
      <p:sp>
        <p:nvSpPr>
          <p:cNvPr id="8" name="Rechteck 7"/>
          <p:cNvSpPr/>
          <p:nvPr userDrawn="1"/>
        </p:nvSpPr>
        <p:spPr>
          <a:xfrm>
            <a:off x="134065" y="800708"/>
            <a:ext cx="6070154" cy="3888432"/>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p>
        </p:txBody>
      </p:sp>
      <p:sp>
        <p:nvSpPr>
          <p:cNvPr id="25" name="TitelPlaz"/>
          <p:cNvSpPr>
            <a:spLocks noGrp="1"/>
          </p:cNvSpPr>
          <p:nvPr userDrawn="1">
            <p:ph type="title" hasCustomPrompt="1"/>
            <p:custDataLst>
              <p:tags r:id="rId1"/>
            </p:custDataLst>
          </p:nvPr>
        </p:nvSpPr>
        <p:spPr>
          <a:xfrm>
            <a:off x="479614" y="1232756"/>
            <a:ext cx="5436342" cy="2592288"/>
          </a:xfrm>
          <a:prstGeom prst="rect">
            <a:avLst/>
          </a:prstGeom>
        </p:spPr>
        <p:txBody>
          <a:bodyPr vert="horz" lIns="0" tIns="0" rIns="0" bIns="0" rtlCol="0" anchor="t">
            <a:normAutofit/>
          </a:bodyPr>
          <a:lstStyle>
            <a:lvl1pPr>
              <a:lnSpc>
                <a:spcPct val="95000"/>
              </a:lnSpc>
              <a:spcBef>
                <a:spcPts val="0"/>
              </a:spcBef>
              <a:spcAft>
                <a:spcPts val="0"/>
              </a:spcAft>
              <a:defRPr sz="3400">
                <a:solidFill>
                  <a:schemeClr val="accent1"/>
                </a:solidFill>
              </a:defRPr>
            </a:lvl1pPr>
          </a:lstStyle>
          <a:p>
            <a:r>
              <a:rPr lang="en-US" sz="3400" dirty="0"/>
              <a:t>Lorem Ipsum </a:t>
            </a:r>
            <a:r>
              <a:rPr lang="en-US" sz="3400" dirty="0" err="1"/>
              <a:t>dolormit</a:t>
            </a:r>
            <a:br>
              <a:rPr lang="en-US" sz="3400" dirty="0"/>
            </a:br>
            <a:r>
              <a:rPr lang="en-US" sz="3400" dirty="0" err="1"/>
              <a:t>amet</a:t>
            </a:r>
            <a:r>
              <a:rPr lang="en-US" sz="3400" dirty="0"/>
              <a:t> </a:t>
            </a:r>
            <a:r>
              <a:rPr lang="en-US" sz="3400" dirty="0" err="1"/>
              <a:t>avensis</a:t>
            </a:r>
            <a:r>
              <a:rPr lang="en-US" sz="3400" dirty="0"/>
              <a:t> </a:t>
            </a:r>
            <a:r>
              <a:rPr lang="en-US" sz="3400" dirty="0" err="1"/>
              <a:t>tusa</a:t>
            </a:r>
            <a:r>
              <a:rPr lang="en-US" sz="3400" dirty="0"/>
              <a:t>.</a:t>
            </a:r>
            <a:br>
              <a:rPr lang="en-US" sz="3400" dirty="0"/>
            </a:br>
            <a:endParaRPr lang="de-DE" sz="3400" b="0" dirty="0"/>
          </a:p>
        </p:txBody>
      </p:sp>
      <p:sp>
        <p:nvSpPr>
          <p:cNvPr id="42" name="Textplatzhalter 40"/>
          <p:cNvSpPr>
            <a:spLocks noGrp="1"/>
          </p:cNvSpPr>
          <p:nvPr userDrawn="1">
            <p:ph type="body" sz="quarter" idx="13" hasCustomPrompt="1"/>
          </p:nvPr>
        </p:nvSpPr>
        <p:spPr>
          <a:xfrm>
            <a:off x="479614" y="3861048"/>
            <a:ext cx="5436342" cy="433139"/>
          </a:xfrm>
          <a:prstGeom prst="rect">
            <a:avLst/>
          </a:prstGeom>
        </p:spPr>
        <p:txBody>
          <a:bodyPr lIns="0" tIns="0" rIns="0" bIns="0" anchor="b"/>
          <a:lstStyle>
            <a:lvl1pPr marL="0" indent="0">
              <a:buNone/>
              <a:defRPr>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Ludwigshafen, 26.05.2017</a:t>
            </a:r>
          </a:p>
        </p:txBody>
      </p:sp>
      <p:sp>
        <p:nvSpPr>
          <p:cNvPr id="14" name="Textfeld 13">
            <a:extLst>
              <a:ext uri="{FF2B5EF4-FFF2-40B4-BE49-F238E27FC236}">
                <a16:creationId xmlns:a16="http://schemas.microsoft.com/office/drawing/2014/main" id="{62BFBEAA-2FBA-4360-ADE4-73AE5ABDF8D4}"/>
              </a:ext>
            </a:extLst>
          </p:cNvPr>
          <p:cNvSpPr txBox="1"/>
          <p:nvPr userDrawn="1"/>
        </p:nvSpPr>
        <p:spPr>
          <a:xfrm>
            <a:off x="5987785" y="6451321"/>
            <a:ext cx="216434" cy="184666"/>
          </a:xfrm>
          <a:prstGeom prst="rect">
            <a:avLst/>
          </a:prstGeom>
          <a:noFill/>
        </p:spPr>
        <p:txBody>
          <a:bodyPr wrap="none" lIns="0" tIns="0" rIns="0" bIns="0" rtlCol="0">
            <a:spAutoFit/>
          </a:bodyPr>
          <a:lstStyle/>
          <a:p>
            <a:pPr algn="ctr">
              <a:spcBef>
                <a:spcPts val="110"/>
              </a:spcBef>
              <a:spcAft>
                <a:spcPts val="110"/>
              </a:spcAft>
            </a:pPr>
            <a:r>
              <a:rPr lang="de-DE" sz="1200" dirty="0">
                <a:solidFill>
                  <a:srgbClr val="C50022"/>
                </a:solidFill>
              </a:rPr>
              <a:t>     </a:t>
            </a:r>
            <a:endParaRPr lang="de-DE" sz="1800" dirty="0">
              <a:solidFill>
                <a:srgbClr val="C50022"/>
              </a:solidFill>
            </a:endParaRPr>
          </a:p>
        </p:txBody>
      </p:sp>
      <p:sp>
        <p:nvSpPr>
          <p:cNvPr id="19" name="Datumsplatzhalter 5">
            <a:extLst>
              <a:ext uri="{FF2B5EF4-FFF2-40B4-BE49-F238E27FC236}">
                <a16:creationId xmlns:a16="http://schemas.microsoft.com/office/drawing/2014/main" id="{78C00482-9842-4FA8-AD1D-08C09AAF8191}"/>
              </a:ext>
            </a:extLst>
          </p:cNvPr>
          <p:cNvSpPr>
            <a:spLocks noGrp="1"/>
          </p:cNvSpPr>
          <p:nvPr>
            <p:ph type="dt" sz="half" idx="2"/>
          </p:nvPr>
        </p:nvSpPr>
        <p:spPr>
          <a:xfrm>
            <a:off x="685849" y="6516409"/>
            <a:ext cx="468187" cy="175322"/>
          </a:xfrm>
          <a:prstGeom prst="rect">
            <a:avLst/>
          </a:prstGeom>
        </p:spPr>
        <p:txBody>
          <a:bodyPr wrap="none" lIns="0" tIns="0" rIns="0" bIns="0"/>
          <a:lstStyle>
            <a:lvl1pPr>
              <a:defRPr sz="900"/>
            </a:lvl1pPr>
          </a:lstStyle>
          <a:p>
            <a:fld id="{65010B03-D230-4701-9F37-B6F131066B93}" type="datetime1">
              <a:rPr lang="de-DE" smtClean="0"/>
              <a:t>20.06.2019</a:t>
            </a:fld>
            <a:endParaRPr lang="de-DE" dirty="0"/>
          </a:p>
        </p:txBody>
      </p:sp>
      <p:sp>
        <p:nvSpPr>
          <p:cNvPr id="20" name="Fußzeilenplatzhalter 6">
            <a:extLst>
              <a:ext uri="{FF2B5EF4-FFF2-40B4-BE49-F238E27FC236}">
                <a16:creationId xmlns:a16="http://schemas.microsoft.com/office/drawing/2014/main" id="{288B0ACF-B38C-4EE9-BB65-6FBF2607C750}"/>
              </a:ext>
            </a:extLst>
          </p:cNvPr>
          <p:cNvSpPr>
            <a:spLocks noGrp="1"/>
          </p:cNvSpPr>
          <p:nvPr>
            <p:ph type="ftr" sz="quarter" idx="3"/>
          </p:nvPr>
        </p:nvSpPr>
        <p:spPr>
          <a:xfrm>
            <a:off x="1368179" y="6516111"/>
            <a:ext cx="3364707" cy="167933"/>
          </a:xfrm>
          <a:prstGeom prst="rect">
            <a:avLst/>
          </a:prstGeom>
        </p:spPr>
        <p:txBody>
          <a:bodyPr lIns="0" tIns="0" rIns="0" bIns="0"/>
          <a:lstStyle>
            <a:lvl1pPr>
              <a:defRPr sz="900">
                <a:solidFill>
                  <a:srgbClr val="000000"/>
                </a:solidFill>
              </a:defRPr>
            </a:lvl1pPr>
          </a:lstStyle>
          <a:p>
            <a:r>
              <a:rPr lang="de-DE" dirty="0"/>
              <a:t>|  Optionale Zusatzinformationen</a:t>
            </a:r>
          </a:p>
        </p:txBody>
      </p:sp>
      <p:sp>
        <p:nvSpPr>
          <p:cNvPr id="21" name="Foliennummernplatzhalter 7">
            <a:extLst>
              <a:ext uri="{FF2B5EF4-FFF2-40B4-BE49-F238E27FC236}">
                <a16:creationId xmlns:a16="http://schemas.microsoft.com/office/drawing/2014/main" id="{3524B24C-C17D-4026-A2BD-1057D7B8A69A}"/>
              </a:ext>
            </a:extLst>
          </p:cNvPr>
          <p:cNvSpPr>
            <a:spLocks noGrp="1"/>
          </p:cNvSpPr>
          <p:nvPr>
            <p:ph type="sldNum" sz="quarter" idx="4"/>
          </p:nvPr>
        </p:nvSpPr>
        <p:spPr>
          <a:xfrm>
            <a:off x="227043" y="6514798"/>
            <a:ext cx="384267" cy="151200"/>
          </a:xfrm>
          <a:prstGeom prst="rect">
            <a:avLst/>
          </a:prstGeom>
        </p:spPr>
        <p:txBody>
          <a:bodyPr lIns="0" tIns="0" rIns="0" bIns="0"/>
          <a:lstStyle>
            <a:lvl1pPr>
              <a:defRPr sz="900" b="1"/>
            </a:lvl1pPr>
          </a:lstStyle>
          <a:p>
            <a:fld id="{82EA1D04-CA53-4DE3-84A8-2B63E41036C9}" type="slidenum">
              <a:rPr lang="de-DE" smtClean="0"/>
              <a:pPr/>
              <a:t>‹#›</a:t>
            </a:fld>
            <a:endParaRPr lang="de-DE" dirty="0"/>
          </a:p>
        </p:txBody>
      </p:sp>
    </p:spTree>
    <p:extLst>
      <p:ext uri="{BB962C8B-B14F-4D97-AF65-F5344CB8AC3E}">
        <p14:creationId xmlns:p14="http://schemas.microsoft.com/office/powerpoint/2010/main" val="324896176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elfolie (3)">
    <p:spTree>
      <p:nvGrpSpPr>
        <p:cNvPr id="1" name=""/>
        <p:cNvGrpSpPr/>
        <p:nvPr/>
      </p:nvGrpSpPr>
      <p:grpSpPr>
        <a:xfrm>
          <a:off x="0" y="0"/>
          <a:ext cx="0" cy="0"/>
          <a:chOff x="0" y="0"/>
          <a:chExt cx="0" cy="0"/>
        </a:xfrm>
      </p:grpSpPr>
      <p:grpSp>
        <p:nvGrpSpPr>
          <p:cNvPr id="2" name="Gruppieren 1">
            <a:extLst>
              <a:ext uri="{FF2B5EF4-FFF2-40B4-BE49-F238E27FC236}">
                <a16:creationId xmlns:a16="http://schemas.microsoft.com/office/drawing/2014/main" id="{04D31B83-2E89-446B-AD46-9CF55729D5E9}"/>
              </a:ext>
            </a:extLst>
          </p:cNvPr>
          <p:cNvGrpSpPr/>
          <p:nvPr userDrawn="1"/>
        </p:nvGrpSpPr>
        <p:grpSpPr>
          <a:xfrm>
            <a:off x="5997360" y="872716"/>
            <a:ext cx="6195224" cy="1080000"/>
            <a:chOff x="5996579" y="872716"/>
            <a:chExt cx="6194418" cy="1080000"/>
          </a:xfrm>
        </p:grpSpPr>
        <p:sp>
          <p:nvSpPr>
            <p:cNvPr id="15" name="Rechteck 14">
              <a:extLst>
                <a:ext uri="{FF2B5EF4-FFF2-40B4-BE49-F238E27FC236}">
                  <a16:creationId xmlns:a16="http://schemas.microsoft.com/office/drawing/2014/main" id="{817AAF36-E66A-4DB6-BD1B-EB1CC84B3788}"/>
                </a:ext>
              </a:extLst>
            </p:cNvPr>
            <p:cNvSpPr>
              <a:spLocks noChangeAspect="1"/>
            </p:cNvSpPr>
            <p:nvPr userDrawn="1"/>
          </p:nvSpPr>
          <p:spPr>
            <a:xfrm>
              <a:off x="5996579" y="872716"/>
              <a:ext cx="6194418" cy="108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pic>
          <p:nvPicPr>
            <p:cNvPr id="16" name="Grafik 15">
              <a:extLst>
                <a:ext uri="{FF2B5EF4-FFF2-40B4-BE49-F238E27FC236}">
                  <a16:creationId xmlns:a16="http://schemas.microsoft.com/office/drawing/2014/main" id="{FB15633F-B6BF-4487-A284-A3B5B6192C06}"/>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6259808" y="1136032"/>
              <a:ext cx="1619425" cy="586722"/>
            </a:xfrm>
            <a:prstGeom prst="rect">
              <a:avLst/>
            </a:prstGeom>
          </p:spPr>
        </p:pic>
      </p:grpSp>
      <p:sp>
        <p:nvSpPr>
          <p:cNvPr id="8" name="Rechteck 7"/>
          <p:cNvSpPr/>
          <p:nvPr userDrawn="1"/>
        </p:nvSpPr>
        <p:spPr>
          <a:xfrm>
            <a:off x="5987786" y="2096716"/>
            <a:ext cx="6204215" cy="3888432"/>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accent1"/>
              </a:solidFill>
            </a:endParaRPr>
          </a:p>
        </p:txBody>
      </p:sp>
      <p:sp>
        <p:nvSpPr>
          <p:cNvPr id="25" name="TitelPlaz"/>
          <p:cNvSpPr>
            <a:spLocks noGrp="1"/>
          </p:cNvSpPr>
          <p:nvPr userDrawn="1">
            <p:ph type="title" hasCustomPrompt="1"/>
            <p:custDataLst>
              <p:tags r:id="rId1"/>
            </p:custDataLst>
          </p:nvPr>
        </p:nvSpPr>
        <p:spPr>
          <a:xfrm>
            <a:off x="6312052" y="2492896"/>
            <a:ext cx="5401303" cy="2592288"/>
          </a:xfrm>
          <a:prstGeom prst="rect">
            <a:avLst/>
          </a:prstGeom>
        </p:spPr>
        <p:txBody>
          <a:bodyPr vert="horz" lIns="0" tIns="0" rIns="0" bIns="0" rtlCol="0" anchor="t">
            <a:normAutofit/>
          </a:bodyPr>
          <a:lstStyle>
            <a:lvl1pPr>
              <a:lnSpc>
                <a:spcPct val="95000"/>
              </a:lnSpc>
              <a:spcBef>
                <a:spcPts val="0"/>
              </a:spcBef>
              <a:spcAft>
                <a:spcPts val="0"/>
              </a:spcAft>
              <a:defRPr sz="3400">
                <a:solidFill>
                  <a:schemeClr val="accent1"/>
                </a:solidFill>
              </a:defRPr>
            </a:lvl1pPr>
          </a:lstStyle>
          <a:p>
            <a:r>
              <a:rPr lang="en-US" sz="3400" dirty="0"/>
              <a:t>Lorem Ipsum </a:t>
            </a:r>
            <a:r>
              <a:rPr lang="en-US" sz="3400" dirty="0" err="1"/>
              <a:t>dolormit</a:t>
            </a:r>
            <a:br>
              <a:rPr lang="en-US" sz="3400" dirty="0"/>
            </a:br>
            <a:r>
              <a:rPr lang="en-US" sz="3400" dirty="0" err="1"/>
              <a:t>amet</a:t>
            </a:r>
            <a:r>
              <a:rPr lang="en-US" sz="3400" dirty="0"/>
              <a:t> </a:t>
            </a:r>
            <a:r>
              <a:rPr lang="en-US" sz="3400" dirty="0" err="1"/>
              <a:t>avensis</a:t>
            </a:r>
            <a:r>
              <a:rPr lang="en-US" sz="3400" dirty="0"/>
              <a:t> </a:t>
            </a:r>
            <a:r>
              <a:rPr lang="en-US" sz="3400" dirty="0" err="1"/>
              <a:t>tusa</a:t>
            </a:r>
            <a:r>
              <a:rPr lang="en-US" sz="3400" dirty="0"/>
              <a:t>.</a:t>
            </a:r>
            <a:endParaRPr lang="de-DE" sz="3400" b="0" dirty="0"/>
          </a:p>
        </p:txBody>
      </p:sp>
      <p:sp>
        <p:nvSpPr>
          <p:cNvPr id="42" name="Textplatzhalter 40"/>
          <p:cNvSpPr>
            <a:spLocks noGrp="1"/>
          </p:cNvSpPr>
          <p:nvPr userDrawn="1">
            <p:ph type="body" sz="quarter" idx="13" hasCustomPrompt="1"/>
          </p:nvPr>
        </p:nvSpPr>
        <p:spPr>
          <a:xfrm>
            <a:off x="6312052" y="5121189"/>
            <a:ext cx="5437312" cy="433139"/>
          </a:xfrm>
          <a:prstGeom prst="rect">
            <a:avLst/>
          </a:prstGeom>
        </p:spPr>
        <p:txBody>
          <a:bodyPr lIns="0" tIns="0" rIns="0" bIns="0" anchor="b"/>
          <a:lstStyle>
            <a:lvl1pPr marL="0" indent="0">
              <a:buNone/>
              <a:defRPr>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Ludwigshafen, 26.05.2017</a:t>
            </a:r>
          </a:p>
        </p:txBody>
      </p:sp>
      <p:sp>
        <p:nvSpPr>
          <p:cNvPr id="14" name="Textfeld 13">
            <a:extLst>
              <a:ext uri="{FF2B5EF4-FFF2-40B4-BE49-F238E27FC236}">
                <a16:creationId xmlns:a16="http://schemas.microsoft.com/office/drawing/2014/main" id="{70201EB7-A074-49C4-A59F-DC5A2780E1C2}"/>
              </a:ext>
            </a:extLst>
          </p:cNvPr>
          <p:cNvSpPr txBox="1"/>
          <p:nvPr userDrawn="1"/>
        </p:nvSpPr>
        <p:spPr>
          <a:xfrm>
            <a:off x="5987785" y="6451321"/>
            <a:ext cx="216434" cy="184666"/>
          </a:xfrm>
          <a:prstGeom prst="rect">
            <a:avLst/>
          </a:prstGeom>
          <a:noFill/>
        </p:spPr>
        <p:txBody>
          <a:bodyPr wrap="none" lIns="0" tIns="0" rIns="0" bIns="0" rtlCol="0">
            <a:spAutoFit/>
          </a:bodyPr>
          <a:lstStyle/>
          <a:p>
            <a:pPr algn="ctr">
              <a:spcBef>
                <a:spcPts val="110"/>
              </a:spcBef>
              <a:spcAft>
                <a:spcPts val="110"/>
              </a:spcAft>
            </a:pPr>
            <a:r>
              <a:rPr lang="de-DE" sz="1200" dirty="0">
                <a:solidFill>
                  <a:srgbClr val="C50022"/>
                </a:solidFill>
              </a:rPr>
              <a:t>     </a:t>
            </a:r>
            <a:endParaRPr lang="de-DE" sz="1800" dirty="0">
              <a:solidFill>
                <a:srgbClr val="C50022"/>
              </a:solidFill>
            </a:endParaRPr>
          </a:p>
        </p:txBody>
      </p:sp>
      <p:sp>
        <p:nvSpPr>
          <p:cNvPr id="19" name="Datumsplatzhalter 5">
            <a:extLst>
              <a:ext uri="{FF2B5EF4-FFF2-40B4-BE49-F238E27FC236}">
                <a16:creationId xmlns:a16="http://schemas.microsoft.com/office/drawing/2014/main" id="{A9008EC8-F557-42A2-AD66-ECB6CC309F98}"/>
              </a:ext>
            </a:extLst>
          </p:cNvPr>
          <p:cNvSpPr>
            <a:spLocks noGrp="1"/>
          </p:cNvSpPr>
          <p:nvPr>
            <p:ph type="dt" sz="half" idx="2"/>
          </p:nvPr>
        </p:nvSpPr>
        <p:spPr>
          <a:xfrm>
            <a:off x="685849" y="6516409"/>
            <a:ext cx="468187" cy="175322"/>
          </a:xfrm>
          <a:prstGeom prst="rect">
            <a:avLst/>
          </a:prstGeom>
        </p:spPr>
        <p:txBody>
          <a:bodyPr wrap="none" lIns="0" tIns="0" rIns="0" bIns="0"/>
          <a:lstStyle>
            <a:lvl1pPr>
              <a:defRPr sz="900"/>
            </a:lvl1pPr>
          </a:lstStyle>
          <a:p>
            <a:fld id="{65010B03-D230-4701-9F37-B6F131066B93}" type="datetime1">
              <a:rPr lang="de-DE" smtClean="0"/>
              <a:t>20.06.2019</a:t>
            </a:fld>
            <a:endParaRPr lang="de-DE" dirty="0"/>
          </a:p>
        </p:txBody>
      </p:sp>
      <p:sp>
        <p:nvSpPr>
          <p:cNvPr id="20" name="Fußzeilenplatzhalter 6">
            <a:extLst>
              <a:ext uri="{FF2B5EF4-FFF2-40B4-BE49-F238E27FC236}">
                <a16:creationId xmlns:a16="http://schemas.microsoft.com/office/drawing/2014/main" id="{0D782FAC-F9ED-4398-9FDE-65580BC90081}"/>
              </a:ext>
            </a:extLst>
          </p:cNvPr>
          <p:cNvSpPr>
            <a:spLocks noGrp="1"/>
          </p:cNvSpPr>
          <p:nvPr>
            <p:ph type="ftr" sz="quarter" idx="3"/>
          </p:nvPr>
        </p:nvSpPr>
        <p:spPr>
          <a:xfrm>
            <a:off x="1368179" y="6516111"/>
            <a:ext cx="3364707" cy="167933"/>
          </a:xfrm>
          <a:prstGeom prst="rect">
            <a:avLst/>
          </a:prstGeom>
        </p:spPr>
        <p:txBody>
          <a:bodyPr lIns="0" tIns="0" rIns="0" bIns="0"/>
          <a:lstStyle>
            <a:lvl1pPr>
              <a:defRPr sz="900">
                <a:solidFill>
                  <a:srgbClr val="000000"/>
                </a:solidFill>
              </a:defRPr>
            </a:lvl1pPr>
          </a:lstStyle>
          <a:p>
            <a:r>
              <a:rPr lang="de-DE" dirty="0"/>
              <a:t>|  Optionale Zusatzinformationen</a:t>
            </a:r>
          </a:p>
        </p:txBody>
      </p:sp>
      <p:sp>
        <p:nvSpPr>
          <p:cNvPr id="21" name="Foliennummernplatzhalter 7">
            <a:extLst>
              <a:ext uri="{FF2B5EF4-FFF2-40B4-BE49-F238E27FC236}">
                <a16:creationId xmlns:a16="http://schemas.microsoft.com/office/drawing/2014/main" id="{E09338FD-93DD-492F-9B2E-1D643524A842}"/>
              </a:ext>
            </a:extLst>
          </p:cNvPr>
          <p:cNvSpPr>
            <a:spLocks noGrp="1"/>
          </p:cNvSpPr>
          <p:nvPr>
            <p:ph type="sldNum" sz="quarter" idx="4"/>
          </p:nvPr>
        </p:nvSpPr>
        <p:spPr>
          <a:xfrm>
            <a:off x="227043" y="6514798"/>
            <a:ext cx="384267" cy="151200"/>
          </a:xfrm>
          <a:prstGeom prst="rect">
            <a:avLst/>
          </a:prstGeom>
        </p:spPr>
        <p:txBody>
          <a:bodyPr lIns="0" tIns="0" rIns="0" bIns="0"/>
          <a:lstStyle>
            <a:lvl1pPr>
              <a:defRPr sz="900" b="1"/>
            </a:lvl1pPr>
          </a:lstStyle>
          <a:p>
            <a:fld id="{82EA1D04-CA53-4DE3-84A8-2B63E41036C9}" type="slidenum">
              <a:rPr lang="de-DE" smtClean="0"/>
              <a:pPr/>
              <a:t>‹#›</a:t>
            </a:fld>
            <a:endParaRPr lang="de-DE" dirty="0"/>
          </a:p>
        </p:txBody>
      </p:sp>
    </p:spTree>
    <p:extLst>
      <p:ext uri="{BB962C8B-B14F-4D97-AF65-F5344CB8AC3E}">
        <p14:creationId xmlns:p14="http://schemas.microsoft.com/office/powerpoint/2010/main" val="374896279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elfolie (4)">
    <p:spTree>
      <p:nvGrpSpPr>
        <p:cNvPr id="1" name=""/>
        <p:cNvGrpSpPr/>
        <p:nvPr/>
      </p:nvGrpSpPr>
      <p:grpSpPr>
        <a:xfrm>
          <a:off x="0" y="0"/>
          <a:ext cx="0" cy="0"/>
          <a:chOff x="0" y="0"/>
          <a:chExt cx="0" cy="0"/>
        </a:xfrm>
      </p:grpSpPr>
      <p:grpSp>
        <p:nvGrpSpPr>
          <p:cNvPr id="2" name="Gruppieren 1">
            <a:extLst>
              <a:ext uri="{FF2B5EF4-FFF2-40B4-BE49-F238E27FC236}">
                <a16:creationId xmlns:a16="http://schemas.microsoft.com/office/drawing/2014/main" id="{14824817-2139-4738-B40B-D941412B7ECA}"/>
              </a:ext>
            </a:extLst>
          </p:cNvPr>
          <p:cNvGrpSpPr/>
          <p:nvPr userDrawn="1"/>
        </p:nvGrpSpPr>
        <p:grpSpPr>
          <a:xfrm>
            <a:off x="5996776" y="4687321"/>
            <a:ext cx="6195224" cy="1080000"/>
            <a:chOff x="5995995" y="4687321"/>
            <a:chExt cx="6194418" cy="1080000"/>
          </a:xfrm>
        </p:grpSpPr>
        <p:sp>
          <p:nvSpPr>
            <p:cNvPr id="15" name="Rechteck 14">
              <a:extLst>
                <a:ext uri="{FF2B5EF4-FFF2-40B4-BE49-F238E27FC236}">
                  <a16:creationId xmlns:a16="http://schemas.microsoft.com/office/drawing/2014/main" id="{772A11FC-14A0-4F7F-9E95-7F8790186215}"/>
                </a:ext>
              </a:extLst>
            </p:cNvPr>
            <p:cNvSpPr>
              <a:spLocks noChangeAspect="1"/>
            </p:cNvSpPr>
            <p:nvPr userDrawn="1"/>
          </p:nvSpPr>
          <p:spPr>
            <a:xfrm>
              <a:off x="5995995" y="4687321"/>
              <a:ext cx="6194418" cy="108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pic>
          <p:nvPicPr>
            <p:cNvPr id="16" name="Grafik 15">
              <a:extLst>
                <a:ext uri="{FF2B5EF4-FFF2-40B4-BE49-F238E27FC236}">
                  <a16:creationId xmlns:a16="http://schemas.microsoft.com/office/drawing/2014/main" id="{2FDE93F7-B7D1-4397-9B86-4FF056C41D62}"/>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6268213" y="4950637"/>
              <a:ext cx="1619425" cy="586722"/>
            </a:xfrm>
            <a:prstGeom prst="rect">
              <a:avLst/>
            </a:prstGeom>
          </p:spPr>
        </p:pic>
      </p:grpSp>
      <p:sp>
        <p:nvSpPr>
          <p:cNvPr id="8" name="Rechteck 7"/>
          <p:cNvSpPr/>
          <p:nvPr userDrawn="1"/>
        </p:nvSpPr>
        <p:spPr>
          <a:xfrm>
            <a:off x="5987784" y="800708"/>
            <a:ext cx="6204216" cy="3888432"/>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accent1"/>
              </a:solidFill>
            </a:endParaRPr>
          </a:p>
        </p:txBody>
      </p:sp>
      <p:sp>
        <p:nvSpPr>
          <p:cNvPr id="25" name="TitelPlaz"/>
          <p:cNvSpPr>
            <a:spLocks noGrp="1"/>
          </p:cNvSpPr>
          <p:nvPr userDrawn="1">
            <p:ph type="title" hasCustomPrompt="1"/>
            <p:custDataLst>
              <p:tags r:id="rId1"/>
            </p:custDataLst>
          </p:nvPr>
        </p:nvSpPr>
        <p:spPr>
          <a:xfrm>
            <a:off x="6276043" y="1232756"/>
            <a:ext cx="5446059" cy="2592288"/>
          </a:xfrm>
          <a:prstGeom prst="rect">
            <a:avLst/>
          </a:prstGeom>
        </p:spPr>
        <p:txBody>
          <a:bodyPr vert="horz" lIns="0" tIns="0" rIns="0" bIns="0" rtlCol="0" anchor="t">
            <a:normAutofit/>
          </a:bodyPr>
          <a:lstStyle>
            <a:lvl1pPr>
              <a:lnSpc>
                <a:spcPct val="95000"/>
              </a:lnSpc>
              <a:spcBef>
                <a:spcPts val="0"/>
              </a:spcBef>
              <a:spcAft>
                <a:spcPts val="0"/>
              </a:spcAft>
              <a:defRPr sz="3400">
                <a:solidFill>
                  <a:schemeClr val="accent1"/>
                </a:solidFill>
              </a:defRPr>
            </a:lvl1pPr>
          </a:lstStyle>
          <a:p>
            <a:r>
              <a:rPr lang="en-US" sz="3400" dirty="0"/>
              <a:t>Lorem Ipsum </a:t>
            </a:r>
            <a:r>
              <a:rPr lang="en-US" sz="3400" dirty="0" err="1"/>
              <a:t>dolormit</a:t>
            </a:r>
            <a:br>
              <a:rPr lang="en-US" sz="3400" dirty="0"/>
            </a:br>
            <a:r>
              <a:rPr lang="en-US" sz="3400" dirty="0" err="1"/>
              <a:t>amet</a:t>
            </a:r>
            <a:r>
              <a:rPr lang="en-US" sz="3400" dirty="0"/>
              <a:t> </a:t>
            </a:r>
            <a:r>
              <a:rPr lang="en-US" sz="3400" dirty="0" err="1"/>
              <a:t>avensis</a:t>
            </a:r>
            <a:r>
              <a:rPr lang="en-US" sz="3400" dirty="0"/>
              <a:t> </a:t>
            </a:r>
            <a:r>
              <a:rPr lang="en-US" sz="3400" dirty="0" err="1"/>
              <a:t>tusa</a:t>
            </a:r>
            <a:r>
              <a:rPr lang="en-US" sz="3400" dirty="0"/>
              <a:t>.</a:t>
            </a:r>
            <a:endParaRPr lang="de-DE" sz="3400" b="0" dirty="0"/>
          </a:p>
        </p:txBody>
      </p:sp>
      <p:sp>
        <p:nvSpPr>
          <p:cNvPr id="42" name="Textplatzhalter 40"/>
          <p:cNvSpPr>
            <a:spLocks noGrp="1"/>
          </p:cNvSpPr>
          <p:nvPr userDrawn="1">
            <p:ph type="body" sz="quarter" idx="13" hasCustomPrompt="1"/>
          </p:nvPr>
        </p:nvSpPr>
        <p:spPr>
          <a:xfrm>
            <a:off x="6276043" y="3861048"/>
            <a:ext cx="5446059" cy="433139"/>
          </a:xfrm>
          <a:prstGeom prst="rect">
            <a:avLst/>
          </a:prstGeom>
        </p:spPr>
        <p:txBody>
          <a:bodyPr lIns="0" tIns="0" rIns="0" bIns="0" anchor="b"/>
          <a:lstStyle>
            <a:lvl1pPr marL="0" indent="0">
              <a:buNone/>
              <a:defRPr>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Ludwigshafen, 26.05.2017</a:t>
            </a:r>
          </a:p>
        </p:txBody>
      </p:sp>
      <p:sp>
        <p:nvSpPr>
          <p:cNvPr id="14" name="Textfeld 13">
            <a:extLst>
              <a:ext uri="{FF2B5EF4-FFF2-40B4-BE49-F238E27FC236}">
                <a16:creationId xmlns:a16="http://schemas.microsoft.com/office/drawing/2014/main" id="{1630D635-EE83-4917-BCF4-46A4F6763216}"/>
              </a:ext>
            </a:extLst>
          </p:cNvPr>
          <p:cNvSpPr txBox="1"/>
          <p:nvPr userDrawn="1"/>
        </p:nvSpPr>
        <p:spPr>
          <a:xfrm>
            <a:off x="5987785" y="6451321"/>
            <a:ext cx="216434" cy="184666"/>
          </a:xfrm>
          <a:prstGeom prst="rect">
            <a:avLst/>
          </a:prstGeom>
          <a:noFill/>
        </p:spPr>
        <p:txBody>
          <a:bodyPr wrap="none" lIns="0" tIns="0" rIns="0" bIns="0" rtlCol="0">
            <a:spAutoFit/>
          </a:bodyPr>
          <a:lstStyle/>
          <a:p>
            <a:pPr algn="ctr">
              <a:spcBef>
                <a:spcPts val="110"/>
              </a:spcBef>
              <a:spcAft>
                <a:spcPts val="110"/>
              </a:spcAft>
            </a:pPr>
            <a:r>
              <a:rPr lang="de-DE" sz="1200" dirty="0">
                <a:solidFill>
                  <a:srgbClr val="C50022"/>
                </a:solidFill>
              </a:rPr>
              <a:t>     </a:t>
            </a:r>
            <a:endParaRPr lang="de-DE" sz="1800" dirty="0">
              <a:solidFill>
                <a:srgbClr val="C50022"/>
              </a:solidFill>
            </a:endParaRPr>
          </a:p>
        </p:txBody>
      </p:sp>
      <p:sp>
        <p:nvSpPr>
          <p:cNvPr id="19" name="Datumsplatzhalter 5">
            <a:extLst>
              <a:ext uri="{FF2B5EF4-FFF2-40B4-BE49-F238E27FC236}">
                <a16:creationId xmlns:a16="http://schemas.microsoft.com/office/drawing/2014/main" id="{800107A6-E07E-41F4-BB8A-6E6A94D0B386}"/>
              </a:ext>
            </a:extLst>
          </p:cNvPr>
          <p:cNvSpPr>
            <a:spLocks noGrp="1"/>
          </p:cNvSpPr>
          <p:nvPr>
            <p:ph type="dt" sz="half" idx="2"/>
          </p:nvPr>
        </p:nvSpPr>
        <p:spPr>
          <a:xfrm>
            <a:off x="685849" y="6516409"/>
            <a:ext cx="468187" cy="175322"/>
          </a:xfrm>
          <a:prstGeom prst="rect">
            <a:avLst/>
          </a:prstGeom>
        </p:spPr>
        <p:txBody>
          <a:bodyPr wrap="none" lIns="0" tIns="0" rIns="0" bIns="0"/>
          <a:lstStyle>
            <a:lvl1pPr>
              <a:defRPr sz="900"/>
            </a:lvl1pPr>
          </a:lstStyle>
          <a:p>
            <a:fld id="{65010B03-D230-4701-9F37-B6F131066B93}" type="datetime1">
              <a:rPr lang="de-DE" smtClean="0"/>
              <a:t>20.06.2019</a:t>
            </a:fld>
            <a:endParaRPr lang="de-DE" dirty="0"/>
          </a:p>
        </p:txBody>
      </p:sp>
      <p:sp>
        <p:nvSpPr>
          <p:cNvPr id="20" name="Fußzeilenplatzhalter 6">
            <a:extLst>
              <a:ext uri="{FF2B5EF4-FFF2-40B4-BE49-F238E27FC236}">
                <a16:creationId xmlns:a16="http://schemas.microsoft.com/office/drawing/2014/main" id="{88E8D379-A504-4A2A-A8B5-6D43D31BF862}"/>
              </a:ext>
            </a:extLst>
          </p:cNvPr>
          <p:cNvSpPr>
            <a:spLocks noGrp="1"/>
          </p:cNvSpPr>
          <p:nvPr>
            <p:ph type="ftr" sz="quarter" idx="3"/>
          </p:nvPr>
        </p:nvSpPr>
        <p:spPr>
          <a:xfrm>
            <a:off x="1368179" y="6516111"/>
            <a:ext cx="3364707" cy="167933"/>
          </a:xfrm>
          <a:prstGeom prst="rect">
            <a:avLst/>
          </a:prstGeom>
        </p:spPr>
        <p:txBody>
          <a:bodyPr lIns="0" tIns="0" rIns="0" bIns="0"/>
          <a:lstStyle>
            <a:lvl1pPr>
              <a:defRPr sz="900">
                <a:solidFill>
                  <a:srgbClr val="000000"/>
                </a:solidFill>
              </a:defRPr>
            </a:lvl1pPr>
          </a:lstStyle>
          <a:p>
            <a:r>
              <a:rPr lang="de-DE" dirty="0"/>
              <a:t>|  Optionale Zusatzinformationen</a:t>
            </a:r>
          </a:p>
        </p:txBody>
      </p:sp>
      <p:sp>
        <p:nvSpPr>
          <p:cNvPr id="21" name="Foliennummernplatzhalter 7">
            <a:extLst>
              <a:ext uri="{FF2B5EF4-FFF2-40B4-BE49-F238E27FC236}">
                <a16:creationId xmlns:a16="http://schemas.microsoft.com/office/drawing/2014/main" id="{3A29059A-93E7-4E86-874F-4B85CFFBC94C}"/>
              </a:ext>
            </a:extLst>
          </p:cNvPr>
          <p:cNvSpPr>
            <a:spLocks noGrp="1"/>
          </p:cNvSpPr>
          <p:nvPr>
            <p:ph type="sldNum" sz="quarter" idx="4"/>
          </p:nvPr>
        </p:nvSpPr>
        <p:spPr>
          <a:xfrm>
            <a:off x="227043" y="6514798"/>
            <a:ext cx="384267" cy="151200"/>
          </a:xfrm>
          <a:prstGeom prst="rect">
            <a:avLst/>
          </a:prstGeom>
        </p:spPr>
        <p:txBody>
          <a:bodyPr lIns="0" tIns="0" rIns="0" bIns="0"/>
          <a:lstStyle>
            <a:lvl1pPr>
              <a:defRPr sz="900" b="1"/>
            </a:lvl1pPr>
          </a:lstStyle>
          <a:p>
            <a:fld id="{82EA1D04-CA53-4DE3-84A8-2B63E41036C9}" type="slidenum">
              <a:rPr lang="de-DE" smtClean="0"/>
              <a:pPr/>
              <a:t>‹#›</a:t>
            </a:fld>
            <a:endParaRPr lang="de-DE" dirty="0"/>
          </a:p>
        </p:txBody>
      </p:sp>
    </p:spTree>
    <p:extLst>
      <p:ext uri="{BB962C8B-B14F-4D97-AF65-F5344CB8AC3E}">
        <p14:creationId xmlns:p14="http://schemas.microsoft.com/office/powerpoint/2010/main" val="341550183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Titelfolie_Individuell">
    <p:spTree>
      <p:nvGrpSpPr>
        <p:cNvPr id="1" name=""/>
        <p:cNvGrpSpPr/>
        <p:nvPr/>
      </p:nvGrpSpPr>
      <p:grpSpPr>
        <a:xfrm>
          <a:off x="0" y="0"/>
          <a:ext cx="0" cy="0"/>
          <a:chOff x="0" y="0"/>
          <a:chExt cx="0" cy="0"/>
        </a:xfrm>
      </p:grpSpPr>
      <p:sp>
        <p:nvSpPr>
          <p:cNvPr id="10" name="Textfeld 9">
            <a:extLst>
              <a:ext uri="{FF2B5EF4-FFF2-40B4-BE49-F238E27FC236}">
                <a16:creationId xmlns:a16="http://schemas.microsoft.com/office/drawing/2014/main" id="{F721AC38-2766-43CB-971E-986E0C3B0C35}"/>
              </a:ext>
            </a:extLst>
          </p:cNvPr>
          <p:cNvSpPr txBox="1"/>
          <p:nvPr userDrawn="1"/>
        </p:nvSpPr>
        <p:spPr>
          <a:xfrm>
            <a:off x="5987785" y="6451321"/>
            <a:ext cx="216434" cy="184666"/>
          </a:xfrm>
          <a:prstGeom prst="rect">
            <a:avLst/>
          </a:prstGeom>
          <a:noFill/>
        </p:spPr>
        <p:txBody>
          <a:bodyPr wrap="none" lIns="0" tIns="0" rIns="0" bIns="0" rtlCol="0">
            <a:spAutoFit/>
          </a:bodyPr>
          <a:lstStyle/>
          <a:p>
            <a:pPr algn="ctr">
              <a:spcBef>
                <a:spcPts val="110"/>
              </a:spcBef>
              <a:spcAft>
                <a:spcPts val="110"/>
              </a:spcAft>
            </a:pPr>
            <a:r>
              <a:rPr lang="de-DE" sz="1200" dirty="0">
                <a:solidFill>
                  <a:srgbClr val="C50022"/>
                </a:solidFill>
              </a:rPr>
              <a:t>     </a:t>
            </a:r>
            <a:endParaRPr lang="de-DE" sz="1800" dirty="0">
              <a:solidFill>
                <a:srgbClr val="C50022"/>
              </a:solidFill>
            </a:endParaRPr>
          </a:p>
        </p:txBody>
      </p:sp>
      <p:sp>
        <p:nvSpPr>
          <p:cNvPr id="13" name="Datumsplatzhalter 5">
            <a:extLst>
              <a:ext uri="{FF2B5EF4-FFF2-40B4-BE49-F238E27FC236}">
                <a16:creationId xmlns:a16="http://schemas.microsoft.com/office/drawing/2014/main" id="{E7F35D83-2E49-43C2-AFE7-8E15C1CA5592}"/>
              </a:ext>
            </a:extLst>
          </p:cNvPr>
          <p:cNvSpPr>
            <a:spLocks noGrp="1"/>
          </p:cNvSpPr>
          <p:nvPr>
            <p:ph type="dt" sz="half" idx="2"/>
          </p:nvPr>
        </p:nvSpPr>
        <p:spPr>
          <a:xfrm>
            <a:off x="685849" y="6516409"/>
            <a:ext cx="468187" cy="175322"/>
          </a:xfrm>
          <a:prstGeom prst="rect">
            <a:avLst/>
          </a:prstGeom>
        </p:spPr>
        <p:txBody>
          <a:bodyPr wrap="none" lIns="0" tIns="0" rIns="0" bIns="0"/>
          <a:lstStyle>
            <a:lvl1pPr>
              <a:defRPr sz="900"/>
            </a:lvl1pPr>
          </a:lstStyle>
          <a:p>
            <a:fld id="{65010B03-D230-4701-9F37-B6F131066B93}" type="datetime1">
              <a:rPr lang="de-DE" smtClean="0"/>
              <a:t>20.06.2019</a:t>
            </a:fld>
            <a:endParaRPr lang="de-DE" dirty="0"/>
          </a:p>
        </p:txBody>
      </p:sp>
      <p:sp>
        <p:nvSpPr>
          <p:cNvPr id="14" name="Fußzeilenplatzhalter 6">
            <a:extLst>
              <a:ext uri="{FF2B5EF4-FFF2-40B4-BE49-F238E27FC236}">
                <a16:creationId xmlns:a16="http://schemas.microsoft.com/office/drawing/2014/main" id="{C80BE593-88F9-4077-8479-C015A3C89F18}"/>
              </a:ext>
            </a:extLst>
          </p:cNvPr>
          <p:cNvSpPr>
            <a:spLocks noGrp="1"/>
          </p:cNvSpPr>
          <p:nvPr>
            <p:ph type="ftr" sz="quarter" idx="3"/>
          </p:nvPr>
        </p:nvSpPr>
        <p:spPr>
          <a:xfrm>
            <a:off x="1368179" y="6516111"/>
            <a:ext cx="3364707" cy="167933"/>
          </a:xfrm>
          <a:prstGeom prst="rect">
            <a:avLst/>
          </a:prstGeom>
        </p:spPr>
        <p:txBody>
          <a:bodyPr lIns="0" tIns="0" rIns="0" bIns="0"/>
          <a:lstStyle>
            <a:lvl1pPr>
              <a:defRPr sz="900">
                <a:solidFill>
                  <a:srgbClr val="000000"/>
                </a:solidFill>
              </a:defRPr>
            </a:lvl1pPr>
          </a:lstStyle>
          <a:p>
            <a:r>
              <a:rPr lang="de-DE" dirty="0"/>
              <a:t>|  Optionale Zusatzinformationen</a:t>
            </a:r>
          </a:p>
        </p:txBody>
      </p:sp>
      <p:sp>
        <p:nvSpPr>
          <p:cNvPr id="15" name="Foliennummernplatzhalter 7">
            <a:extLst>
              <a:ext uri="{FF2B5EF4-FFF2-40B4-BE49-F238E27FC236}">
                <a16:creationId xmlns:a16="http://schemas.microsoft.com/office/drawing/2014/main" id="{D67BF167-1BE6-4042-9052-FC67C2A7BE16}"/>
              </a:ext>
            </a:extLst>
          </p:cNvPr>
          <p:cNvSpPr>
            <a:spLocks noGrp="1"/>
          </p:cNvSpPr>
          <p:nvPr>
            <p:ph type="sldNum" sz="quarter" idx="4"/>
          </p:nvPr>
        </p:nvSpPr>
        <p:spPr>
          <a:xfrm>
            <a:off x="227043" y="6514798"/>
            <a:ext cx="384267" cy="151200"/>
          </a:xfrm>
          <a:prstGeom prst="rect">
            <a:avLst/>
          </a:prstGeom>
        </p:spPr>
        <p:txBody>
          <a:bodyPr lIns="0" tIns="0" rIns="0" bIns="0"/>
          <a:lstStyle>
            <a:lvl1pPr>
              <a:defRPr sz="900" b="1"/>
            </a:lvl1pPr>
          </a:lstStyle>
          <a:p>
            <a:fld id="{82EA1D04-CA53-4DE3-84A8-2B63E41036C9}" type="slidenum">
              <a:rPr lang="de-DE" smtClean="0"/>
              <a:pPr/>
              <a:t>‹#›</a:t>
            </a:fld>
            <a:endParaRPr lang="de-DE" dirty="0"/>
          </a:p>
        </p:txBody>
      </p:sp>
    </p:spTree>
    <p:extLst>
      <p:ext uri="{BB962C8B-B14F-4D97-AF65-F5344CB8AC3E}">
        <p14:creationId xmlns:p14="http://schemas.microsoft.com/office/powerpoint/2010/main" val="344906458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8DD1E4A4-7099-48D4-B1FB-37329156E9D9}"/>
              </a:ext>
            </a:extLst>
          </p:cNvPr>
          <p:cNvGraphicFramePr>
            <a:graphicFrameLocks noChangeAspect="1"/>
          </p:cNvGraphicFramePr>
          <p:nvPr userDrawn="1">
            <p:custDataLst>
              <p:tags r:id="rId2"/>
            </p:custDataLst>
            <p:extLst/>
          </p:nvPr>
        </p:nvGraphicFramePr>
        <p:xfrm>
          <a:off x="1589" y="1591"/>
          <a:ext cx="1587" cy="1587"/>
        </p:xfrm>
        <a:graphic>
          <a:graphicData uri="http://schemas.openxmlformats.org/presentationml/2006/ole">
            <mc:AlternateContent xmlns:mc="http://schemas.openxmlformats.org/markup-compatibility/2006">
              <mc:Choice xmlns:v="urn:schemas-microsoft-com:vml" Requires="v">
                <p:oleObj spid="_x0000_s2050" name="think-cell Folie" r:id="rId4" imgW="347" imgH="346" progId="TCLayout.ActiveDocument.1">
                  <p:embed/>
                </p:oleObj>
              </mc:Choice>
              <mc:Fallback>
                <p:oleObj name="think-cell Folie" r:id="rId4" imgW="347" imgH="346" progId="TCLayout.ActiveDocument.1">
                  <p:embed/>
                  <p:pic>
                    <p:nvPicPr>
                      <p:cNvPr id="2" name="Objekt 1" hidden="1">
                        <a:extLst>
                          <a:ext uri="{FF2B5EF4-FFF2-40B4-BE49-F238E27FC236}">
                            <a16:creationId xmlns:a16="http://schemas.microsoft.com/office/drawing/2014/main" id="{8DD1E4A4-7099-48D4-B1FB-37329156E9D9}"/>
                          </a:ext>
                        </a:extLst>
                      </p:cNvPr>
                      <p:cNvPicPr/>
                      <p:nvPr/>
                    </p:nvPicPr>
                    <p:blipFill>
                      <a:blip r:embed="rId5"/>
                      <a:stretch>
                        <a:fillRect/>
                      </a:stretch>
                    </p:blipFill>
                    <p:spPr>
                      <a:xfrm>
                        <a:off x="1589" y="1591"/>
                        <a:ext cx="1587" cy="1587"/>
                      </a:xfrm>
                      <a:prstGeom prst="rect">
                        <a:avLst/>
                      </a:prstGeom>
                    </p:spPr>
                  </p:pic>
                </p:oleObj>
              </mc:Fallback>
            </mc:AlternateContent>
          </a:graphicData>
        </a:graphic>
      </p:graphicFrame>
      <p:sp>
        <p:nvSpPr>
          <p:cNvPr id="7" name="Titelplatzhalter 4">
            <a:extLst>
              <a:ext uri="{FF2B5EF4-FFF2-40B4-BE49-F238E27FC236}">
                <a16:creationId xmlns:a16="http://schemas.microsoft.com/office/drawing/2014/main" id="{0538B6D2-C2F1-4747-BF07-81277F911804}"/>
              </a:ext>
            </a:extLst>
          </p:cNvPr>
          <p:cNvSpPr>
            <a:spLocks noGrp="1"/>
          </p:cNvSpPr>
          <p:nvPr>
            <p:ph type="title"/>
          </p:nvPr>
        </p:nvSpPr>
        <p:spPr>
          <a:xfrm>
            <a:off x="218333" y="430442"/>
            <a:ext cx="11737915" cy="853200"/>
          </a:xfrm>
          <a:prstGeom prst="rect">
            <a:avLst/>
          </a:prstGeom>
        </p:spPr>
        <p:txBody>
          <a:bodyPr vert="horz" lIns="0" tIns="0" rIns="0" bIns="0" rtlCol="0" anchor="t" anchorCtr="0">
            <a:noAutofit/>
          </a:bodyPr>
          <a:lstStyle>
            <a:lvl1pPr>
              <a:defRPr>
                <a:solidFill>
                  <a:schemeClr val="accent1"/>
                </a:solidFill>
              </a:defRPr>
            </a:lvl1pPr>
          </a:lstStyle>
          <a:p>
            <a:r>
              <a:rPr lang="de-DE" dirty="0"/>
              <a:t>Titelmasterformat durch Klicken bearbeiten</a:t>
            </a:r>
          </a:p>
        </p:txBody>
      </p:sp>
      <p:sp>
        <p:nvSpPr>
          <p:cNvPr id="8" name="Textplatzhalter 2">
            <a:extLst>
              <a:ext uri="{FF2B5EF4-FFF2-40B4-BE49-F238E27FC236}">
                <a16:creationId xmlns:a16="http://schemas.microsoft.com/office/drawing/2014/main" id="{30714BB5-5B15-4044-95BB-D1198A687A7E}"/>
              </a:ext>
            </a:extLst>
          </p:cNvPr>
          <p:cNvSpPr>
            <a:spLocks noGrp="1"/>
          </p:cNvSpPr>
          <p:nvPr>
            <p:ph idx="1"/>
          </p:nvPr>
        </p:nvSpPr>
        <p:spPr>
          <a:xfrm>
            <a:off x="216030" y="1944000"/>
            <a:ext cx="11753889" cy="3960000"/>
          </a:xfrm>
          <a:prstGeom prst="rect">
            <a:avLst/>
          </a:prstGeom>
        </p:spPr>
        <p:txBody>
          <a:bodyPr vert="horz" lIns="0" tIns="0" rIns="0" bIns="0" rtlCol="0">
            <a:noAutofit/>
          </a:bodyPr>
          <a:lstStyle>
            <a:lvl1pPr>
              <a:spcBef>
                <a:spcPts val="1350"/>
              </a:spcBef>
              <a:buClr>
                <a:schemeClr val="accent1"/>
              </a:buClr>
              <a:defRPr/>
            </a:lvl1pPr>
            <a:lvl2pPr marL="539354" indent="-339329">
              <a:buClr>
                <a:schemeClr val="accent1"/>
              </a:buClr>
              <a:defRPr/>
            </a:lvl2pPr>
            <a:lvl3pPr>
              <a:buClr>
                <a:schemeClr val="accent1"/>
              </a:buClr>
              <a:defRPr/>
            </a:lvl3pPr>
            <a:lvl4pPr>
              <a:buClr>
                <a:schemeClr val="accent1"/>
              </a:buClr>
              <a:defRPr/>
            </a:lvl4pPr>
          </a:lstStyle>
          <a:p>
            <a:pPr marL="257175" marR="0" lvl="0" indent="-257175" algn="l" defTabSz="685800" rtl="0" eaLnBrk="1" fontAlgn="auto" latinLnBrk="0" hangingPunct="1">
              <a:lnSpc>
                <a:spcPct val="110000"/>
              </a:lnSpc>
              <a:spcBef>
                <a:spcPts val="0"/>
              </a:spcBef>
              <a:spcAft>
                <a:spcPts val="0"/>
              </a:spcAft>
              <a:buClr>
                <a:srgbClr val="004A96"/>
              </a:buClr>
              <a:buSzTx/>
              <a:buFont typeface="Wingdings" panose="05000000000000000000" pitchFamily="2" charset="2"/>
              <a:buChar char="n"/>
              <a:tabLst/>
              <a:defRPr/>
            </a:pPr>
            <a:r>
              <a:rPr kumimoji="0" lang="de-DE" sz="1500" b="0" i="0" u="none" strike="noStrike" kern="1200" cap="none" spc="0" normalizeH="0" baseline="0" noProof="0" dirty="0">
                <a:ln>
                  <a:noFill/>
                </a:ln>
                <a:solidFill>
                  <a:srgbClr val="000000"/>
                </a:solidFill>
                <a:effectLst/>
                <a:uLnTx/>
                <a:uFillTx/>
                <a:latin typeface="Arial"/>
                <a:ea typeface="+mn-ea"/>
                <a:cs typeface="+mn-cs"/>
              </a:rPr>
              <a:t>Formatvorlagen des Textmasters bearbeiten</a:t>
            </a:r>
          </a:p>
          <a:p>
            <a:pPr marL="539354" marR="0" lvl="1" indent="-271463" algn="l" defTabSz="685800" rtl="0" eaLnBrk="1" fontAlgn="auto" latinLnBrk="0" hangingPunct="1">
              <a:lnSpc>
                <a:spcPct val="110000"/>
              </a:lnSpc>
              <a:spcBef>
                <a:spcPts val="450"/>
              </a:spcBef>
              <a:spcAft>
                <a:spcPts val="0"/>
              </a:spcAft>
              <a:buClr>
                <a:srgbClr val="004A96"/>
              </a:buClr>
              <a:buSzTx/>
              <a:buFont typeface="Wingdings 3" panose="05040102010807070707" pitchFamily="18" charset="2"/>
              <a:buChar char=""/>
              <a:tabLst/>
              <a:defRPr/>
            </a:pPr>
            <a:r>
              <a:rPr kumimoji="0" lang="de-DE" sz="1500" b="0" i="0" u="none" strike="noStrike" kern="1200" cap="none" spc="0" normalizeH="0" baseline="0" noProof="0" dirty="0">
                <a:ln>
                  <a:noFill/>
                </a:ln>
                <a:solidFill>
                  <a:srgbClr val="000000"/>
                </a:solidFill>
                <a:effectLst/>
                <a:uLnTx/>
                <a:uFillTx/>
                <a:latin typeface="Arial"/>
                <a:ea typeface="+mn-ea"/>
                <a:cs typeface="+mn-cs"/>
              </a:rPr>
              <a:t>Zweite Ebene</a:t>
            </a:r>
          </a:p>
          <a:p>
            <a:pPr marL="806054" marR="0" lvl="2" indent="-266700" algn="l" defTabSz="685800" rtl="0" eaLnBrk="1" fontAlgn="auto" latinLnBrk="0" hangingPunct="1">
              <a:lnSpc>
                <a:spcPct val="110000"/>
              </a:lnSpc>
              <a:spcBef>
                <a:spcPts val="225"/>
              </a:spcBef>
              <a:spcAft>
                <a:spcPts val="0"/>
              </a:spcAft>
              <a:buClr>
                <a:srgbClr val="004A96"/>
              </a:buClr>
              <a:buSzTx/>
              <a:buFont typeface="Arial" panose="020B0604020202020204" pitchFamily="34" charset="0"/>
              <a:buChar char="●"/>
              <a:tabLst/>
              <a:defRPr/>
            </a:pPr>
            <a:r>
              <a:rPr kumimoji="0" lang="de-DE" sz="1500" b="0" i="0" u="none" strike="noStrike" kern="1200" cap="none" spc="0" normalizeH="0" baseline="0" noProof="0" dirty="0">
                <a:ln>
                  <a:noFill/>
                </a:ln>
                <a:solidFill>
                  <a:srgbClr val="000000"/>
                </a:solidFill>
                <a:effectLst/>
                <a:uLnTx/>
                <a:uFillTx/>
                <a:latin typeface="Arial"/>
                <a:ea typeface="+mn-ea"/>
                <a:cs typeface="+mn-cs"/>
              </a:rPr>
              <a:t>Dritte Ebene</a:t>
            </a:r>
          </a:p>
          <a:p>
            <a:pPr marL="1077516" marR="0" lvl="3" indent="-271463" algn="l" defTabSz="685800" rtl="0" eaLnBrk="1" fontAlgn="auto" latinLnBrk="0" hangingPunct="1">
              <a:lnSpc>
                <a:spcPct val="110000"/>
              </a:lnSpc>
              <a:spcBef>
                <a:spcPts val="0"/>
              </a:spcBef>
              <a:spcAft>
                <a:spcPct val="50000"/>
              </a:spcAft>
              <a:buClr>
                <a:srgbClr val="004A96"/>
              </a:buClr>
              <a:buSzTx/>
              <a:buFont typeface="Arial" panose="020B0604020202020204" pitchFamily="34" charset="0"/>
              <a:buChar char="−"/>
              <a:tabLst/>
              <a:defRPr/>
            </a:pPr>
            <a:r>
              <a:rPr kumimoji="0" lang="de-DE" sz="1500" b="0" i="0" u="none" strike="noStrike" kern="1200" cap="none" spc="0" normalizeH="0" baseline="0" noProof="0" dirty="0">
                <a:ln>
                  <a:noFill/>
                </a:ln>
                <a:solidFill>
                  <a:srgbClr val="000000"/>
                </a:solidFill>
                <a:effectLst/>
                <a:uLnTx/>
                <a:uFillTx/>
                <a:latin typeface="Arial"/>
                <a:ea typeface="+mn-ea"/>
                <a:cs typeface="+mn-cs"/>
              </a:rPr>
              <a:t>Vierte Ebene</a:t>
            </a:r>
          </a:p>
        </p:txBody>
      </p:sp>
      <p:sp>
        <p:nvSpPr>
          <p:cNvPr id="9" name="Datumsplatzhalter 5">
            <a:extLst>
              <a:ext uri="{FF2B5EF4-FFF2-40B4-BE49-F238E27FC236}">
                <a16:creationId xmlns:a16="http://schemas.microsoft.com/office/drawing/2014/main" id="{2E2C4AE6-C3E1-43A4-BAE5-1315CB96883E}"/>
              </a:ext>
            </a:extLst>
          </p:cNvPr>
          <p:cNvSpPr>
            <a:spLocks noGrp="1"/>
          </p:cNvSpPr>
          <p:nvPr>
            <p:ph type="dt" sz="half" idx="2"/>
          </p:nvPr>
        </p:nvSpPr>
        <p:spPr>
          <a:xfrm>
            <a:off x="685849" y="6516409"/>
            <a:ext cx="468187" cy="175322"/>
          </a:xfrm>
          <a:prstGeom prst="rect">
            <a:avLst/>
          </a:prstGeom>
        </p:spPr>
        <p:txBody>
          <a:bodyPr wrap="none" lIns="0" tIns="0" rIns="0" bIns="0"/>
          <a:lstStyle>
            <a:lvl1pPr>
              <a:defRPr sz="675">
                <a:solidFill>
                  <a:schemeClr val="tx1"/>
                </a:solidFill>
              </a:defRPr>
            </a:lvl1pPr>
          </a:lstStyle>
          <a:p>
            <a:fld id="{65010B03-D230-4701-9F37-B6F131066B93}" type="datetime1">
              <a:rPr lang="de-DE" smtClean="0"/>
              <a:pPr/>
              <a:t>20.06.2019</a:t>
            </a:fld>
            <a:endParaRPr lang="de-DE" dirty="0"/>
          </a:p>
        </p:txBody>
      </p:sp>
      <p:sp>
        <p:nvSpPr>
          <p:cNvPr id="10" name="Fußzeilenplatzhalter 6">
            <a:extLst>
              <a:ext uri="{FF2B5EF4-FFF2-40B4-BE49-F238E27FC236}">
                <a16:creationId xmlns:a16="http://schemas.microsoft.com/office/drawing/2014/main" id="{3B8C9186-B6AC-43D2-8977-2776DEB0EDBB}"/>
              </a:ext>
            </a:extLst>
          </p:cNvPr>
          <p:cNvSpPr>
            <a:spLocks noGrp="1"/>
          </p:cNvSpPr>
          <p:nvPr>
            <p:ph type="ftr" sz="quarter" idx="3"/>
          </p:nvPr>
        </p:nvSpPr>
        <p:spPr>
          <a:xfrm>
            <a:off x="1368180" y="6516113"/>
            <a:ext cx="3364707" cy="167933"/>
          </a:xfrm>
          <a:prstGeom prst="rect">
            <a:avLst/>
          </a:prstGeom>
        </p:spPr>
        <p:txBody>
          <a:bodyPr lIns="0" tIns="0" rIns="0" bIns="0"/>
          <a:lstStyle>
            <a:lvl1pPr>
              <a:defRPr sz="675">
                <a:solidFill>
                  <a:srgbClr val="000000"/>
                </a:solidFill>
              </a:defRPr>
            </a:lvl1pPr>
          </a:lstStyle>
          <a:p>
            <a:r>
              <a:rPr lang="de-DE" dirty="0"/>
              <a:t>|  Optionale Zusatzinformationen</a:t>
            </a:r>
          </a:p>
        </p:txBody>
      </p:sp>
      <p:sp>
        <p:nvSpPr>
          <p:cNvPr id="11" name="Foliennummernplatzhalter 7">
            <a:extLst>
              <a:ext uri="{FF2B5EF4-FFF2-40B4-BE49-F238E27FC236}">
                <a16:creationId xmlns:a16="http://schemas.microsoft.com/office/drawing/2014/main" id="{6106E3A7-16DF-44A3-85AC-6404C38176A6}"/>
              </a:ext>
            </a:extLst>
          </p:cNvPr>
          <p:cNvSpPr>
            <a:spLocks noGrp="1"/>
          </p:cNvSpPr>
          <p:nvPr>
            <p:ph type="sldNum" sz="quarter" idx="4"/>
          </p:nvPr>
        </p:nvSpPr>
        <p:spPr>
          <a:xfrm>
            <a:off x="227044" y="6514798"/>
            <a:ext cx="384267" cy="151200"/>
          </a:xfrm>
          <a:prstGeom prst="rect">
            <a:avLst/>
          </a:prstGeom>
        </p:spPr>
        <p:txBody>
          <a:bodyPr lIns="0" tIns="0" rIns="0" bIns="0"/>
          <a:lstStyle>
            <a:lvl1pPr>
              <a:defRPr sz="675" b="1">
                <a:solidFill>
                  <a:schemeClr val="tx1"/>
                </a:solidFill>
              </a:defRPr>
            </a:lvl1pPr>
          </a:lstStyle>
          <a:p>
            <a:fld id="{82EA1D04-CA53-4DE3-84A8-2B63E41036C9}" type="slidenum">
              <a:rPr lang="de-DE" smtClean="0"/>
              <a:pPr/>
              <a:t>‹#›</a:t>
            </a:fld>
            <a:endParaRPr lang="de-DE" dirty="0"/>
          </a:p>
        </p:txBody>
      </p:sp>
    </p:spTree>
    <p:extLst>
      <p:ext uri="{BB962C8B-B14F-4D97-AF65-F5344CB8AC3E}">
        <p14:creationId xmlns:p14="http://schemas.microsoft.com/office/powerpoint/2010/main" val="1447202712"/>
      </p:ext>
    </p:extLst>
  </p:cSld>
  <p:clrMapOvr>
    <a:masterClrMapping/>
  </p:clrMapOvr>
  <p:hf hdr="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1824667A-5769-4A04-A6F7-8ABE2AF25EFC}"/>
              </a:ext>
            </a:extLst>
          </p:cNvPr>
          <p:cNvGraphicFramePr>
            <a:graphicFrameLocks noChangeAspect="1"/>
          </p:cNvGraphicFramePr>
          <p:nvPr userDrawn="1">
            <p:custDataLst>
              <p:tags r:id="rId2"/>
            </p:custDataLst>
            <p:extLst/>
          </p:nvPr>
        </p:nvGraphicFramePr>
        <p:xfrm>
          <a:off x="1589" y="1591"/>
          <a:ext cx="1587" cy="1587"/>
        </p:xfrm>
        <a:graphic>
          <a:graphicData uri="http://schemas.openxmlformats.org/presentationml/2006/ole">
            <mc:AlternateContent xmlns:mc="http://schemas.openxmlformats.org/markup-compatibility/2006">
              <mc:Choice xmlns:v="urn:schemas-microsoft-com:vml" Requires="v">
                <p:oleObj spid="_x0000_s3074" name="think-cell Folie" r:id="rId4" imgW="347" imgH="346" progId="TCLayout.ActiveDocument.1">
                  <p:embed/>
                </p:oleObj>
              </mc:Choice>
              <mc:Fallback>
                <p:oleObj name="think-cell Folie" r:id="rId4" imgW="347" imgH="346" progId="TCLayout.ActiveDocument.1">
                  <p:embed/>
                  <p:pic>
                    <p:nvPicPr>
                      <p:cNvPr id="2" name="Objekt 1" hidden="1">
                        <a:extLst>
                          <a:ext uri="{FF2B5EF4-FFF2-40B4-BE49-F238E27FC236}">
                            <a16:creationId xmlns:a16="http://schemas.microsoft.com/office/drawing/2014/main" id="{1824667A-5769-4A04-A6F7-8ABE2AF25EFC}"/>
                          </a:ext>
                        </a:extLst>
                      </p:cNvPr>
                      <p:cNvPicPr/>
                      <p:nvPr/>
                    </p:nvPicPr>
                    <p:blipFill>
                      <a:blip r:embed="rId5"/>
                      <a:stretch>
                        <a:fillRect/>
                      </a:stretch>
                    </p:blipFill>
                    <p:spPr>
                      <a:xfrm>
                        <a:off x="1589" y="1591"/>
                        <a:ext cx="1587" cy="1587"/>
                      </a:xfrm>
                      <a:prstGeom prst="rect">
                        <a:avLst/>
                      </a:prstGeom>
                    </p:spPr>
                  </p:pic>
                </p:oleObj>
              </mc:Fallback>
            </mc:AlternateContent>
          </a:graphicData>
        </a:graphic>
      </p:graphicFrame>
      <p:sp>
        <p:nvSpPr>
          <p:cNvPr id="7" name="Titelplatzhalter 4">
            <a:extLst>
              <a:ext uri="{FF2B5EF4-FFF2-40B4-BE49-F238E27FC236}">
                <a16:creationId xmlns:a16="http://schemas.microsoft.com/office/drawing/2014/main" id="{0538B6D2-C2F1-4747-BF07-81277F911804}"/>
              </a:ext>
            </a:extLst>
          </p:cNvPr>
          <p:cNvSpPr>
            <a:spLocks noGrp="1"/>
          </p:cNvSpPr>
          <p:nvPr>
            <p:ph type="title"/>
          </p:nvPr>
        </p:nvSpPr>
        <p:spPr>
          <a:xfrm>
            <a:off x="218333" y="430442"/>
            <a:ext cx="11737915" cy="853200"/>
          </a:xfrm>
          <a:prstGeom prst="rect">
            <a:avLst/>
          </a:prstGeom>
        </p:spPr>
        <p:txBody>
          <a:bodyPr vert="horz" lIns="0" tIns="0" rIns="0" bIns="0" rtlCol="0" anchor="t" anchorCtr="0">
            <a:noAutofit/>
          </a:bodyPr>
          <a:lstStyle>
            <a:lvl1pPr>
              <a:defRPr>
                <a:solidFill>
                  <a:schemeClr val="accent1"/>
                </a:solidFill>
              </a:defRPr>
            </a:lvl1pPr>
          </a:lstStyle>
          <a:p>
            <a:r>
              <a:rPr lang="de-DE" dirty="0"/>
              <a:t>Titelmasterformat durch Klicken bearbeiten</a:t>
            </a:r>
          </a:p>
        </p:txBody>
      </p:sp>
      <p:sp>
        <p:nvSpPr>
          <p:cNvPr id="9" name="Datumsplatzhalter 5">
            <a:extLst>
              <a:ext uri="{FF2B5EF4-FFF2-40B4-BE49-F238E27FC236}">
                <a16:creationId xmlns:a16="http://schemas.microsoft.com/office/drawing/2014/main" id="{2E2C4AE6-C3E1-43A4-BAE5-1315CB96883E}"/>
              </a:ext>
            </a:extLst>
          </p:cNvPr>
          <p:cNvSpPr>
            <a:spLocks noGrp="1"/>
          </p:cNvSpPr>
          <p:nvPr>
            <p:ph type="dt" sz="half" idx="2"/>
          </p:nvPr>
        </p:nvSpPr>
        <p:spPr>
          <a:xfrm>
            <a:off x="685849" y="6516409"/>
            <a:ext cx="468187" cy="175322"/>
          </a:xfrm>
          <a:prstGeom prst="rect">
            <a:avLst/>
          </a:prstGeom>
        </p:spPr>
        <p:txBody>
          <a:bodyPr wrap="none" lIns="0" tIns="0" rIns="0" bIns="0"/>
          <a:lstStyle>
            <a:lvl1pPr>
              <a:defRPr sz="675">
                <a:solidFill>
                  <a:schemeClr val="tx1"/>
                </a:solidFill>
              </a:defRPr>
            </a:lvl1pPr>
          </a:lstStyle>
          <a:p>
            <a:fld id="{65010B03-D230-4701-9F37-B6F131066B93}" type="datetime1">
              <a:rPr lang="de-DE" smtClean="0"/>
              <a:pPr/>
              <a:t>20.06.2019</a:t>
            </a:fld>
            <a:endParaRPr lang="de-DE" dirty="0"/>
          </a:p>
        </p:txBody>
      </p:sp>
      <p:sp>
        <p:nvSpPr>
          <p:cNvPr id="10" name="Fußzeilenplatzhalter 6">
            <a:extLst>
              <a:ext uri="{FF2B5EF4-FFF2-40B4-BE49-F238E27FC236}">
                <a16:creationId xmlns:a16="http://schemas.microsoft.com/office/drawing/2014/main" id="{3B8C9186-B6AC-43D2-8977-2776DEB0EDBB}"/>
              </a:ext>
            </a:extLst>
          </p:cNvPr>
          <p:cNvSpPr>
            <a:spLocks noGrp="1"/>
          </p:cNvSpPr>
          <p:nvPr>
            <p:ph type="ftr" sz="quarter" idx="3"/>
          </p:nvPr>
        </p:nvSpPr>
        <p:spPr>
          <a:xfrm>
            <a:off x="1368180" y="6516113"/>
            <a:ext cx="3364707" cy="167933"/>
          </a:xfrm>
          <a:prstGeom prst="rect">
            <a:avLst/>
          </a:prstGeom>
        </p:spPr>
        <p:txBody>
          <a:bodyPr lIns="0" tIns="0" rIns="0" bIns="0"/>
          <a:lstStyle>
            <a:lvl1pPr>
              <a:defRPr sz="675">
                <a:solidFill>
                  <a:srgbClr val="000000"/>
                </a:solidFill>
              </a:defRPr>
            </a:lvl1pPr>
          </a:lstStyle>
          <a:p>
            <a:r>
              <a:rPr lang="de-DE" dirty="0"/>
              <a:t>|  Optionale Zusatzinformationen</a:t>
            </a:r>
          </a:p>
        </p:txBody>
      </p:sp>
      <p:sp>
        <p:nvSpPr>
          <p:cNvPr id="11" name="Foliennummernplatzhalter 7">
            <a:extLst>
              <a:ext uri="{FF2B5EF4-FFF2-40B4-BE49-F238E27FC236}">
                <a16:creationId xmlns:a16="http://schemas.microsoft.com/office/drawing/2014/main" id="{6106E3A7-16DF-44A3-85AC-6404C38176A6}"/>
              </a:ext>
            </a:extLst>
          </p:cNvPr>
          <p:cNvSpPr>
            <a:spLocks noGrp="1"/>
          </p:cNvSpPr>
          <p:nvPr>
            <p:ph type="sldNum" sz="quarter" idx="4"/>
          </p:nvPr>
        </p:nvSpPr>
        <p:spPr>
          <a:xfrm>
            <a:off x="227044" y="6514798"/>
            <a:ext cx="384267" cy="151200"/>
          </a:xfrm>
          <a:prstGeom prst="rect">
            <a:avLst/>
          </a:prstGeom>
        </p:spPr>
        <p:txBody>
          <a:bodyPr lIns="0" tIns="0" rIns="0" bIns="0"/>
          <a:lstStyle>
            <a:lvl1pPr>
              <a:defRPr sz="675" b="1">
                <a:solidFill>
                  <a:schemeClr val="tx1"/>
                </a:solidFill>
              </a:defRPr>
            </a:lvl1pPr>
          </a:lstStyle>
          <a:p>
            <a:fld id="{82EA1D04-CA53-4DE3-84A8-2B63E41036C9}" type="slidenum">
              <a:rPr lang="de-DE" smtClean="0"/>
              <a:pPr/>
              <a:t>‹#›</a:t>
            </a:fld>
            <a:endParaRPr lang="de-DE" dirty="0"/>
          </a:p>
        </p:txBody>
      </p:sp>
    </p:spTree>
    <p:extLst>
      <p:ext uri="{BB962C8B-B14F-4D97-AF65-F5344CB8AC3E}">
        <p14:creationId xmlns:p14="http://schemas.microsoft.com/office/powerpoint/2010/main" val="3675502303"/>
      </p:ext>
    </p:extLst>
  </p:cSld>
  <p:clrMapOvr>
    <a:masterClrMapping/>
  </p:clrMapOvr>
  <p:hf hdr="0"/>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solidFill>
                  <a:schemeClr val="tx1"/>
                </a:solidFill>
              </a:defRPr>
            </a:lvl1pPr>
          </a:lstStyle>
          <a:p>
            <a:r>
              <a:rPr lang="en-US" altLang="zh-CN"/>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ltLang="zh-CN"/>
              <a:t>Click to edit Master subtitle style</a:t>
            </a:r>
            <a:endParaRPr lang="en-US" dirty="0"/>
          </a:p>
        </p:txBody>
      </p:sp>
      <p:sp>
        <p:nvSpPr>
          <p:cNvPr id="4" name="Date Placeholder 3"/>
          <p:cNvSpPr>
            <a:spLocks noGrp="1"/>
          </p:cNvSpPr>
          <p:nvPr>
            <p:ph type="dt" sz="half" idx="10"/>
          </p:nvPr>
        </p:nvSpPr>
        <p:spPr/>
        <p:txBody>
          <a:bodyPr/>
          <a:lstStyle>
            <a:lvl1pPr>
              <a:defRPr>
                <a:solidFill>
                  <a:schemeClr val="tx1"/>
                </a:solidFill>
              </a:defRPr>
            </a:lvl1pPr>
          </a:lstStyle>
          <a:p>
            <a:fld id="{C764DE79-268F-4C1A-8933-263129D2AF90}" type="datetimeFigureOut">
              <a:rPr lang="en-US" smtClean="0"/>
              <a:pPr/>
              <a:t>6/20/2019</a:t>
            </a:fld>
            <a:endParaRPr lang="en-US" dirty="0"/>
          </a:p>
        </p:txBody>
      </p:sp>
      <p:sp>
        <p:nvSpPr>
          <p:cNvPr id="5" name="Footer Placeholder 4"/>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p:cNvSpPr>
            <a:spLocks noGrp="1"/>
          </p:cNvSpPr>
          <p:nvPr>
            <p:ph type="sldNum" sz="quarter" idx="12"/>
          </p:nvPr>
        </p:nvSpPr>
        <p:spPr/>
        <p:txBody>
          <a:bodyPr/>
          <a:lstStyle>
            <a:lvl1pPr>
              <a:defRPr>
                <a:solidFill>
                  <a:schemeClr val="tx1"/>
                </a:solidFill>
              </a:defRPr>
            </a:lvl1pPr>
          </a:lstStyle>
          <a:p>
            <a:fld id="{D5D29A3D-3D4E-0644-99C6-E19DFF2B4365}" type="slidenum">
              <a:rPr lang="en-US" smtClean="0"/>
              <a:pPr/>
              <a:t>‹#›</a:t>
            </a:fld>
            <a:endParaRPr lang="en-US"/>
          </a:p>
        </p:txBody>
      </p:sp>
    </p:spTree>
    <p:extLst>
      <p:ext uri="{BB962C8B-B14F-4D97-AF65-F5344CB8AC3E}">
        <p14:creationId xmlns:p14="http://schemas.microsoft.com/office/powerpoint/2010/main" val="1209607140"/>
      </p:ext>
    </p:extLst>
  </p:cSld>
  <p:clrMapOvr>
    <a:masterClrMapping/>
  </p:clrMapOvr>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ltLang="zh-CN"/>
              <a:t>Click to edit Master title style</a:t>
            </a:r>
            <a:endParaRPr lang="en-US" dirty="0"/>
          </a:p>
        </p:txBody>
      </p:sp>
      <p:sp>
        <p:nvSpPr>
          <p:cNvPr id="3" name="Content Placeholder 2"/>
          <p:cNvSpPr>
            <a:spLocks noGrp="1"/>
          </p:cNvSpPr>
          <p:nvPr>
            <p:ph idx="1"/>
          </p:nvPr>
        </p:nvSpPr>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ltLang="zh-CN"/>
              <a:t>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en-US" dirty="0"/>
          </a:p>
        </p:txBody>
      </p:sp>
      <p:sp>
        <p:nvSpPr>
          <p:cNvPr id="4" name="Date Placeholder 3"/>
          <p:cNvSpPr>
            <a:spLocks noGrp="1"/>
          </p:cNvSpPr>
          <p:nvPr>
            <p:ph type="dt" sz="half" idx="10"/>
          </p:nvPr>
        </p:nvSpPr>
        <p:spPr/>
        <p:txBody>
          <a:bodyPr/>
          <a:lstStyle>
            <a:lvl1pPr>
              <a:defRPr>
                <a:solidFill>
                  <a:schemeClr val="tx1"/>
                </a:solidFill>
              </a:defRPr>
            </a:lvl1pPr>
          </a:lstStyle>
          <a:p>
            <a:fld id="{C764DE79-268F-4C1A-8933-263129D2AF90}" type="datetimeFigureOut">
              <a:rPr lang="en-US" smtClean="0"/>
              <a:pPr/>
              <a:t>6/20/2019</a:t>
            </a:fld>
            <a:endParaRPr lang="en-US" dirty="0"/>
          </a:p>
        </p:txBody>
      </p:sp>
      <p:sp>
        <p:nvSpPr>
          <p:cNvPr id="5" name="Footer Placeholder 4"/>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p:cNvSpPr>
            <a:spLocks noGrp="1"/>
          </p:cNvSpPr>
          <p:nvPr>
            <p:ph type="sldNum" sz="quarter" idx="12"/>
          </p:nvPr>
        </p:nvSpPr>
        <p:spPr/>
        <p:txBody>
          <a:bodyPr/>
          <a:lstStyle>
            <a:lvl1pPr>
              <a:defRPr>
                <a:solidFill>
                  <a:schemeClr val="tx1"/>
                </a:solidFill>
              </a:defRPr>
            </a:lvl1pPr>
          </a:lstStyle>
          <a:p>
            <a:fld id="{D5D29A3D-3D4E-0644-99C6-E19DFF2B4365}" type="slidenum">
              <a:rPr lang="en-US" smtClean="0"/>
              <a:pPr/>
              <a:t>‹#›</a:t>
            </a:fld>
            <a:endParaRPr lang="en-US"/>
          </a:p>
        </p:txBody>
      </p:sp>
    </p:spTree>
    <p:extLst>
      <p:ext uri="{BB962C8B-B14F-4D97-AF65-F5344CB8AC3E}">
        <p14:creationId xmlns:p14="http://schemas.microsoft.com/office/powerpoint/2010/main" val="262296603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solidFill>
                  <a:schemeClr val="tx1"/>
                </a:solidFill>
              </a:defRPr>
            </a:lvl1pPr>
          </a:lstStyle>
          <a:p>
            <a:r>
              <a:rPr lang="en-US" altLang="zh-CN"/>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ltLang="zh-CN"/>
              <a:t>Edit Master text styles</a:t>
            </a:r>
          </a:p>
        </p:txBody>
      </p:sp>
      <p:sp>
        <p:nvSpPr>
          <p:cNvPr id="4" name="Date Placeholder 3"/>
          <p:cNvSpPr>
            <a:spLocks noGrp="1"/>
          </p:cNvSpPr>
          <p:nvPr>
            <p:ph type="dt" sz="half" idx="10"/>
          </p:nvPr>
        </p:nvSpPr>
        <p:spPr/>
        <p:txBody>
          <a:bodyPr/>
          <a:lstStyle>
            <a:lvl1pPr>
              <a:defRPr>
                <a:solidFill>
                  <a:schemeClr val="tx1"/>
                </a:solidFill>
              </a:defRPr>
            </a:lvl1pPr>
          </a:lstStyle>
          <a:p>
            <a:fld id="{C764DE79-268F-4C1A-8933-263129D2AF90}" type="datetimeFigureOut">
              <a:rPr lang="en-US" smtClean="0"/>
              <a:pPr/>
              <a:t>6/20/2019</a:t>
            </a:fld>
            <a:endParaRPr lang="en-US" dirty="0"/>
          </a:p>
        </p:txBody>
      </p:sp>
      <p:sp>
        <p:nvSpPr>
          <p:cNvPr id="5" name="Footer Placeholder 4"/>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p:cNvSpPr>
            <a:spLocks noGrp="1"/>
          </p:cNvSpPr>
          <p:nvPr>
            <p:ph type="sldNum" sz="quarter" idx="12"/>
          </p:nvPr>
        </p:nvSpPr>
        <p:spPr/>
        <p:txBody>
          <a:bodyPr/>
          <a:lstStyle>
            <a:lvl1pPr>
              <a:defRPr>
                <a:solidFill>
                  <a:schemeClr val="tx1"/>
                </a:solidFill>
              </a:defRPr>
            </a:lvl1pPr>
          </a:lstStyle>
          <a:p>
            <a:fld id="{D5D29A3D-3D4E-0644-99C6-E19DFF2B4365}" type="slidenum">
              <a:rPr lang="en-US" smtClean="0"/>
              <a:pPr/>
              <a:t>‹#›</a:t>
            </a:fld>
            <a:endParaRPr lang="en-US"/>
          </a:p>
        </p:txBody>
      </p:sp>
    </p:spTree>
    <p:extLst>
      <p:ext uri="{BB962C8B-B14F-4D97-AF65-F5344CB8AC3E}">
        <p14:creationId xmlns:p14="http://schemas.microsoft.com/office/powerpoint/2010/main" val="3276166583"/>
      </p:ext>
    </p:extLst>
  </p:cSld>
  <p:clrMapOvr>
    <a:masterClrMapping/>
  </p:clrMapOvr>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ltLang="zh-CN"/>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ltLang="zh-CN"/>
              <a:t>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ltLang="zh-CN"/>
              <a:t>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en-US" dirty="0"/>
          </a:p>
        </p:txBody>
      </p:sp>
      <p:sp>
        <p:nvSpPr>
          <p:cNvPr id="5" name="Date Placeholder 4"/>
          <p:cNvSpPr>
            <a:spLocks noGrp="1"/>
          </p:cNvSpPr>
          <p:nvPr>
            <p:ph type="dt" sz="half" idx="10"/>
          </p:nvPr>
        </p:nvSpPr>
        <p:spPr/>
        <p:txBody>
          <a:bodyPr/>
          <a:lstStyle>
            <a:lvl1pPr>
              <a:defRPr>
                <a:solidFill>
                  <a:schemeClr val="tx1"/>
                </a:solidFill>
              </a:defRPr>
            </a:lvl1pPr>
          </a:lstStyle>
          <a:p>
            <a:fld id="{C764DE79-268F-4C1A-8933-263129D2AF90}" type="datetimeFigureOut">
              <a:rPr lang="en-US" smtClean="0"/>
              <a:pPr/>
              <a:t>6/20/2019</a:t>
            </a:fld>
            <a:endParaRPr lang="en-US" dirty="0"/>
          </a:p>
        </p:txBody>
      </p:sp>
      <p:sp>
        <p:nvSpPr>
          <p:cNvPr id="6" name="Footer Placeholder 5"/>
          <p:cNvSpPr>
            <a:spLocks noGrp="1"/>
          </p:cNvSpPr>
          <p:nvPr>
            <p:ph type="ftr" sz="quarter" idx="11"/>
          </p:nvPr>
        </p:nvSpPr>
        <p:spPr/>
        <p:txBody>
          <a:bodyPr/>
          <a:lstStyle>
            <a:lvl1pPr>
              <a:defRPr>
                <a:solidFill>
                  <a:schemeClr val="tx1"/>
                </a:solidFill>
              </a:defRPr>
            </a:lvl1pPr>
          </a:lstStyle>
          <a:p>
            <a:endParaRPr lang="en-US" dirty="0"/>
          </a:p>
        </p:txBody>
      </p:sp>
      <p:sp>
        <p:nvSpPr>
          <p:cNvPr id="7" name="Slide Number Placeholder 6"/>
          <p:cNvSpPr>
            <a:spLocks noGrp="1"/>
          </p:cNvSpPr>
          <p:nvPr>
            <p:ph type="sldNum" sz="quarter" idx="12"/>
          </p:nvPr>
        </p:nvSpPr>
        <p:spPr/>
        <p:txBody>
          <a:bodyPr/>
          <a:lstStyle>
            <a:lvl1pPr>
              <a:defRPr>
                <a:solidFill>
                  <a:schemeClr val="tx1"/>
                </a:solidFill>
              </a:defRPr>
            </a:lvl1pPr>
          </a:lstStyle>
          <a:p>
            <a:fld id="{D5D29A3D-3D4E-0644-99C6-E19DFF2B4365}" type="slidenum">
              <a:rPr lang="en-US" smtClean="0"/>
              <a:pPr/>
              <a:t>‹#›</a:t>
            </a:fld>
            <a:endParaRPr lang="en-US"/>
          </a:p>
        </p:txBody>
      </p:sp>
    </p:spTree>
    <p:extLst>
      <p:ext uri="{BB962C8B-B14F-4D97-AF65-F5344CB8AC3E}">
        <p14:creationId xmlns:p14="http://schemas.microsoft.com/office/powerpoint/2010/main" val="1158022344"/>
      </p:ext>
    </p:extLst>
  </p:cSld>
  <p:clrMapOvr>
    <a:masterClrMapping/>
  </p:clrMapOvr>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lvl1pPr>
              <a:defRPr>
                <a:solidFill>
                  <a:schemeClr val="tx1"/>
                </a:solidFill>
              </a:defRPr>
            </a:lvl1pPr>
          </a:lstStyle>
          <a:p>
            <a:r>
              <a:rPr lang="en-US" altLang="zh-CN"/>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ltLang="zh-CN"/>
              <a:t>Edit Master text styles</a:t>
            </a:r>
          </a:p>
        </p:txBody>
      </p:sp>
      <p:sp>
        <p:nvSpPr>
          <p:cNvPr id="4" name="Content Placeholder 3"/>
          <p:cNvSpPr>
            <a:spLocks noGrp="1"/>
          </p:cNvSpPr>
          <p:nvPr>
            <p:ph sz="half" idx="2"/>
          </p:nvPr>
        </p:nvSpPr>
        <p:spPr>
          <a:xfrm>
            <a:off x="839788" y="2505075"/>
            <a:ext cx="5157787" cy="36845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ltLang="zh-CN"/>
              <a:t>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ltLang="zh-CN"/>
              <a:t>Edit Master text styles</a:t>
            </a:r>
          </a:p>
        </p:txBody>
      </p:sp>
      <p:sp>
        <p:nvSpPr>
          <p:cNvPr id="6" name="Content Placeholder 5"/>
          <p:cNvSpPr>
            <a:spLocks noGrp="1"/>
          </p:cNvSpPr>
          <p:nvPr>
            <p:ph sz="quarter" idx="4"/>
          </p:nvPr>
        </p:nvSpPr>
        <p:spPr>
          <a:xfrm>
            <a:off x="6172200" y="2505075"/>
            <a:ext cx="5183188" cy="36845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ltLang="zh-CN"/>
              <a:t>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en-US" dirty="0"/>
          </a:p>
        </p:txBody>
      </p:sp>
      <p:sp>
        <p:nvSpPr>
          <p:cNvPr id="7" name="Date Placeholder 6"/>
          <p:cNvSpPr>
            <a:spLocks noGrp="1"/>
          </p:cNvSpPr>
          <p:nvPr>
            <p:ph type="dt" sz="half" idx="10"/>
          </p:nvPr>
        </p:nvSpPr>
        <p:spPr/>
        <p:txBody>
          <a:bodyPr/>
          <a:lstStyle>
            <a:lvl1pPr>
              <a:defRPr>
                <a:solidFill>
                  <a:schemeClr val="tx1"/>
                </a:solidFill>
              </a:defRPr>
            </a:lvl1pPr>
          </a:lstStyle>
          <a:p>
            <a:fld id="{C764DE79-268F-4C1A-8933-263129D2AF90}" type="datetimeFigureOut">
              <a:rPr lang="en-US" smtClean="0"/>
              <a:pPr/>
              <a:t>6/20/2019</a:t>
            </a:fld>
            <a:endParaRPr lang="en-US" dirty="0"/>
          </a:p>
        </p:txBody>
      </p:sp>
      <p:sp>
        <p:nvSpPr>
          <p:cNvPr id="8" name="Footer Placeholder 7"/>
          <p:cNvSpPr>
            <a:spLocks noGrp="1"/>
          </p:cNvSpPr>
          <p:nvPr>
            <p:ph type="ftr" sz="quarter" idx="11"/>
          </p:nvPr>
        </p:nvSpPr>
        <p:spPr/>
        <p:txBody>
          <a:bodyPr/>
          <a:lstStyle>
            <a:lvl1pPr>
              <a:defRPr>
                <a:solidFill>
                  <a:schemeClr val="tx1"/>
                </a:solidFill>
              </a:defRPr>
            </a:lvl1pPr>
          </a:lstStyle>
          <a:p>
            <a:endParaRPr lang="en-US" dirty="0"/>
          </a:p>
        </p:txBody>
      </p:sp>
      <p:sp>
        <p:nvSpPr>
          <p:cNvPr id="9" name="Slide Number Placeholder 8"/>
          <p:cNvSpPr>
            <a:spLocks noGrp="1"/>
          </p:cNvSpPr>
          <p:nvPr>
            <p:ph type="sldNum" sz="quarter" idx="12"/>
          </p:nvPr>
        </p:nvSpPr>
        <p:spPr/>
        <p:txBody>
          <a:bodyPr/>
          <a:lstStyle>
            <a:lvl1pPr>
              <a:defRPr>
                <a:solidFill>
                  <a:schemeClr val="tx1"/>
                </a:solidFill>
              </a:defRPr>
            </a:lvl1pPr>
          </a:lstStyle>
          <a:p>
            <a:fld id="{D5D29A3D-3D4E-0644-99C6-E19DFF2B4365}" type="slidenum">
              <a:rPr lang="en-US" smtClean="0"/>
              <a:pPr/>
              <a:t>‹#›</a:t>
            </a:fld>
            <a:endParaRPr lang="en-US"/>
          </a:p>
        </p:txBody>
      </p:sp>
    </p:spTree>
    <p:extLst>
      <p:ext uri="{BB962C8B-B14F-4D97-AF65-F5344CB8AC3E}">
        <p14:creationId xmlns:p14="http://schemas.microsoft.com/office/powerpoint/2010/main" val="3126287277"/>
      </p:ext>
    </p:extLst>
  </p:cSld>
  <p:clrMapOvr>
    <a:masterClrMapping/>
  </p:clrMapOvr>
  <p:hf hdr="0" ftr="0" dt="0"/>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image" Target="../media/image1.png"/><Relationship Id="rId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theme" Target="../theme/theme2.xml"/><Relationship Id="rId7" Type="http://schemas.openxmlformats.org/officeDocument/2006/relationships/image" Target="../media/image3.emf"/><Relationship Id="rId2" Type="http://schemas.openxmlformats.org/officeDocument/2006/relationships/slideLayout" Target="../slideLayouts/slideLayout4.xml"/><Relationship Id="rId1" Type="http://schemas.openxmlformats.org/officeDocument/2006/relationships/slideLayout" Target="../slideLayouts/slideLayout3.xml"/><Relationship Id="rId6" Type="http://schemas.openxmlformats.org/officeDocument/2006/relationships/oleObject" Target="../embeddings/oleObject1.bin"/><Relationship Id="rId5" Type="http://schemas.openxmlformats.org/officeDocument/2006/relationships/tags" Target="../tags/tag3.xml"/><Relationship Id="rId4" Type="http://schemas.openxmlformats.org/officeDocument/2006/relationships/vmlDrawing" Target="../drawings/vmlDrawing1.v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2.xml"/><Relationship Id="rId13" Type="http://schemas.openxmlformats.org/officeDocument/2006/relationships/slideLayout" Target="../slideLayouts/slideLayout17.xml"/><Relationship Id="rId3" Type="http://schemas.openxmlformats.org/officeDocument/2006/relationships/slideLayout" Target="../slideLayouts/slideLayout7.xml"/><Relationship Id="rId7" Type="http://schemas.openxmlformats.org/officeDocument/2006/relationships/slideLayout" Target="../slideLayouts/slideLayout11.xml"/><Relationship Id="rId12" Type="http://schemas.openxmlformats.org/officeDocument/2006/relationships/slideLayout" Target="../slideLayouts/slideLayout16.xml"/><Relationship Id="rId2" Type="http://schemas.openxmlformats.org/officeDocument/2006/relationships/slideLayout" Target="../slideLayouts/slideLayout6.xml"/><Relationship Id="rId16" Type="http://schemas.openxmlformats.org/officeDocument/2006/relationships/image" Target="../media/image1.png"/><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slideLayout" Target="../slideLayouts/slideLayout15.xml"/><Relationship Id="rId5" Type="http://schemas.openxmlformats.org/officeDocument/2006/relationships/slideLayout" Target="../slideLayouts/slideLayout9.xml"/><Relationship Id="rId15" Type="http://schemas.openxmlformats.org/officeDocument/2006/relationships/tags" Target="../tags/tag6.xml"/><Relationship Id="rId10" Type="http://schemas.openxmlformats.org/officeDocument/2006/relationships/slideLayout" Target="../slideLayouts/slideLayout14.xml"/><Relationship Id="rId4" Type="http://schemas.openxmlformats.org/officeDocument/2006/relationships/slideLayout" Target="../slideLayouts/slideLayout8.xml"/><Relationship Id="rId9" Type="http://schemas.openxmlformats.org/officeDocument/2006/relationships/slideLayout" Target="../slideLayouts/slideLayout13.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7" Type="http://schemas.openxmlformats.org/officeDocument/2006/relationships/image" Target="../media/image4.emf"/><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oleObject" Target="../embeddings/oleObject5.bin"/><Relationship Id="rId5" Type="http://schemas.openxmlformats.org/officeDocument/2006/relationships/tags" Target="../tags/tag13.xml"/><Relationship Id="rId4" Type="http://schemas.openxmlformats.org/officeDocument/2006/relationships/vmlDrawing" Target="../drawings/vmlDrawing5.vml"/></Relationships>
</file>

<file path=ppt/slideMasters/_rels/slideMaster5.xml.rels><?xml version="1.0" encoding="UTF-8" standalone="yes"?>
<Relationships xmlns="http://schemas.openxmlformats.org/package/2006/relationships"><Relationship Id="rId3" Type="http://schemas.openxmlformats.org/officeDocument/2006/relationships/theme" Target="../theme/theme5.xml"/><Relationship Id="rId2" Type="http://schemas.openxmlformats.org/officeDocument/2006/relationships/slideLayout" Target="../slideLayouts/slideLayout21.xml"/><Relationship Id="rId1" Type="http://schemas.openxmlformats.org/officeDocument/2006/relationships/slideLayout" Target="../slideLayouts/slideLayout20.xml"/><Relationship Id="rId5" Type="http://schemas.openxmlformats.org/officeDocument/2006/relationships/image" Target="../media/image1.png"/><Relationship Id="rId4" Type="http://schemas.openxmlformats.org/officeDocument/2006/relationships/tags" Target="../tags/tag14.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theme" Target="../theme/theme6.xml"/><Relationship Id="rId5" Type="http://schemas.openxmlformats.org/officeDocument/2006/relationships/slideLayout" Target="../slideLayouts/slideLayout26.xml"/><Relationship Id="rId4" Type="http://schemas.openxmlformats.org/officeDocument/2006/relationships/slideLayout" Target="../slideLayouts/slideLayout2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Fix/0/0,6/25,39/3,8">
            <a:extLst>
              <a:ext uri="{FF2B5EF4-FFF2-40B4-BE49-F238E27FC236}">
                <a16:creationId xmlns:a16="http://schemas.microsoft.com/office/drawing/2014/main" id="{E863E240-8428-9F4A-81DC-252FECF1DDF2}"/>
              </a:ext>
            </a:extLst>
          </p:cNvPr>
          <p:cNvSpPr>
            <a:spLocks noChangeArrowheads="1"/>
          </p:cNvSpPr>
          <p:nvPr userDrawn="1">
            <p:custDataLst>
              <p:tags r:id="rId4"/>
            </p:custDataLst>
          </p:nvPr>
        </p:nvSpPr>
        <p:spPr bwMode="auto">
          <a:xfrm>
            <a:off x="1" y="215900"/>
            <a:ext cx="12187767" cy="1366838"/>
          </a:xfrm>
          <a:prstGeom prst="rect">
            <a:avLst/>
          </a:prstGeom>
          <a:solidFill>
            <a:srgbClr val="004A96"/>
          </a:solidFill>
          <a:ln>
            <a:noFill/>
          </a:ln>
          <a:effectLst/>
          <a:extLst/>
        </p:spPr>
        <p:txBody>
          <a:bodyPr wrap="none" anchor="ctr"/>
          <a:lstStyle/>
          <a:p>
            <a:endParaRPr lang="de-DE" sz="1800">
              <a:solidFill>
                <a:schemeClr val="tx1"/>
              </a:solidFill>
            </a:endParaRPr>
          </a:p>
        </p:txBody>
      </p:sp>
      <p:sp>
        <p:nvSpPr>
          <p:cNvPr id="2" name="Title Placeholder 1"/>
          <p:cNvSpPr>
            <a:spLocks noGrp="1"/>
          </p:cNvSpPr>
          <p:nvPr>
            <p:ph type="title"/>
          </p:nvPr>
        </p:nvSpPr>
        <p:spPr>
          <a:xfrm>
            <a:off x="483894" y="506103"/>
            <a:ext cx="9122599" cy="78643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Slide Number Placeholder 12">
            <a:extLst>
              <a:ext uri="{FF2B5EF4-FFF2-40B4-BE49-F238E27FC236}">
                <a16:creationId xmlns:a16="http://schemas.microsoft.com/office/drawing/2014/main" id="{CA87A1F2-49D4-BE4A-8328-6BBD0DE503D0}"/>
              </a:ext>
            </a:extLst>
          </p:cNvPr>
          <p:cNvSpPr>
            <a:spLocks noGrp="1"/>
          </p:cNvSpPr>
          <p:nvPr>
            <p:ph type="sldNum" sz="quarter" idx="4"/>
          </p:nvPr>
        </p:nvSpPr>
        <p:spPr>
          <a:xfrm>
            <a:off x="11353800" y="6419851"/>
            <a:ext cx="486363" cy="365125"/>
          </a:xfrm>
          <a:prstGeom prst="rect">
            <a:avLst/>
          </a:prstGeom>
        </p:spPr>
        <p:txBody>
          <a:bodyPr vert="horz" lIns="91440" tIns="45720" rIns="91440" bIns="45720" rtlCol="0" anchor="ctr"/>
          <a:lstStyle>
            <a:lvl1pPr algn="r">
              <a:defRPr sz="1200">
                <a:solidFill>
                  <a:schemeClr val="tx1"/>
                </a:solidFill>
              </a:defRPr>
            </a:lvl1pPr>
          </a:lstStyle>
          <a:p>
            <a:fld id="{D5D29A3D-3D4E-0644-99C6-E19DFF2B4365}" type="slidenum">
              <a:rPr lang="en-US" smtClean="0"/>
              <a:pPr/>
              <a:t>‹#›</a:t>
            </a:fld>
            <a:endParaRPr lang="en-US"/>
          </a:p>
        </p:txBody>
      </p:sp>
      <p:pic>
        <p:nvPicPr>
          <p:cNvPr id="7" name="Grafik 6">
            <a:extLst>
              <a:ext uri="{FF2B5EF4-FFF2-40B4-BE49-F238E27FC236}">
                <a16:creationId xmlns:a16="http://schemas.microsoft.com/office/drawing/2014/main" id="{5C42C042-122C-4184-BEAA-CC617DEC69B0}"/>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0320801" y="1063148"/>
            <a:ext cx="1365739" cy="371108"/>
          </a:xfrm>
          <a:prstGeom prst="rect">
            <a:avLst/>
          </a:prstGeom>
        </p:spPr>
      </p:pic>
    </p:spTree>
    <p:extLst>
      <p:ext uri="{BB962C8B-B14F-4D97-AF65-F5344CB8AC3E}">
        <p14:creationId xmlns:p14="http://schemas.microsoft.com/office/powerpoint/2010/main" val="1395888591"/>
      </p:ext>
    </p:extLst>
  </p:cSld>
  <p:clrMap bg1="lt1" tx1="dk1" bg2="lt2" tx2="dk2" accent1="accent1" accent2="accent2" accent3="accent3" accent4="accent4" accent5="accent5" accent6="accent6" hlink="hlink" folHlink="folHlink"/>
  <p:sldLayoutIdLst>
    <p:sldLayoutId id="2147483686" r:id="rId1"/>
    <p:sldLayoutId id="2147483695" r:id="rId2"/>
  </p:sldLayoutIdLst>
  <p:hf hdr="0" ftr="0" dt="0"/>
  <p:txStyles>
    <p:titleStyle>
      <a:lvl1pPr algn="l" defTabSz="914400" rtl="0" eaLnBrk="1" latinLnBrk="0" hangingPunct="1">
        <a:lnSpc>
          <a:spcPct val="90000"/>
        </a:lnSpc>
        <a:spcBef>
          <a:spcPct val="0"/>
        </a:spcBef>
        <a:buNone/>
        <a:defRPr sz="2800" b="1" kern="1200">
          <a:solidFill>
            <a:schemeClr val="bg1"/>
          </a:solidFill>
          <a:latin typeface="+mj-lt"/>
          <a:ea typeface="+mj-ea"/>
          <a:cs typeface="+mj-cs"/>
        </a:defRPr>
      </a:lvl1pPr>
    </p:titleStyle>
    <p:bodyStyle>
      <a:lvl1pPr marL="228600" indent="-228600" algn="l" defTabSz="914400" rtl="0" eaLnBrk="1" latinLnBrk="0" hangingPunct="1">
        <a:lnSpc>
          <a:spcPct val="12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12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12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12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12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E282921F-1EE4-4440-A550-390BBB7AA62F}"/>
              </a:ext>
            </a:extLst>
          </p:cNvPr>
          <p:cNvGraphicFramePr>
            <a:graphicFrameLocks noChangeAspect="1"/>
          </p:cNvGraphicFramePr>
          <p:nvPr userDrawn="1">
            <p:custDataLst>
              <p:tags r:id="rId5"/>
            </p:custDataLst>
            <p:extLst/>
          </p:nvPr>
        </p:nvGraphicFramePr>
        <p:xfrm>
          <a:off x="1589" y="1591"/>
          <a:ext cx="1587" cy="1587"/>
        </p:xfrm>
        <a:graphic>
          <a:graphicData uri="http://schemas.openxmlformats.org/presentationml/2006/ole">
            <mc:AlternateContent xmlns:mc="http://schemas.openxmlformats.org/markup-compatibility/2006">
              <mc:Choice xmlns:v="urn:schemas-microsoft-com:vml" Requires="v">
                <p:oleObj spid="_x0000_s1026" name="think-cell Folie" r:id="rId6" imgW="347" imgH="346" progId="TCLayout.ActiveDocument.1">
                  <p:embed/>
                </p:oleObj>
              </mc:Choice>
              <mc:Fallback>
                <p:oleObj name="think-cell Folie" r:id="rId6" imgW="347" imgH="346" progId="TCLayout.ActiveDocument.1">
                  <p:embed/>
                  <p:pic>
                    <p:nvPicPr>
                      <p:cNvPr id="2" name="Objekt 1" hidden="1">
                        <a:extLst>
                          <a:ext uri="{FF2B5EF4-FFF2-40B4-BE49-F238E27FC236}">
                            <a16:creationId xmlns:a16="http://schemas.microsoft.com/office/drawing/2014/main" id="{E282921F-1EE4-4440-A550-390BBB7AA62F}"/>
                          </a:ext>
                        </a:extLst>
                      </p:cNvPr>
                      <p:cNvPicPr/>
                      <p:nvPr/>
                    </p:nvPicPr>
                    <p:blipFill>
                      <a:blip r:embed="rId7"/>
                      <a:stretch>
                        <a:fillRect/>
                      </a:stretch>
                    </p:blipFill>
                    <p:spPr>
                      <a:xfrm>
                        <a:off x="1589" y="1591"/>
                        <a:ext cx="1587" cy="1587"/>
                      </a:xfrm>
                      <a:prstGeom prst="rect">
                        <a:avLst/>
                      </a:prstGeom>
                    </p:spPr>
                  </p:pic>
                </p:oleObj>
              </mc:Fallback>
            </mc:AlternateContent>
          </a:graphicData>
        </a:graphic>
      </p:graphicFrame>
      <p:grpSp>
        <p:nvGrpSpPr>
          <p:cNvPr id="9" name="Gruppieren 8">
            <a:extLst>
              <a:ext uri="{FF2B5EF4-FFF2-40B4-BE49-F238E27FC236}">
                <a16:creationId xmlns:a16="http://schemas.microsoft.com/office/drawing/2014/main" id="{D7B6BC95-8EEB-4817-BBEE-BFB3C1456F30}"/>
              </a:ext>
            </a:extLst>
          </p:cNvPr>
          <p:cNvGrpSpPr/>
          <p:nvPr userDrawn="1"/>
        </p:nvGrpSpPr>
        <p:grpSpPr>
          <a:xfrm>
            <a:off x="9598861" y="6092575"/>
            <a:ext cx="2592337" cy="540000"/>
            <a:chOff x="9597610" y="6092575"/>
            <a:chExt cx="2592000" cy="540000"/>
          </a:xfrm>
        </p:grpSpPr>
        <p:sp>
          <p:nvSpPr>
            <p:cNvPr id="10" name="Rechteck 9">
              <a:extLst>
                <a:ext uri="{FF2B5EF4-FFF2-40B4-BE49-F238E27FC236}">
                  <a16:creationId xmlns:a16="http://schemas.microsoft.com/office/drawing/2014/main" id="{22019ED6-12CF-4A62-86DE-85747B9226FB}"/>
                </a:ext>
              </a:extLst>
            </p:cNvPr>
            <p:cNvSpPr/>
            <p:nvPr userDrawn="1"/>
          </p:nvSpPr>
          <p:spPr>
            <a:xfrm>
              <a:off x="9597610" y="6092575"/>
              <a:ext cx="2592000" cy="54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350"/>
            </a:p>
          </p:txBody>
        </p:sp>
        <p:pic>
          <p:nvPicPr>
            <p:cNvPr id="11" name="Grafik 10">
              <a:extLst>
                <a:ext uri="{FF2B5EF4-FFF2-40B4-BE49-F238E27FC236}">
                  <a16:creationId xmlns:a16="http://schemas.microsoft.com/office/drawing/2014/main" id="{5C10B800-1D38-4CC4-8BDB-98E1095D92E3}"/>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9732611" y="6228712"/>
              <a:ext cx="808391" cy="292882"/>
            </a:xfrm>
            <a:prstGeom prst="rect">
              <a:avLst/>
            </a:prstGeom>
          </p:spPr>
        </p:pic>
      </p:grpSp>
      <p:sp>
        <p:nvSpPr>
          <p:cNvPr id="12" name="Datumsplatzhalter 5">
            <a:extLst>
              <a:ext uri="{FF2B5EF4-FFF2-40B4-BE49-F238E27FC236}">
                <a16:creationId xmlns:a16="http://schemas.microsoft.com/office/drawing/2014/main" id="{8ACE506A-0E4B-4DF0-9E21-2FB264D53D77}"/>
              </a:ext>
            </a:extLst>
          </p:cNvPr>
          <p:cNvSpPr>
            <a:spLocks noGrp="1"/>
          </p:cNvSpPr>
          <p:nvPr>
            <p:ph type="dt" sz="half" idx="2"/>
          </p:nvPr>
        </p:nvSpPr>
        <p:spPr>
          <a:xfrm>
            <a:off x="685849" y="6516409"/>
            <a:ext cx="468187" cy="175322"/>
          </a:xfrm>
          <a:prstGeom prst="rect">
            <a:avLst/>
          </a:prstGeom>
        </p:spPr>
        <p:txBody>
          <a:bodyPr wrap="none" lIns="0" tIns="0" rIns="0" bIns="0"/>
          <a:lstStyle>
            <a:lvl1pPr>
              <a:defRPr sz="675">
                <a:solidFill>
                  <a:schemeClr val="tx1"/>
                </a:solidFill>
              </a:defRPr>
            </a:lvl1pPr>
          </a:lstStyle>
          <a:p>
            <a:fld id="{65010B03-D230-4701-9F37-B6F131066B93}" type="datetime1">
              <a:rPr lang="de-DE" smtClean="0"/>
              <a:pPr/>
              <a:t>20.06.2019</a:t>
            </a:fld>
            <a:endParaRPr lang="de-DE" dirty="0"/>
          </a:p>
        </p:txBody>
      </p:sp>
      <p:sp>
        <p:nvSpPr>
          <p:cNvPr id="13" name="Fußzeilenplatzhalter 6">
            <a:extLst>
              <a:ext uri="{FF2B5EF4-FFF2-40B4-BE49-F238E27FC236}">
                <a16:creationId xmlns:a16="http://schemas.microsoft.com/office/drawing/2014/main" id="{22A39E5B-DB5C-4AB3-829E-ED138EF14B76}"/>
              </a:ext>
            </a:extLst>
          </p:cNvPr>
          <p:cNvSpPr>
            <a:spLocks noGrp="1"/>
          </p:cNvSpPr>
          <p:nvPr>
            <p:ph type="ftr" sz="quarter" idx="3"/>
          </p:nvPr>
        </p:nvSpPr>
        <p:spPr>
          <a:xfrm>
            <a:off x="1368180" y="6516113"/>
            <a:ext cx="3364707" cy="167933"/>
          </a:xfrm>
          <a:prstGeom prst="rect">
            <a:avLst/>
          </a:prstGeom>
        </p:spPr>
        <p:txBody>
          <a:bodyPr lIns="0" tIns="0" rIns="0" bIns="0"/>
          <a:lstStyle>
            <a:lvl1pPr>
              <a:defRPr sz="675">
                <a:solidFill>
                  <a:srgbClr val="000000"/>
                </a:solidFill>
              </a:defRPr>
            </a:lvl1pPr>
          </a:lstStyle>
          <a:p>
            <a:r>
              <a:rPr lang="de-DE" dirty="0"/>
              <a:t>|  Optionale Zusatzinformationen</a:t>
            </a:r>
          </a:p>
        </p:txBody>
      </p:sp>
      <p:sp>
        <p:nvSpPr>
          <p:cNvPr id="14" name="Foliennummernplatzhalter 7">
            <a:extLst>
              <a:ext uri="{FF2B5EF4-FFF2-40B4-BE49-F238E27FC236}">
                <a16:creationId xmlns:a16="http://schemas.microsoft.com/office/drawing/2014/main" id="{F93BAA22-3B96-4875-B441-E07DB937DFBA}"/>
              </a:ext>
            </a:extLst>
          </p:cNvPr>
          <p:cNvSpPr>
            <a:spLocks noGrp="1"/>
          </p:cNvSpPr>
          <p:nvPr>
            <p:ph type="sldNum" sz="quarter" idx="4"/>
          </p:nvPr>
        </p:nvSpPr>
        <p:spPr>
          <a:xfrm>
            <a:off x="227044" y="6514798"/>
            <a:ext cx="384267" cy="151200"/>
          </a:xfrm>
          <a:prstGeom prst="rect">
            <a:avLst/>
          </a:prstGeom>
        </p:spPr>
        <p:txBody>
          <a:bodyPr lIns="0" tIns="0" rIns="0" bIns="0"/>
          <a:lstStyle>
            <a:lvl1pPr>
              <a:defRPr sz="675" b="1">
                <a:solidFill>
                  <a:schemeClr val="tx1"/>
                </a:solidFill>
              </a:defRPr>
            </a:lvl1pPr>
          </a:lstStyle>
          <a:p>
            <a:fld id="{82EA1D04-CA53-4DE3-84A8-2B63E41036C9}" type="slidenum">
              <a:rPr lang="de-DE" smtClean="0"/>
              <a:pPr/>
              <a:t>‹#›</a:t>
            </a:fld>
            <a:endParaRPr lang="de-DE" dirty="0"/>
          </a:p>
        </p:txBody>
      </p:sp>
      <p:sp>
        <p:nvSpPr>
          <p:cNvPr id="15" name="Titelplatzhalter 4">
            <a:extLst>
              <a:ext uri="{FF2B5EF4-FFF2-40B4-BE49-F238E27FC236}">
                <a16:creationId xmlns:a16="http://schemas.microsoft.com/office/drawing/2014/main" id="{3EDC1E47-FF61-41E0-9C92-E40774973FCF}"/>
              </a:ext>
            </a:extLst>
          </p:cNvPr>
          <p:cNvSpPr>
            <a:spLocks noGrp="1"/>
          </p:cNvSpPr>
          <p:nvPr>
            <p:ph type="title"/>
          </p:nvPr>
        </p:nvSpPr>
        <p:spPr>
          <a:xfrm>
            <a:off x="218333" y="430442"/>
            <a:ext cx="11737915" cy="853200"/>
          </a:xfrm>
          <a:prstGeom prst="rect">
            <a:avLst/>
          </a:prstGeom>
        </p:spPr>
        <p:txBody>
          <a:bodyPr vert="horz" lIns="0" tIns="0" rIns="0" bIns="0" rtlCol="0" anchor="t" anchorCtr="0">
            <a:noAutofit/>
          </a:bodyPr>
          <a:lstStyle/>
          <a:p>
            <a:r>
              <a:rPr lang="de-DE" dirty="0"/>
              <a:t>Titelmasterformat durch Klicken bearbeiten</a:t>
            </a:r>
          </a:p>
        </p:txBody>
      </p:sp>
      <p:sp>
        <p:nvSpPr>
          <p:cNvPr id="18" name="Textplatzhalter 2">
            <a:extLst>
              <a:ext uri="{FF2B5EF4-FFF2-40B4-BE49-F238E27FC236}">
                <a16:creationId xmlns:a16="http://schemas.microsoft.com/office/drawing/2014/main" id="{C9F4733D-C88A-4205-8841-88E70A657DEF}"/>
              </a:ext>
            </a:extLst>
          </p:cNvPr>
          <p:cNvSpPr>
            <a:spLocks noGrp="1"/>
          </p:cNvSpPr>
          <p:nvPr>
            <p:ph type="body" idx="1"/>
          </p:nvPr>
        </p:nvSpPr>
        <p:spPr>
          <a:xfrm>
            <a:off x="216030" y="1943999"/>
            <a:ext cx="11753889" cy="3960000"/>
          </a:xfrm>
          <a:prstGeom prst="rect">
            <a:avLst/>
          </a:prstGeom>
        </p:spPr>
        <p:txBody>
          <a:bodyPr vert="horz" lIns="0" tIns="0" rIns="0" bIns="0" rtlCol="0">
            <a:noAutofit/>
          </a:bodyPr>
          <a:lstStyle/>
          <a:p>
            <a:pPr marL="257175" marR="0" lvl="0" indent="-257175" algn="l" defTabSz="685800" rtl="0" eaLnBrk="1" fontAlgn="auto" latinLnBrk="0" hangingPunct="1">
              <a:lnSpc>
                <a:spcPct val="110000"/>
              </a:lnSpc>
              <a:spcBef>
                <a:spcPts val="0"/>
              </a:spcBef>
              <a:spcAft>
                <a:spcPts val="0"/>
              </a:spcAft>
              <a:buClr>
                <a:srgbClr val="004A96"/>
              </a:buClr>
              <a:buSzTx/>
              <a:buFont typeface="Wingdings" panose="05000000000000000000" pitchFamily="2" charset="2"/>
              <a:buChar char="n"/>
              <a:tabLst/>
              <a:defRPr/>
            </a:pPr>
            <a:r>
              <a:rPr kumimoji="0" lang="de-DE" sz="1500" b="0" i="0" u="none" strike="noStrike" kern="1200" cap="none" spc="0" normalizeH="0" baseline="0" noProof="0" dirty="0">
                <a:ln>
                  <a:noFill/>
                </a:ln>
                <a:solidFill>
                  <a:srgbClr val="000000"/>
                </a:solidFill>
                <a:effectLst/>
                <a:uLnTx/>
                <a:uFillTx/>
                <a:latin typeface="Arial"/>
                <a:ea typeface="+mn-ea"/>
                <a:cs typeface="+mn-cs"/>
              </a:rPr>
              <a:t>Formatvorlagen des Textmasters bearbeiten</a:t>
            </a:r>
          </a:p>
          <a:p>
            <a:pPr marL="539354" marR="0" lvl="1" indent="-271463" algn="l" defTabSz="685800" rtl="0" eaLnBrk="1" fontAlgn="auto" latinLnBrk="0" hangingPunct="1">
              <a:lnSpc>
                <a:spcPct val="110000"/>
              </a:lnSpc>
              <a:spcBef>
                <a:spcPts val="450"/>
              </a:spcBef>
              <a:spcAft>
                <a:spcPts val="0"/>
              </a:spcAft>
              <a:buClr>
                <a:srgbClr val="004A96"/>
              </a:buClr>
              <a:buSzTx/>
              <a:buFont typeface="Wingdings 3" panose="05040102010807070707" pitchFamily="18" charset="2"/>
              <a:buChar char=""/>
              <a:tabLst/>
              <a:defRPr/>
            </a:pPr>
            <a:r>
              <a:rPr kumimoji="0" lang="de-DE" sz="1500" b="0" i="0" u="none" strike="noStrike" kern="1200" cap="none" spc="0" normalizeH="0" baseline="0" noProof="0" dirty="0">
                <a:ln>
                  <a:noFill/>
                </a:ln>
                <a:solidFill>
                  <a:srgbClr val="000000"/>
                </a:solidFill>
                <a:effectLst/>
                <a:uLnTx/>
                <a:uFillTx/>
                <a:latin typeface="Arial"/>
                <a:ea typeface="+mn-ea"/>
                <a:cs typeface="+mn-cs"/>
              </a:rPr>
              <a:t>Zweite Ebene</a:t>
            </a:r>
          </a:p>
          <a:p>
            <a:pPr marL="806054" marR="0" lvl="2" indent="-266700" algn="l" defTabSz="685800" rtl="0" eaLnBrk="1" fontAlgn="auto" latinLnBrk="0" hangingPunct="1">
              <a:lnSpc>
                <a:spcPct val="110000"/>
              </a:lnSpc>
              <a:spcBef>
                <a:spcPts val="225"/>
              </a:spcBef>
              <a:spcAft>
                <a:spcPts val="0"/>
              </a:spcAft>
              <a:buClr>
                <a:srgbClr val="004A96"/>
              </a:buClr>
              <a:buSzTx/>
              <a:buFont typeface="Arial" panose="020B0604020202020204" pitchFamily="34" charset="0"/>
              <a:buChar char="●"/>
              <a:tabLst/>
              <a:defRPr/>
            </a:pPr>
            <a:r>
              <a:rPr kumimoji="0" lang="de-DE" sz="1500" b="0" i="0" u="none" strike="noStrike" kern="1200" cap="none" spc="0" normalizeH="0" baseline="0" noProof="0" dirty="0">
                <a:ln>
                  <a:noFill/>
                </a:ln>
                <a:solidFill>
                  <a:srgbClr val="000000"/>
                </a:solidFill>
                <a:effectLst/>
                <a:uLnTx/>
                <a:uFillTx/>
                <a:latin typeface="Arial"/>
                <a:ea typeface="+mn-ea"/>
                <a:cs typeface="+mn-cs"/>
              </a:rPr>
              <a:t>Dritte Ebene</a:t>
            </a:r>
          </a:p>
          <a:p>
            <a:pPr marL="1077516" marR="0" lvl="3" indent="-271463" algn="l" defTabSz="685800" rtl="0" eaLnBrk="1" fontAlgn="auto" latinLnBrk="0" hangingPunct="1">
              <a:lnSpc>
                <a:spcPct val="110000"/>
              </a:lnSpc>
              <a:spcBef>
                <a:spcPts val="0"/>
              </a:spcBef>
              <a:spcAft>
                <a:spcPct val="50000"/>
              </a:spcAft>
              <a:buClr>
                <a:srgbClr val="004A96"/>
              </a:buClr>
              <a:buSzTx/>
              <a:buFont typeface="Arial" panose="020B0604020202020204" pitchFamily="34" charset="0"/>
              <a:buChar char="−"/>
              <a:tabLst/>
              <a:defRPr/>
            </a:pPr>
            <a:r>
              <a:rPr kumimoji="0" lang="de-DE" sz="1500" b="0" i="0" u="none" strike="noStrike" kern="1200" cap="none" spc="0" normalizeH="0" baseline="0" noProof="0" dirty="0">
                <a:ln>
                  <a:noFill/>
                </a:ln>
                <a:solidFill>
                  <a:srgbClr val="000000"/>
                </a:solidFill>
                <a:effectLst/>
                <a:uLnTx/>
                <a:uFillTx/>
                <a:latin typeface="Arial"/>
                <a:ea typeface="+mn-ea"/>
                <a:cs typeface="+mn-cs"/>
              </a:rPr>
              <a:t>Vierte Ebene</a:t>
            </a:r>
          </a:p>
        </p:txBody>
      </p:sp>
    </p:spTree>
    <p:extLst>
      <p:ext uri="{BB962C8B-B14F-4D97-AF65-F5344CB8AC3E}">
        <p14:creationId xmlns:p14="http://schemas.microsoft.com/office/powerpoint/2010/main" val="137802163"/>
      </p:ext>
    </p:extLst>
  </p:cSld>
  <p:clrMap bg1="lt1" tx1="dk1" bg2="lt2" tx2="dk2" accent1="accent1" accent2="accent2" accent3="accent3" accent4="accent4" accent5="accent5" accent6="accent6" hlink="hlink" folHlink="folHlink"/>
  <p:sldLayoutIdLst>
    <p:sldLayoutId id="2147483698" r:id="rId1"/>
    <p:sldLayoutId id="2147483699" r:id="rId2"/>
  </p:sldLayoutIdLst>
  <p:hf hdr="0"/>
  <p:txStyles>
    <p:titleStyle>
      <a:lvl1pPr algn="l" defTabSz="685732" rtl="0" eaLnBrk="1" latinLnBrk="0" hangingPunct="1">
        <a:lnSpc>
          <a:spcPct val="100000"/>
        </a:lnSpc>
        <a:spcBef>
          <a:spcPts val="83"/>
        </a:spcBef>
        <a:spcAft>
          <a:spcPts val="83"/>
        </a:spcAft>
        <a:buNone/>
        <a:defRPr sz="2100" b="1" i="0" kern="1200">
          <a:solidFill>
            <a:schemeClr val="accent1"/>
          </a:solidFill>
          <a:latin typeface="Arial" panose="020B0604020202020204" pitchFamily="34" charset="0"/>
          <a:ea typeface="+mj-ea"/>
          <a:cs typeface="+mj-cs"/>
        </a:defRPr>
      </a:lvl1pPr>
    </p:titleStyle>
    <p:bodyStyle>
      <a:lvl1pPr marL="257175" marR="0" indent="-257175" algn="l" defTabSz="685800" rtl="0" eaLnBrk="1" fontAlgn="auto" latinLnBrk="0" hangingPunct="1">
        <a:lnSpc>
          <a:spcPct val="110000"/>
        </a:lnSpc>
        <a:spcBef>
          <a:spcPts val="0"/>
        </a:spcBef>
        <a:spcAft>
          <a:spcPts val="0"/>
        </a:spcAft>
        <a:buClr>
          <a:schemeClr val="accent1"/>
        </a:buClr>
        <a:buSzTx/>
        <a:buFont typeface="Wingdings" panose="05000000000000000000" pitchFamily="2" charset="2"/>
        <a:buChar char="n"/>
        <a:tabLst/>
        <a:defRPr sz="1500" b="0" i="0" kern="1200" baseline="0">
          <a:solidFill>
            <a:schemeClr val="tx1"/>
          </a:solidFill>
          <a:latin typeface="Arial" panose="020B0604020202020204" pitchFamily="34" charset="0"/>
          <a:ea typeface="+mn-ea"/>
          <a:cs typeface="+mn-cs"/>
        </a:defRPr>
      </a:lvl1pPr>
      <a:lvl2pPr marL="539354" marR="0" indent="-271463" algn="l" defTabSz="685800" rtl="0" eaLnBrk="1" fontAlgn="auto" latinLnBrk="0" hangingPunct="1">
        <a:lnSpc>
          <a:spcPct val="110000"/>
        </a:lnSpc>
        <a:spcBef>
          <a:spcPts val="450"/>
        </a:spcBef>
        <a:spcAft>
          <a:spcPts val="0"/>
        </a:spcAft>
        <a:buClr>
          <a:srgbClr val="004A96"/>
        </a:buClr>
        <a:buSzTx/>
        <a:buFont typeface="Wingdings 3" panose="05040102010807070707" pitchFamily="18" charset="2"/>
        <a:buChar char=""/>
        <a:tabLst/>
        <a:defRPr sz="1500" b="0" i="0" kern="1200" baseline="0">
          <a:solidFill>
            <a:schemeClr val="tx1"/>
          </a:solidFill>
          <a:latin typeface="Arial" panose="020B0604020202020204" pitchFamily="34" charset="0"/>
          <a:ea typeface="+mn-ea"/>
          <a:cs typeface="+mn-cs"/>
        </a:defRPr>
      </a:lvl2pPr>
      <a:lvl3pPr marL="806054" marR="0" indent="-266700" algn="l" defTabSz="685800" rtl="0" eaLnBrk="1" fontAlgn="auto" latinLnBrk="0" hangingPunct="1">
        <a:lnSpc>
          <a:spcPct val="110000"/>
        </a:lnSpc>
        <a:spcBef>
          <a:spcPts val="225"/>
        </a:spcBef>
        <a:spcAft>
          <a:spcPts val="0"/>
        </a:spcAft>
        <a:buClr>
          <a:srgbClr val="004A96"/>
        </a:buClr>
        <a:buSzTx/>
        <a:buFont typeface="Arial" panose="020B0604020202020204" pitchFamily="34" charset="0"/>
        <a:buChar char="●"/>
        <a:tabLst/>
        <a:defRPr sz="1500" b="0" i="0" kern="1200" baseline="0">
          <a:solidFill>
            <a:schemeClr val="tx1"/>
          </a:solidFill>
          <a:latin typeface="Arial" panose="020B0604020202020204" pitchFamily="34" charset="0"/>
          <a:ea typeface="+mn-ea"/>
          <a:cs typeface="+mn-cs"/>
        </a:defRPr>
      </a:lvl3pPr>
      <a:lvl4pPr marL="1077516" marR="0" indent="-271463" algn="l" defTabSz="685800" rtl="0" eaLnBrk="1" fontAlgn="auto" latinLnBrk="0" hangingPunct="1">
        <a:lnSpc>
          <a:spcPct val="110000"/>
        </a:lnSpc>
        <a:spcBef>
          <a:spcPts val="0"/>
        </a:spcBef>
        <a:spcAft>
          <a:spcPct val="50000"/>
        </a:spcAft>
        <a:buClr>
          <a:srgbClr val="004A96"/>
        </a:buClr>
        <a:buSzTx/>
        <a:buFont typeface="Arial" panose="020B0604020202020204" pitchFamily="34" charset="0"/>
        <a:buChar char="−"/>
        <a:tabLst/>
        <a:defRPr sz="1500" b="0" i="0" kern="1200" baseline="0">
          <a:solidFill>
            <a:schemeClr val="tx1"/>
          </a:solidFill>
          <a:latin typeface="Arial" panose="020B0604020202020204" pitchFamily="34" charset="0"/>
          <a:ea typeface="+mn-ea"/>
          <a:cs typeface="+mn-cs"/>
        </a:defRPr>
      </a:lvl4pPr>
      <a:lvl5pPr marL="1217579" indent="-199780" algn="l" defTabSz="685732" rtl="0" eaLnBrk="1" latinLnBrk="0" hangingPunct="1">
        <a:lnSpc>
          <a:spcPct val="95000"/>
        </a:lnSpc>
        <a:spcBef>
          <a:spcPts val="0"/>
        </a:spcBef>
        <a:spcAft>
          <a:spcPts val="0"/>
        </a:spcAft>
        <a:buClr>
          <a:schemeClr val="tx1"/>
        </a:buClr>
        <a:buSzPct val="100000"/>
        <a:buFont typeface="Arial" panose="020B0604020202020204" pitchFamily="34" charset="0"/>
        <a:buChar char="–"/>
        <a:defRPr sz="1500" b="0" i="0" kern="1200" baseline="0">
          <a:solidFill>
            <a:schemeClr val="tx1"/>
          </a:solidFill>
          <a:latin typeface="Arial" panose="020B0604020202020204" pitchFamily="34" charset="0"/>
          <a:ea typeface="+mn-ea"/>
          <a:cs typeface="+mn-cs"/>
        </a:defRPr>
      </a:lvl5pPr>
      <a:lvl6pPr marL="1560444" indent="-199780" algn="l" defTabSz="685732" rtl="0" eaLnBrk="1" latinLnBrk="0" hangingPunct="1">
        <a:lnSpc>
          <a:spcPct val="95000"/>
        </a:lnSpc>
        <a:spcBef>
          <a:spcPts val="0"/>
        </a:spcBef>
        <a:buClrTx/>
        <a:buFont typeface="Arial" panose="020B0604020202020204" pitchFamily="34" charset="0"/>
        <a:buChar char="•"/>
        <a:defRPr sz="1500" b="0" i="0" kern="1200" baseline="0">
          <a:solidFill>
            <a:schemeClr val="tx1"/>
          </a:solidFill>
          <a:latin typeface="Arial" panose="020B0604020202020204" pitchFamily="34" charset="0"/>
          <a:ea typeface="+mn-ea"/>
          <a:cs typeface="+mn-cs"/>
        </a:defRPr>
      </a:lvl6pPr>
      <a:lvl7pPr marL="1903310" indent="-199780" algn="l" defTabSz="685732" rtl="0" eaLnBrk="1" latinLnBrk="0" hangingPunct="1">
        <a:lnSpc>
          <a:spcPct val="95000"/>
        </a:lnSpc>
        <a:spcBef>
          <a:spcPts val="0"/>
        </a:spcBef>
        <a:buClrTx/>
        <a:buFont typeface="Arial" panose="020B0604020202020204" pitchFamily="34" charset="0"/>
        <a:buChar char="•"/>
        <a:defRPr sz="1500" b="0" i="0" kern="1200" baseline="0">
          <a:solidFill>
            <a:schemeClr val="tx1"/>
          </a:solidFill>
          <a:latin typeface="Arial" panose="020B0604020202020204" pitchFamily="34" charset="0"/>
          <a:ea typeface="+mn-ea"/>
          <a:cs typeface="+mn-cs"/>
        </a:defRPr>
      </a:lvl7pPr>
      <a:lvl8pPr marL="2246175" indent="-199780" algn="l" defTabSz="685732" rtl="0" eaLnBrk="1" latinLnBrk="0" hangingPunct="1">
        <a:lnSpc>
          <a:spcPct val="95000"/>
        </a:lnSpc>
        <a:spcBef>
          <a:spcPts val="0"/>
        </a:spcBef>
        <a:buClrTx/>
        <a:buFont typeface="Arial" panose="020B0604020202020204" pitchFamily="34" charset="0"/>
        <a:buChar char="•"/>
        <a:defRPr sz="1500" b="0" i="0" kern="1200" baseline="0">
          <a:solidFill>
            <a:schemeClr val="tx1"/>
          </a:solidFill>
          <a:latin typeface="Arial" panose="020B0604020202020204" pitchFamily="34" charset="0"/>
          <a:ea typeface="+mn-ea"/>
          <a:cs typeface="+mn-cs"/>
        </a:defRPr>
      </a:lvl8pPr>
      <a:lvl9pPr marL="2589041" indent="-199780" algn="l" defTabSz="685732" rtl="0" eaLnBrk="1" latinLnBrk="0" hangingPunct="1">
        <a:lnSpc>
          <a:spcPct val="95000"/>
        </a:lnSpc>
        <a:spcBef>
          <a:spcPts val="0"/>
        </a:spcBef>
        <a:buClrTx/>
        <a:buFont typeface="Arial" panose="020B0604020202020204" pitchFamily="34" charset="0"/>
        <a:buChar char="•"/>
        <a:defRPr sz="1500" b="0" i="0" kern="1200" baseline="0">
          <a:solidFill>
            <a:schemeClr val="tx1"/>
          </a:solidFill>
          <a:latin typeface="Arial" panose="020B0604020202020204" pitchFamily="34" charset="0"/>
          <a:ea typeface="+mn-ea"/>
          <a:cs typeface="+mn-cs"/>
        </a:defRPr>
      </a:lvl9pPr>
    </p:bodyStyle>
    <p:otherStyle>
      <a:defPPr>
        <a:defRPr lang="de-DE"/>
      </a:defPPr>
      <a:lvl1pPr marL="0" algn="l" defTabSz="685732" rtl="0" eaLnBrk="1" latinLnBrk="0" hangingPunct="1">
        <a:defRPr sz="1350" kern="1200">
          <a:solidFill>
            <a:schemeClr val="tx1"/>
          </a:solidFill>
          <a:latin typeface="+mn-lt"/>
          <a:ea typeface="+mn-ea"/>
          <a:cs typeface="+mn-cs"/>
        </a:defRPr>
      </a:lvl1pPr>
      <a:lvl2pPr marL="342866" algn="l" defTabSz="685732" rtl="0" eaLnBrk="1" latinLnBrk="0" hangingPunct="1">
        <a:defRPr sz="1350" kern="1200">
          <a:solidFill>
            <a:schemeClr val="tx1"/>
          </a:solidFill>
          <a:latin typeface="+mn-lt"/>
          <a:ea typeface="+mn-ea"/>
          <a:cs typeface="+mn-cs"/>
        </a:defRPr>
      </a:lvl2pPr>
      <a:lvl3pPr marL="685732" algn="l" defTabSz="685732" rtl="0" eaLnBrk="1" latinLnBrk="0" hangingPunct="1">
        <a:defRPr sz="1350" kern="1200">
          <a:solidFill>
            <a:schemeClr val="tx1"/>
          </a:solidFill>
          <a:latin typeface="+mn-lt"/>
          <a:ea typeface="+mn-ea"/>
          <a:cs typeface="+mn-cs"/>
        </a:defRPr>
      </a:lvl3pPr>
      <a:lvl4pPr marL="1028597" algn="l" defTabSz="685732" rtl="0" eaLnBrk="1" latinLnBrk="0" hangingPunct="1">
        <a:defRPr sz="1350" kern="1200">
          <a:solidFill>
            <a:schemeClr val="tx1"/>
          </a:solidFill>
          <a:latin typeface="+mn-lt"/>
          <a:ea typeface="+mn-ea"/>
          <a:cs typeface="+mn-cs"/>
        </a:defRPr>
      </a:lvl4pPr>
      <a:lvl5pPr marL="1371463" algn="l" defTabSz="685732" rtl="0" eaLnBrk="1" latinLnBrk="0" hangingPunct="1">
        <a:defRPr sz="1350" kern="1200">
          <a:solidFill>
            <a:schemeClr val="tx1"/>
          </a:solidFill>
          <a:latin typeface="+mn-lt"/>
          <a:ea typeface="+mn-ea"/>
          <a:cs typeface="+mn-cs"/>
        </a:defRPr>
      </a:lvl5pPr>
      <a:lvl6pPr marL="1714328" algn="l" defTabSz="685732" rtl="0" eaLnBrk="1" latinLnBrk="0" hangingPunct="1">
        <a:defRPr sz="1350" kern="1200">
          <a:solidFill>
            <a:schemeClr val="tx1"/>
          </a:solidFill>
          <a:latin typeface="+mn-lt"/>
          <a:ea typeface="+mn-ea"/>
          <a:cs typeface="+mn-cs"/>
        </a:defRPr>
      </a:lvl6pPr>
      <a:lvl7pPr marL="2057195" algn="l" defTabSz="685732" rtl="0" eaLnBrk="1" latinLnBrk="0" hangingPunct="1">
        <a:defRPr sz="1350" kern="1200">
          <a:solidFill>
            <a:schemeClr val="tx1"/>
          </a:solidFill>
          <a:latin typeface="+mn-lt"/>
          <a:ea typeface="+mn-ea"/>
          <a:cs typeface="+mn-cs"/>
        </a:defRPr>
      </a:lvl7pPr>
      <a:lvl8pPr marL="2400060" algn="l" defTabSz="685732" rtl="0" eaLnBrk="1" latinLnBrk="0" hangingPunct="1">
        <a:defRPr sz="1350" kern="1200">
          <a:solidFill>
            <a:schemeClr val="tx1"/>
          </a:solidFill>
          <a:latin typeface="+mn-lt"/>
          <a:ea typeface="+mn-ea"/>
          <a:cs typeface="+mn-cs"/>
        </a:defRPr>
      </a:lvl8pPr>
      <a:lvl9pPr marL="2742926" algn="l" defTabSz="685732"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178" userDrawn="1">
          <p15:clr>
            <a:srgbClr val="F26B43"/>
          </p15:clr>
        </p15:guide>
        <p15:guide id="2" orient="horz" pos="4042" userDrawn="1">
          <p15:clr>
            <a:srgbClr val="F26B43"/>
          </p15:clr>
        </p15:guide>
        <p15:guide id="3" orient="horz" pos="1269" userDrawn="1">
          <p15:clr>
            <a:srgbClr val="F26B43"/>
          </p15:clr>
        </p15:guide>
        <p15:guide id="7" pos="181" userDrawn="1">
          <p15:clr>
            <a:srgbClr val="F26B43"/>
          </p15:clr>
        </p15:guide>
        <p15:guide id="8" pos="10059" userDrawn="1">
          <p15:clr>
            <a:srgbClr val="F26B43"/>
          </p15:clr>
        </p15:guide>
        <p15:guide id="9" orient="horz" pos="3838"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ltLang="zh-CN"/>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ltLang="zh-CN"/>
              <a:t>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solidFill>
              </a:defRPr>
            </a:lvl1pPr>
          </a:lstStyle>
          <a:p>
            <a:fld id="{C764DE79-268F-4C1A-8933-263129D2AF90}" type="datetimeFigureOut">
              <a:rPr lang="en-US" smtClean="0"/>
              <a:pPr/>
              <a:t>6/20/2019</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solidFill>
              </a:defRPr>
            </a:lvl1pPr>
          </a:lstStyle>
          <a:p>
            <a:fld id="{DDCA5563-F81E-D04A-A41F-73AB38B7680B}" type="slidenum">
              <a:rPr lang="en-US" smtClean="0"/>
              <a:pPr/>
              <a:t>‹#›</a:t>
            </a:fld>
            <a:endParaRPr lang="en-US"/>
          </a:p>
        </p:txBody>
      </p:sp>
      <p:sp>
        <p:nvSpPr>
          <p:cNvPr id="7" name="Fix/0/0,6/25,39/3,8">
            <a:extLst>
              <a:ext uri="{FF2B5EF4-FFF2-40B4-BE49-F238E27FC236}">
                <a16:creationId xmlns:a16="http://schemas.microsoft.com/office/drawing/2014/main" id="{D37B5B29-52F0-4BC0-A66E-A42B6305DAB8}"/>
              </a:ext>
            </a:extLst>
          </p:cNvPr>
          <p:cNvSpPr>
            <a:spLocks noChangeArrowheads="1"/>
          </p:cNvSpPr>
          <p:nvPr userDrawn="1">
            <p:custDataLst>
              <p:tags r:id="rId15"/>
            </p:custDataLst>
          </p:nvPr>
        </p:nvSpPr>
        <p:spPr bwMode="auto">
          <a:xfrm>
            <a:off x="1" y="215900"/>
            <a:ext cx="12187767" cy="1366838"/>
          </a:xfrm>
          <a:prstGeom prst="rect">
            <a:avLst/>
          </a:prstGeom>
          <a:solidFill>
            <a:srgbClr val="004A96"/>
          </a:solidFill>
          <a:ln>
            <a:noFill/>
          </a:ln>
          <a:effectLst/>
          <a:extLst/>
        </p:spPr>
        <p:txBody>
          <a:bodyPr wrap="none" anchor="ctr"/>
          <a:lstStyle/>
          <a:p>
            <a:endParaRPr lang="de-DE" sz="1800">
              <a:solidFill>
                <a:schemeClr val="tx1"/>
              </a:solidFill>
            </a:endParaRPr>
          </a:p>
        </p:txBody>
      </p:sp>
      <p:pic>
        <p:nvPicPr>
          <p:cNvPr id="8" name="Grafik 6">
            <a:extLst>
              <a:ext uri="{FF2B5EF4-FFF2-40B4-BE49-F238E27FC236}">
                <a16:creationId xmlns:a16="http://schemas.microsoft.com/office/drawing/2014/main" id="{8A7C6814-353E-4165-828C-EFE6014B3341}"/>
              </a:ext>
            </a:extLst>
          </p:cNvPr>
          <p:cNvPicPr>
            <a:picLocks noChangeAspect="1"/>
          </p:cNvPicPr>
          <p:nvPr userDrawn="1"/>
        </p:nvPicPr>
        <p:blipFill>
          <a:blip r:embed="rId16">
            <a:extLst>
              <a:ext uri="{28A0092B-C50C-407E-A947-70E740481C1C}">
                <a14:useLocalDpi xmlns:a14="http://schemas.microsoft.com/office/drawing/2010/main" val="0"/>
              </a:ext>
            </a:extLst>
          </a:blip>
          <a:stretch>
            <a:fillRect/>
          </a:stretch>
        </p:blipFill>
        <p:spPr>
          <a:xfrm>
            <a:off x="10320801" y="1063148"/>
            <a:ext cx="1365739" cy="371108"/>
          </a:xfrm>
          <a:prstGeom prst="rect">
            <a:avLst/>
          </a:prstGeom>
        </p:spPr>
      </p:pic>
    </p:spTree>
    <p:extLst>
      <p:ext uri="{BB962C8B-B14F-4D97-AF65-F5344CB8AC3E}">
        <p14:creationId xmlns:p14="http://schemas.microsoft.com/office/powerpoint/2010/main" val="2986457634"/>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 id="2147483740" r:id="rId12"/>
    <p:sldLayoutId id="2147483741"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5"/>
            </p:custDataLst>
            <p:extLst>
              <p:ext uri="{D42A27DB-BD31-4B8C-83A1-F6EECF244321}">
                <p14:modId xmlns:p14="http://schemas.microsoft.com/office/powerpoint/2010/main" val="964611087"/>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5122" name="think-cell Folie" r:id="rId6" imgW="270" imgH="270" progId="TCLayout.ActiveDocument.1">
                  <p:embed/>
                </p:oleObj>
              </mc:Choice>
              <mc:Fallback>
                <p:oleObj name="think-cell Folie" r:id="rId6" imgW="270" imgH="270" progId="TCLayout.ActiveDocument.1">
                  <p:embed/>
                  <p:pic>
                    <p:nvPicPr>
                      <p:cNvPr id="2" name="Objekt 1" hidden="1"/>
                      <p:cNvPicPr/>
                      <p:nvPr/>
                    </p:nvPicPr>
                    <p:blipFill>
                      <a:blip r:embed="rId7"/>
                      <a:stretch>
                        <a:fillRect/>
                      </a:stretch>
                    </p:blipFill>
                    <p:spPr>
                      <a:xfrm>
                        <a:off x="1589" y="1589"/>
                        <a:ext cx="1587" cy="1587"/>
                      </a:xfrm>
                      <a:prstGeom prst="rect">
                        <a:avLst/>
                      </a:prstGeom>
                    </p:spPr>
                  </p:pic>
                </p:oleObj>
              </mc:Fallback>
            </mc:AlternateContent>
          </a:graphicData>
        </a:graphic>
      </p:graphicFrame>
    </p:spTree>
    <p:extLst>
      <p:ext uri="{BB962C8B-B14F-4D97-AF65-F5344CB8AC3E}">
        <p14:creationId xmlns:p14="http://schemas.microsoft.com/office/powerpoint/2010/main" val="432913176"/>
      </p:ext>
    </p:extLst>
  </p:cSld>
  <p:clrMap bg1="lt1" tx1="dk1" bg2="lt2" tx2="dk2" accent1="accent1" accent2="accent2" accent3="accent3" accent4="accent4" accent5="accent5" accent6="accent6" hlink="hlink" folHlink="folHlink"/>
  <p:sldLayoutIdLst>
    <p:sldLayoutId id="2147483729" r:id="rId1"/>
    <p:sldLayoutId id="2147483730" r:id="rId2"/>
  </p:sldLayoutIdLst>
  <p:hf hdr="0" ftr="0" dt="0"/>
  <p:txStyles>
    <p:titleStyle>
      <a:lvl1pPr algn="l" defTabSz="914400" rtl="0" eaLnBrk="1" latinLnBrk="0" hangingPunct="1">
        <a:lnSpc>
          <a:spcPct val="100000"/>
        </a:lnSpc>
        <a:spcBef>
          <a:spcPct val="110000"/>
        </a:spcBef>
        <a:spcAft>
          <a:spcPct val="110000"/>
        </a:spcAft>
        <a:buNone/>
        <a:defRPr sz="3000" b="1" i="0" kern="1200">
          <a:solidFill>
            <a:srgbClr val="000000"/>
          </a:solidFill>
          <a:latin typeface="Arial"/>
          <a:ea typeface="+mj-ea"/>
          <a:cs typeface="+mj-cs"/>
        </a:defRPr>
      </a:lvl1pPr>
    </p:titleStyle>
    <p:bodyStyle>
      <a:lvl1pPr marL="342900" indent="-342900" algn="l" defTabSz="914400" rtl="0" eaLnBrk="1" latinLnBrk="0" hangingPunct="1">
        <a:lnSpc>
          <a:spcPct val="110000"/>
        </a:lnSpc>
        <a:spcBef>
          <a:spcPts val="0"/>
        </a:spcBef>
        <a:spcAft>
          <a:spcPct val="50000"/>
        </a:spcAft>
        <a:buClr>
          <a:schemeClr val="accent1"/>
        </a:buClr>
        <a:buFont typeface="Wingdings"/>
        <a:buChar char="n"/>
        <a:defRPr sz="2000" b="0" i="0" kern="1200">
          <a:solidFill>
            <a:schemeClr val="tx1"/>
          </a:solidFill>
          <a:latin typeface="Arial"/>
          <a:ea typeface="+mn-ea"/>
          <a:cs typeface="+mn-cs"/>
        </a:defRPr>
      </a:lvl1pPr>
      <a:lvl2pPr marL="742950" indent="-285750" algn="l" defTabSz="914400" rtl="0" eaLnBrk="1" latinLnBrk="0" hangingPunct="1">
        <a:lnSpc>
          <a:spcPct val="110000"/>
        </a:lnSpc>
        <a:spcBef>
          <a:spcPts val="0"/>
        </a:spcBef>
        <a:spcAft>
          <a:spcPct val="50000"/>
        </a:spcAft>
        <a:buClr>
          <a:schemeClr val="accent1"/>
        </a:buClr>
        <a:buFont typeface="Wingdings"/>
        <a:buChar char="n"/>
        <a:defRPr sz="2000" b="0" i="0" kern="1200">
          <a:solidFill>
            <a:schemeClr val="tx1"/>
          </a:solidFill>
          <a:latin typeface="Arial"/>
          <a:ea typeface="+mn-ea"/>
          <a:cs typeface="+mn-cs"/>
        </a:defRPr>
      </a:lvl2pPr>
      <a:lvl3pPr marL="1143000" indent="-228600" algn="l" defTabSz="914400" rtl="0" eaLnBrk="1" latinLnBrk="0" hangingPunct="1">
        <a:lnSpc>
          <a:spcPct val="110000"/>
        </a:lnSpc>
        <a:spcBef>
          <a:spcPts val="0"/>
        </a:spcBef>
        <a:spcAft>
          <a:spcPct val="50000"/>
        </a:spcAft>
        <a:buClr>
          <a:schemeClr val="tx1"/>
        </a:buClr>
        <a:buFontTx/>
        <a:buChar char="–"/>
        <a:defRPr sz="2000" b="0" i="0" kern="1200">
          <a:solidFill>
            <a:schemeClr val="tx1"/>
          </a:solidFill>
          <a:latin typeface="Arial"/>
          <a:ea typeface="+mn-ea"/>
          <a:cs typeface="+mn-cs"/>
        </a:defRPr>
      </a:lvl3pPr>
      <a:lvl4pPr marL="1600200" indent="-228600" algn="l" defTabSz="914400" rtl="0" eaLnBrk="1" latinLnBrk="0" hangingPunct="1">
        <a:lnSpc>
          <a:spcPct val="110000"/>
        </a:lnSpc>
        <a:spcBef>
          <a:spcPts val="0"/>
        </a:spcBef>
        <a:spcAft>
          <a:spcPct val="50000"/>
        </a:spcAft>
        <a:buClr>
          <a:schemeClr val="tx1"/>
        </a:buClr>
        <a:buFontTx/>
        <a:buChar char="–"/>
        <a:defRPr sz="2000" b="0" i="0" kern="1200">
          <a:solidFill>
            <a:schemeClr val="tx1"/>
          </a:solidFill>
          <a:latin typeface="Arial"/>
          <a:ea typeface="+mn-ea"/>
          <a:cs typeface="+mn-cs"/>
        </a:defRPr>
      </a:lvl4pPr>
      <a:lvl5pPr marL="2057400" indent="-228600" algn="l" defTabSz="914400" rtl="0" eaLnBrk="1" latinLnBrk="0" hangingPunct="1">
        <a:lnSpc>
          <a:spcPct val="110000"/>
        </a:lnSpc>
        <a:spcBef>
          <a:spcPts val="0"/>
        </a:spcBef>
        <a:spcAft>
          <a:spcPct val="50000"/>
        </a:spcAft>
        <a:buClr>
          <a:schemeClr val="tx1"/>
        </a:buClr>
        <a:buFontTx/>
        <a:buChar char="–"/>
        <a:defRPr sz="2000" b="0" i="0" kern="1200">
          <a:solidFill>
            <a:schemeClr val="tx1"/>
          </a:solidFill>
          <a:latin typeface="Arial"/>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Fix/0/0,6/25,39/3,8">
            <a:extLst>
              <a:ext uri="{FF2B5EF4-FFF2-40B4-BE49-F238E27FC236}">
                <a16:creationId xmlns:a16="http://schemas.microsoft.com/office/drawing/2014/main" id="{E863E240-8428-9F4A-81DC-252FECF1DDF2}"/>
              </a:ext>
            </a:extLst>
          </p:cNvPr>
          <p:cNvSpPr>
            <a:spLocks noChangeArrowheads="1"/>
          </p:cNvSpPr>
          <p:nvPr userDrawn="1">
            <p:custDataLst>
              <p:tags r:id="rId4"/>
            </p:custDataLst>
          </p:nvPr>
        </p:nvSpPr>
        <p:spPr bwMode="auto">
          <a:xfrm>
            <a:off x="1" y="215900"/>
            <a:ext cx="12187767" cy="1366838"/>
          </a:xfrm>
          <a:prstGeom prst="rect">
            <a:avLst/>
          </a:prstGeom>
          <a:solidFill>
            <a:srgbClr val="004A96"/>
          </a:solidFill>
          <a:ln>
            <a:noFill/>
          </a:ln>
          <a:effectLst/>
          <a:extLst/>
        </p:spPr>
        <p:txBody>
          <a:bodyPr wrap="none" anchor="ctr"/>
          <a:lstStyle/>
          <a:p>
            <a:endParaRPr lang="de-DE" sz="1800"/>
          </a:p>
        </p:txBody>
      </p:sp>
      <p:sp>
        <p:nvSpPr>
          <p:cNvPr id="2" name="Title Placeholder 1"/>
          <p:cNvSpPr>
            <a:spLocks noGrp="1"/>
          </p:cNvSpPr>
          <p:nvPr>
            <p:ph type="title"/>
          </p:nvPr>
        </p:nvSpPr>
        <p:spPr>
          <a:xfrm>
            <a:off x="483894" y="506103"/>
            <a:ext cx="9122599" cy="78643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Slide Number Placeholder 12">
            <a:extLst>
              <a:ext uri="{FF2B5EF4-FFF2-40B4-BE49-F238E27FC236}">
                <a16:creationId xmlns:a16="http://schemas.microsoft.com/office/drawing/2014/main" id="{CA87A1F2-49D4-BE4A-8328-6BBD0DE503D0}"/>
              </a:ext>
            </a:extLst>
          </p:cNvPr>
          <p:cNvSpPr>
            <a:spLocks noGrp="1"/>
          </p:cNvSpPr>
          <p:nvPr>
            <p:ph type="sldNum" sz="quarter" idx="4"/>
          </p:nvPr>
        </p:nvSpPr>
        <p:spPr>
          <a:xfrm>
            <a:off x="11353800" y="6419851"/>
            <a:ext cx="486363"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5D29A3D-3D4E-0644-99C6-E19DFF2B4365}" type="slidenum">
              <a:rPr lang="en-US" smtClean="0"/>
              <a:t>‹#›</a:t>
            </a:fld>
            <a:endParaRPr lang="en-US"/>
          </a:p>
        </p:txBody>
      </p:sp>
      <p:pic>
        <p:nvPicPr>
          <p:cNvPr id="7" name="Grafik 6">
            <a:extLst>
              <a:ext uri="{FF2B5EF4-FFF2-40B4-BE49-F238E27FC236}">
                <a16:creationId xmlns:a16="http://schemas.microsoft.com/office/drawing/2014/main" id="{5C42C042-122C-4184-BEAA-CC617DEC69B0}"/>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0320801" y="1063148"/>
            <a:ext cx="1365739" cy="371108"/>
          </a:xfrm>
          <a:prstGeom prst="rect">
            <a:avLst/>
          </a:prstGeom>
        </p:spPr>
      </p:pic>
    </p:spTree>
    <p:extLst>
      <p:ext uri="{BB962C8B-B14F-4D97-AF65-F5344CB8AC3E}">
        <p14:creationId xmlns:p14="http://schemas.microsoft.com/office/powerpoint/2010/main" val="1081733661"/>
      </p:ext>
    </p:extLst>
  </p:cSld>
  <p:clrMap bg1="lt1" tx1="dk1" bg2="lt2" tx2="dk2" accent1="accent1" accent2="accent2" accent3="accent3" accent4="accent4" accent5="accent5" accent6="accent6" hlink="hlink" folHlink="folHlink"/>
  <p:sldLayoutIdLst>
    <p:sldLayoutId id="2147483732" r:id="rId1"/>
    <p:sldLayoutId id="2147483733" r:id="rId2"/>
  </p:sldLayoutIdLst>
  <p:hf hdr="0" ftr="0" dt="0"/>
  <p:txStyles>
    <p:titleStyle>
      <a:lvl1pPr algn="l" defTabSz="914400" rtl="0" eaLnBrk="1" latinLnBrk="0" hangingPunct="1">
        <a:lnSpc>
          <a:spcPct val="90000"/>
        </a:lnSpc>
        <a:spcBef>
          <a:spcPct val="0"/>
        </a:spcBef>
        <a:buNone/>
        <a:defRPr sz="2800" b="1" kern="1200">
          <a:solidFill>
            <a:schemeClr val="bg1"/>
          </a:solidFill>
          <a:latin typeface="+mj-lt"/>
          <a:ea typeface="+mj-ea"/>
          <a:cs typeface="+mj-cs"/>
        </a:defRPr>
      </a:lvl1pPr>
    </p:titleStyle>
    <p:bodyStyle>
      <a:lvl1pPr marL="228600" indent="-228600" algn="l" defTabSz="914400" rtl="0" eaLnBrk="1" latinLnBrk="0" hangingPunct="1">
        <a:lnSpc>
          <a:spcPct val="12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12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12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12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12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1" name="Textfeld 10">
            <a:extLst>
              <a:ext uri="{FF2B5EF4-FFF2-40B4-BE49-F238E27FC236}">
                <a16:creationId xmlns:a16="http://schemas.microsoft.com/office/drawing/2014/main" id="{F341B893-5E64-41A2-A59D-26EE2D50455C}"/>
              </a:ext>
            </a:extLst>
          </p:cNvPr>
          <p:cNvSpPr txBox="1"/>
          <p:nvPr userDrawn="1"/>
        </p:nvSpPr>
        <p:spPr>
          <a:xfrm>
            <a:off x="5987785" y="6451321"/>
            <a:ext cx="216434" cy="184666"/>
          </a:xfrm>
          <a:prstGeom prst="rect">
            <a:avLst/>
          </a:prstGeom>
          <a:noFill/>
        </p:spPr>
        <p:txBody>
          <a:bodyPr wrap="none" lIns="0" tIns="0" rIns="0" bIns="0" rtlCol="0">
            <a:spAutoFit/>
          </a:bodyPr>
          <a:lstStyle/>
          <a:p>
            <a:pPr algn="ctr">
              <a:spcBef>
                <a:spcPts val="110"/>
              </a:spcBef>
              <a:spcAft>
                <a:spcPts val="110"/>
              </a:spcAft>
            </a:pPr>
            <a:r>
              <a:rPr lang="de-DE" sz="1200" dirty="0">
                <a:solidFill>
                  <a:srgbClr val="C50022"/>
                </a:solidFill>
              </a:rPr>
              <a:t>     </a:t>
            </a:r>
            <a:endParaRPr lang="de-DE" sz="1800" dirty="0">
              <a:solidFill>
                <a:srgbClr val="C50022"/>
              </a:solidFill>
            </a:endParaRPr>
          </a:p>
        </p:txBody>
      </p:sp>
      <p:sp>
        <p:nvSpPr>
          <p:cNvPr id="12" name="Textfeld 11">
            <a:extLst>
              <a:ext uri="{FF2B5EF4-FFF2-40B4-BE49-F238E27FC236}">
                <a16:creationId xmlns:a16="http://schemas.microsoft.com/office/drawing/2014/main" id="{816A1FEC-3FC6-48C7-A1C2-08AA10AC8891}"/>
              </a:ext>
            </a:extLst>
          </p:cNvPr>
          <p:cNvSpPr txBox="1"/>
          <p:nvPr userDrawn="1"/>
        </p:nvSpPr>
        <p:spPr>
          <a:xfrm>
            <a:off x="4178401" y="6858001"/>
            <a:ext cx="3835203" cy="646331"/>
          </a:xfrm>
          <a:prstGeom prst="rect">
            <a:avLst/>
          </a:prstGeom>
          <a:noFill/>
        </p:spPr>
        <p:txBody>
          <a:bodyPr wrap="none" rtlCol="0">
            <a:spAutoFit/>
          </a:bodyPr>
          <a:lstStyle/>
          <a:p>
            <a:pPr algn="ctr"/>
            <a:r>
              <a:rPr lang="de-DE" sz="1200" dirty="0">
                <a:solidFill>
                  <a:srgbClr val="C50022"/>
                </a:solidFill>
                <a:sym typeface="Wingdings" panose="05000000000000000000" pitchFamily="2" charset="2"/>
              </a:rPr>
              <a:t></a:t>
            </a:r>
            <a:endParaRPr lang="de-DE" sz="1200" dirty="0">
              <a:solidFill>
                <a:srgbClr val="C50022"/>
              </a:solidFill>
            </a:endParaRPr>
          </a:p>
          <a:p>
            <a:pPr algn="ctr"/>
            <a:r>
              <a:rPr lang="de-DE" sz="1200" dirty="0">
                <a:solidFill>
                  <a:srgbClr val="C50022"/>
                </a:solidFill>
              </a:rPr>
              <a:t>Zur Angabe der Klassifizierung (VERTRAULICH etc.) </a:t>
            </a:r>
            <a:br>
              <a:rPr lang="de-DE" sz="1200" dirty="0">
                <a:solidFill>
                  <a:srgbClr val="C50022"/>
                </a:solidFill>
              </a:rPr>
            </a:br>
            <a:r>
              <a:rPr lang="de-DE" sz="1200" dirty="0">
                <a:solidFill>
                  <a:srgbClr val="C50022"/>
                </a:solidFill>
              </a:rPr>
              <a:t>bitte dieses Textfeld im Folienmaster verwenden</a:t>
            </a:r>
          </a:p>
        </p:txBody>
      </p:sp>
      <p:sp>
        <p:nvSpPr>
          <p:cNvPr id="15" name="Datumsplatzhalter 5">
            <a:extLst>
              <a:ext uri="{FF2B5EF4-FFF2-40B4-BE49-F238E27FC236}">
                <a16:creationId xmlns:a16="http://schemas.microsoft.com/office/drawing/2014/main" id="{E4F52055-0D05-4ED7-8A63-F50B8DD25E65}"/>
              </a:ext>
            </a:extLst>
          </p:cNvPr>
          <p:cNvSpPr>
            <a:spLocks noGrp="1"/>
          </p:cNvSpPr>
          <p:nvPr>
            <p:ph type="dt" sz="half" idx="2"/>
          </p:nvPr>
        </p:nvSpPr>
        <p:spPr>
          <a:xfrm>
            <a:off x="685849" y="6516409"/>
            <a:ext cx="468187" cy="175322"/>
          </a:xfrm>
          <a:prstGeom prst="rect">
            <a:avLst/>
          </a:prstGeom>
        </p:spPr>
        <p:txBody>
          <a:bodyPr wrap="none" lIns="0" tIns="0" rIns="0" bIns="0"/>
          <a:lstStyle>
            <a:lvl1pPr>
              <a:defRPr sz="900"/>
            </a:lvl1pPr>
          </a:lstStyle>
          <a:p>
            <a:fld id="{65010B03-D230-4701-9F37-B6F131066B93}" type="datetime1">
              <a:rPr lang="de-DE" smtClean="0"/>
              <a:t>20.06.2019</a:t>
            </a:fld>
            <a:endParaRPr lang="de-DE" dirty="0"/>
          </a:p>
        </p:txBody>
      </p:sp>
      <p:sp>
        <p:nvSpPr>
          <p:cNvPr id="16" name="Fußzeilenplatzhalter 6">
            <a:extLst>
              <a:ext uri="{FF2B5EF4-FFF2-40B4-BE49-F238E27FC236}">
                <a16:creationId xmlns:a16="http://schemas.microsoft.com/office/drawing/2014/main" id="{DF250D0C-5A24-43E1-9349-FA5D78EB487D}"/>
              </a:ext>
            </a:extLst>
          </p:cNvPr>
          <p:cNvSpPr>
            <a:spLocks noGrp="1"/>
          </p:cNvSpPr>
          <p:nvPr>
            <p:ph type="ftr" sz="quarter" idx="3"/>
          </p:nvPr>
        </p:nvSpPr>
        <p:spPr>
          <a:xfrm>
            <a:off x="1368179" y="6516111"/>
            <a:ext cx="3364707" cy="167933"/>
          </a:xfrm>
          <a:prstGeom prst="rect">
            <a:avLst/>
          </a:prstGeom>
        </p:spPr>
        <p:txBody>
          <a:bodyPr lIns="0" tIns="0" rIns="0" bIns="0"/>
          <a:lstStyle>
            <a:lvl1pPr>
              <a:defRPr sz="900">
                <a:solidFill>
                  <a:srgbClr val="000000"/>
                </a:solidFill>
              </a:defRPr>
            </a:lvl1pPr>
          </a:lstStyle>
          <a:p>
            <a:r>
              <a:rPr lang="de-DE" dirty="0"/>
              <a:t>|  Optionale Zusatzinformationen</a:t>
            </a:r>
          </a:p>
        </p:txBody>
      </p:sp>
      <p:sp>
        <p:nvSpPr>
          <p:cNvPr id="17" name="Foliennummernplatzhalter 7">
            <a:extLst>
              <a:ext uri="{FF2B5EF4-FFF2-40B4-BE49-F238E27FC236}">
                <a16:creationId xmlns:a16="http://schemas.microsoft.com/office/drawing/2014/main" id="{17E8C29A-05ED-46E6-92DA-89743027126D}"/>
              </a:ext>
            </a:extLst>
          </p:cNvPr>
          <p:cNvSpPr>
            <a:spLocks noGrp="1"/>
          </p:cNvSpPr>
          <p:nvPr>
            <p:ph type="sldNum" sz="quarter" idx="4"/>
          </p:nvPr>
        </p:nvSpPr>
        <p:spPr>
          <a:xfrm>
            <a:off x="227043" y="6514798"/>
            <a:ext cx="384267" cy="151200"/>
          </a:xfrm>
          <a:prstGeom prst="rect">
            <a:avLst/>
          </a:prstGeom>
        </p:spPr>
        <p:txBody>
          <a:bodyPr lIns="0" tIns="0" rIns="0" bIns="0"/>
          <a:lstStyle>
            <a:lvl1pPr>
              <a:defRPr sz="900" b="1"/>
            </a:lvl1pPr>
          </a:lstStyle>
          <a:p>
            <a:fld id="{82EA1D04-CA53-4DE3-84A8-2B63E41036C9}" type="slidenum">
              <a:rPr lang="de-DE" smtClean="0"/>
              <a:pPr/>
              <a:t>‹#›</a:t>
            </a:fld>
            <a:endParaRPr lang="de-DE" dirty="0"/>
          </a:p>
        </p:txBody>
      </p:sp>
    </p:spTree>
    <p:extLst>
      <p:ext uri="{BB962C8B-B14F-4D97-AF65-F5344CB8AC3E}">
        <p14:creationId xmlns:p14="http://schemas.microsoft.com/office/powerpoint/2010/main" val="2422792435"/>
      </p:ext>
    </p:extLst>
  </p:cSld>
  <p:clrMap bg1="lt1" tx1="dk1" bg2="lt2" tx2="dk2" accent1="accent1" accent2="accent2" accent3="accent3" accent4="accent4" accent5="accent5" accent6="accent6" hlink="hlink" folHlink="folHlink"/>
  <p:sldLayoutIdLst>
    <p:sldLayoutId id="2147483735" r:id="rId1"/>
    <p:sldLayoutId id="2147483736" r:id="rId2"/>
    <p:sldLayoutId id="2147483737" r:id="rId3"/>
    <p:sldLayoutId id="2147483738" r:id="rId4"/>
    <p:sldLayoutId id="2147483739" r:id="rId5"/>
  </p:sldLayoutIdLst>
  <p:hf hdr="0"/>
  <p:txStyles>
    <p:titleStyle>
      <a:lvl1pPr algn="l" defTabSz="914400" rtl="0" eaLnBrk="1" latinLnBrk="0" hangingPunct="1">
        <a:lnSpc>
          <a:spcPct val="100000"/>
        </a:lnSpc>
        <a:spcBef>
          <a:spcPct val="110000"/>
        </a:spcBef>
        <a:spcAft>
          <a:spcPct val="110000"/>
        </a:spcAft>
        <a:buNone/>
        <a:defRPr sz="3000" b="1" i="0" kern="1200">
          <a:solidFill>
            <a:srgbClr val="000000"/>
          </a:solidFill>
          <a:latin typeface="Arial"/>
          <a:ea typeface="+mj-ea"/>
          <a:cs typeface="+mj-cs"/>
        </a:defRPr>
      </a:lvl1pPr>
    </p:titleStyle>
    <p:bodyStyle>
      <a:lvl1pPr marL="342900" indent="-342900" algn="l" defTabSz="914400" rtl="0" eaLnBrk="1" latinLnBrk="0" hangingPunct="1">
        <a:lnSpc>
          <a:spcPct val="110000"/>
        </a:lnSpc>
        <a:spcBef>
          <a:spcPts val="0"/>
        </a:spcBef>
        <a:spcAft>
          <a:spcPct val="50000"/>
        </a:spcAft>
        <a:buClr>
          <a:schemeClr val="accent1"/>
        </a:buClr>
        <a:buFont typeface="Wingdings"/>
        <a:buChar char="n"/>
        <a:defRPr sz="2000" b="0" i="0" kern="1200">
          <a:solidFill>
            <a:schemeClr val="tx1"/>
          </a:solidFill>
          <a:latin typeface="Arial"/>
          <a:ea typeface="+mn-ea"/>
          <a:cs typeface="+mn-cs"/>
        </a:defRPr>
      </a:lvl1pPr>
      <a:lvl2pPr marL="742950" indent="-285750" algn="l" defTabSz="914400" rtl="0" eaLnBrk="1" latinLnBrk="0" hangingPunct="1">
        <a:lnSpc>
          <a:spcPct val="110000"/>
        </a:lnSpc>
        <a:spcBef>
          <a:spcPts val="0"/>
        </a:spcBef>
        <a:spcAft>
          <a:spcPct val="50000"/>
        </a:spcAft>
        <a:buClr>
          <a:schemeClr val="accent1"/>
        </a:buClr>
        <a:buFont typeface="Wingdings"/>
        <a:buChar char="n"/>
        <a:defRPr sz="2000" b="0" i="0" kern="1200">
          <a:solidFill>
            <a:schemeClr val="tx1"/>
          </a:solidFill>
          <a:latin typeface="Arial"/>
          <a:ea typeface="+mn-ea"/>
          <a:cs typeface="+mn-cs"/>
        </a:defRPr>
      </a:lvl2pPr>
      <a:lvl3pPr marL="1143000" indent="-228600" algn="l" defTabSz="914400" rtl="0" eaLnBrk="1" latinLnBrk="0" hangingPunct="1">
        <a:lnSpc>
          <a:spcPct val="110000"/>
        </a:lnSpc>
        <a:spcBef>
          <a:spcPts val="0"/>
        </a:spcBef>
        <a:spcAft>
          <a:spcPct val="50000"/>
        </a:spcAft>
        <a:buClr>
          <a:schemeClr val="tx1"/>
        </a:buClr>
        <a:buFontTx/>
        <a:buChar char="–"/>
        <a:defRPr sz="2000" b="0" i="0" kern="1200">
          <a:solidFill>
            <a:schemeClr val="tx1"/>
          </a:solidFill>
          <a:latin typeface="Arial"/>
          <a:ea typeface="+mn-ea"/>
          <a:cs typeface="+mn-cs"/>
        </a:defRPr>
      </a:lvl3pPr>
      <a:lvl4pPr marL="1600200" indent="-228600" algn="l" defTabSz="914400" rtl="0" eaLnBrk="1" latinLnBrk="0" hangingPunct="1">
        <a:lnSpc>
          <a:spcPct val="110000"/>
        </a:lnSpc>
        <a:spcBef>
          <a:spcPts val="0"/>
        </a:spcBef>
        <a:spcAft>
          <a:spcPct val="50000"/>
        </a:spcAft>
        <a:buClr>
          <a:schemeClr val="tx1"/>
        </a:buClr>
        <a:buFontTx/>
        <a:buChar char="–"/>
        <a:defRPr sz="2000" b="0" i="0" kern="1200">
          <a:solidFill>
            <a:schemeClr val="tx1"/>
          </a:solidFill>
          <a:latin typeface="Arial"/>
          <a:ea typeface="+mn-ea"/>
          <a:cs typeface="+mn-cs"/>
        </a:defRPr>
      </a:lvl4pPr>
      <a:lvl5pPr marL="2057400" indent="-228600" algn="l" defTabSz="914400" rtl="0" eaLnBrk="1" latinLnBrk="0" hangingPunct="1">
        <a:lnSpc>
          <a:spcPct val="110000"/>
        </a:lnSpc>
        <a:spcBef>
          <a:spcPts val="0"/>
        </a:spcBef>
        <a:spcAft>
          <a:spcPct val="50000"/>
        </a:spcAft>
        <a:buClr>
          <a:schemeClr val="tx1"/>
        </a:buClr>
        <a:buFontTx/>
        <a:buChar char="–"/>
        <a:defRPr sz="2000" b="0" i="0" kern="1200">
          <a:solidFill>
            <a:schemeClr val="tx1"/>
          </a:solidFill>
          <a:latin typeface="Arial"/>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16.xml"/><Relationship Id="rId7" Type="http://schemas.openxmlformats.org/officeDocument/2006/relationships/image" Target="../media/image9.png"/><Relationship Id="rId2" Type="http://schemas.openxmlformats.org/officeDocument/2006/relationships/tags" Target="../tags/tag18.xml"/><Relationship Id="rId1" Type="http://schemas.openxmlformats.org/officeDocument/2006/relationships/vmlDrawing" Target="../drawings/vmlDrawing6.vml"/><Relationship Id="rId6" Type="http://schemas.openxmlformats.org/officeDocument/2006/relationships/image" Target="../media/image3.emf"/><Relationship Id="rId5" Type="http://schemas.openxmlformats.org/officeDocument/2006/relationships/oleObject" Target="../embeddings/oleObject6.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2.xml"/><Relationship Id="rId1" Type="http://schemas.openxmlformats.org/officeDocument/2006/relationships/slideLayout" Target="../slideLayouts/slideLayout17.xml"/><Relationship Id="rId4" Type="http://schemas.openxmlformats.org/officeDocument/2006/relationships/image" Target="../media/image11.png"/></Relationships>
</file>

<file path=ppt/slides/_rels/slide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8" Type="http://schemas.openxmlformats.org/officeDocument/2006/relationships/image" Target="../media/image17.jpg"/><Relationship Id="rId13" Type="http://schemas.openxmlformats.org/officeDocument/2006/relationships/image" Target="../media/image22.png"/><Relationship Id="rId18" Type="http://schemas.openxmlformats.org/officeDocument/2006/relationships/image" Target="../media/image26.png"/><Relationship Id="rId26" Type="http://schemas.openxmlformats.org/officeDocument/2006/relationships/image" Target="../media/image33.png"/><Relationship Id="rId3" Type="http://schemas.openxmlformats.org/officeDocument/2006/relationships/tags" Target="../tags/tag20.xml"/><Relationship Id="rId21" Type="http://schemas.openxmlformats.org/officeDocument/2006/relationships/image" Target="../media/image29.png"/><Relationship Id="rId7" Type="http://schemas.openxmlformats.org/officeDocument/2006/relationships/image" Target="../media/image16.gif"/><Relationship Id="rId12" Type="http://schemas.openxmlformats.org/officeDocument/2006/relationships/image" Target="../media/image21.png"/><Relationship Id="rId17" Type="http://schemas.openxmlformats.org/officeDocument/2006/relationships/image" Target="../media/image25.jpg"/><Relationship Id="rId25" Type="http://schemas.openxmlformats.org/officeDocument/2006/relationships/image" Target="../media/image32.png"/><Relationship Id="rId2" Type="http://schemas.openxmlformats.org/officeDocument/2006/relationships/tags" Target="../tags/tag19.xml"/><Relationship Id="rId16" Type="http://schemas.microsoft.com/office/2007/relationships/hdphoto" Target="../media/hdphoto1.wdp"/><Relationship Id="rId20" Type="http://schemas.openxmlformats.org/officeDocument/2006/relationships/image" Target="../media/image28.jpg"/><Relationship Id="rId1" Type="http://schemas.openxmlformats.org/officeDocument/2006/relationships/vmlDrawing" Target="../drawings/vmlDrawing7.vml"/><Relationship Id="rId6" Type="http://schemas.openxmlformats.org/officeDocument/2006/relationships/image" Target="../media/image15.emf"/><Relationship Id="rId11" Type="http://schemas.openxmlformats.org/officeDocument/2006/relationships/image" Target="../media/image20.svg"/><Relationship Id="rId24" Type="http://schemas.openxmlformats.org/officeDocument/2006/relationships/image" Target="../media/image31.png"/><Relationship Id="rId5" Type="http://schemas.openxmlformats.org/officeDocument/2006/relationships/oleObject" Target="../embeddings/oleObject7.bin"/><Relationship Id="rId15" Type="http://schemas.openxmlformats.org/officeDocument/2006/relationships/image" Target="../media/image24.png"/><Relationship Id="rId23" Type="http://schemas.openxmlformats.org/officeDocument/2006/relationships/hyperlink" Target="https://www.re-flekt.com/de?hsLang=de" TargetMode="External"/><Relationship Id="rId10" Type="http://schemas.openxmlformats.org/officeDocument/2006/relationships/image" Target="../media/image19.png"/><Relationship Id="rId19" Type="http://schemas.openxmlformats.org/officeDocument/2006/relationships/image" Target="../media/image27.png"/><Relationship Id="rId4" Type="http://schemas.openxmlformats.org/officeDocument/2006/relationships/slideLayout" Target="../slideLayouts/slideLayout6.xml"/><Relationship Id="rId9" Type="http://schemas.openxmlformats.org/officeDocument/2006/relationships/image" Target="../media/image18.png"/><Relationship Id="rId14" Type="http://schemas.openxmlformats.org/officeDocument/2006/relationships/image" Target="../media/image23.jpg"/><Relationship Id="rId22" Type="http://schemas.openxmlformats.org/officeDocument/2006/relationships/image" Target="../media/image30.png"/><Relationship Id="rId27" Type="http://schemas.openxmlformats.org/officeDocument/2006/relationships/image" Target="../media/image34.svg"/></Relationships>
</file>

<file path=ppt/slides/_rels/slide9.xml.rels><?xml version="1.0" encoding="UTF-8" standalone="yes"?>
<Relationships xmlns="http://schemas.openxmlformats.org/package/2006/relationships"><Relationship Id="rId8" Type="http://schemas.openxmlformats.org/officeDocument/2006/relationships/image" Target="../media/image41.jpg"/><Relationship Id="rId13" Type="http://schemas.openxmlformats.org/officeDocument/2006/relationships/image" Target="../media/image46.jpg"/><Relationship Id="rId3" Type="http://schemas.openxmlformats.org/officeDocument/2006/relationships/image" Target="../media/image36.jpg"/><Relationship Id="rId7" Type="http://schemas.openxmlformats.org/officeDocument/2006/relationships/image" Target="../media/image40.jpg"/><Relationship Id="rId12" Type="http://schemas.openxmlformats.org/officeDocument/2006/relationships/image" Target="../media/image45.jpg"/><Relationship Id="rId17" Type="http://schemas.openxmlformats.org/officeDocument/2006/relationships/image" Target="../media/image50.jpg"/><Relationship Id="rId2" Type="http://schemas.openxmlformats.org/officeDocument/2006/relationships/image" Target="../media/image35.tiff"/><Relationship Id="rId16" Type="http://schemas.openxmlformats.org/officeDocument/2006/relationships/image" Target="../media/image49.jpg"/><Relationship Id="rId1" Type="http://schemas.openxmlformats.org/officeDocument/2006/relationships/slideLayout" Target="../slideLayouts/slideLayout6.xml"/><Relationship Id="rId6" Type="http://schemas.openxmlformats.org/officeDocument/2006/relationships/image" Target="../media/image39.jpg"/><Relationship Id="rId11" Type="http://schemas.openxmlformats.org/officeDocument/2006/relationships/image" Target="../media/image44.jpg"/><Relationship Id="rId5" Type="http://schemas.openxmlformats.org/officeDocument/2006/relationships/image" Target="../media/image38.jpg"/><Relationship Id="rId15" Type="http://schemas.openxmlformats.org/officeDocument/2006/relationships/image" Target="../media/image48.jpg"/><Relationship Id="rId10" Type="http://schemas.openxmlformats.org/officeDocument/2006/relationships/image" Target="../media/image43.jpg"/><Relationship Id="rId4" Type="http://schemas.openxmlformats.org/officeDocument/2006/relationships/image" Target="../media/image37.jpg"/><Relationship Id="rId9" Type="http://schemas.openxmlformats.org/officeDocument/2006/relationships/image" Target="../media/image42.jpg"/><Relationship Id="rId14" Type="http://schemas.openxmlformats.org/officeDocument/2006/relationships/image" Target="../media/image47.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1CE44E0F-7AF3-4CB4-BD90-2D12CCF0AF84}"/>
              </a:ext>
            </a:extLst>
          </p:cNvPr>
          <p:cNvGraphicFramePr>
            <a:graphicFrameLocks noChangeAspect="1"/>
          </p:cNvGraphicFramePr>
          <p:nvPr>
            <p:custDataLst>
              <p:tags r:id="rId2"/>
            </p:custDataLst>
            <p:extLst/>
          </p:nvPr>
        </p:nvGraphicFramePr>
        <p:xfrm>
          <a:off x="2383" y="1589"/>
          <a:ext cx="1587" cy="1587"/>
        </p:xfrm>
        <a:graphic>
          <a:graphicData uri="http://schemas.openxmlformats.org/presentationml/2006/ole">
            <mc:AlternateContent xmlns:mc="http://schemas.openxmlformats.org/markup-compatibility/2006">
              <mc:Choice xmlns:v="urn:schemas-microsoft-com:vml" Requires="v">
                <p:oleObj spid="_x0000_s6146" name="think-cell Folie" r:id="rId5" imgW="347" imgH="346" progId="TCLayout.ActiveDocument.1">
                  <p:embed/>
                </p:oleObj>
              </mc:Choice>
              <mc:Fallback>
                <p:oleObj name="think-cell Folie" r:id="rId5" imgW="347" imgH="346" progId="TCLayout.ActiveDocument.1">
                  <p:embed/>
                  <p:pic>
                    <p:nvPicPr>
                      <p:cNvPr id="2" name="Objekt 1" hidden="1">
                        <a:extLst>
                          <a:ext uri="{FF2B5EF4-FFF2-40B4-BE49-F238E27FC236}">
                            <a16:creationId xmlns:a16="http://schemas.microsoft.com/office/drawing/2014/main" id="{1CE44E0F-7AF3-4CB4-BD90-2D12CCF0AF84}"/>
                          </a:ext>
                        </a:extLst>
                      </p:cNvPr>
                      <p:cNvPicPr/>
                      <p:nvPr/>
                    </p:nvPicPr>
                    <p:blipFill>
                      <a:blip r:embed="rId6"/>
                      <a:stretch>
                        <a:fillRect/>
                      </a:stretch>
                    </p:blipFill>
                    <p:spPr>
                      <a:xfrm>
                        <a:off x="2383" y="1589"/>
                        <a:ext cx="1587" cy="1587"/>
                      </a:xfrm>
                      <a:prstGeom prst="rect">
                        <a:avLst/>
                      </a:prstGeom>
                    </p:spPr>
                  </p:pic>
                </p:oleObj>
              </mc:Fallback>
            </mc:AlternateContent>
          </a:graphicData>
        </a:graphic>
      </p:graphicFrame>
      <p:pic>
        <p:nvPicPr>
          <p:cNvPr id="10" name="Grafik 9" descr="Ein Bild, das Himmel, draußen, Person, Gebäude enthält.&#10;&#10;Mit sehr hoher Zuverlässigkeit generierte Beschreibung">
            <a:extLst>
              <a:ext uri="{FF2B5EF4-FFF2-40B4-BE49-F238E27FC236}">
                <a16:creationId xmlns:a16="http://schemas.microsoft.com/office/drawing/2014/main" id="{0F5356FB-C503-418A-902F-1B45CBC7E0A0}"/>
              </a:ext>
            </a:extLst>
          </p:cNvPr>
          <p:cNvPicPr>
            <a:picLocks noChangeAspect="1"/>
          </p:cNvPicPr>
          <p:nvPr/>
        </p:nvPicPr>
        <p:blipFill rotWithShape="1">
          <a:blip r:embed="rId7">
            <a:extLst>
              <a:ext uri="{28A0092B-C50C-407E-A947-70E740481C1C}">
                <a14:useLocalDpi xmlns:a14="http://schemas.microsoft.com/office/drawing/2010/main" val="0"/>
              </a:ext>
            </a:extLst>
          </a:blip>
          <a:srcRect t="17333" r="648" b="13014"/>
          <a:stretch/>
        </p:blipFill>
        <p:spPr>
          <a:xfrm>
            <a:off x="794" y="1"/>
            <a:ext cx="12190413" cy="6857999"/>
          </a:xfrm>
          <a:prstGeom prst="rect">
            <a:avLst/>
          </a:prstGeom>
        </p:spPr>
      </p:pic>
      <p:sp>
        <p:nvSpPr>
          <p:cNvPr id="15" name="Rechteck 14">
            <a:extLst>
              <a:ext uri="{FF2B5EF4-FFF2-40B4-BE49-F238E27FC236}">
                <a16:creationId xmlns:a16="http://schemas.microsoft.com/office/drawing/2014/main" id="{B597A7F1-F79B-4BFD-AAD2-728AFE590AFB}"/>
              </a:ext>
            </a:extLst>
          </p:cNvPr>
          <p:cNvSpPr/>
          <p:nvPr/>
        </p:nvSpPr>
        <p:spPr>
          <a:xfrm>
            <a:off x="6138201" y="3368288"/>
            <a:ext cx="6053007" cy="3165477"/>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Rechteck 18">
            <a:extLst>
              <a:ext uri="{FF2B5EF4-FFF2-40B4-BE49-F238E27FC236}">
                <a16:creationId xmlns:a16="http://schemas.microsoft.com/office/drawing/2014/main" id="{A132BA49-7623-4CE7-88E9-DC8514F4C00B}"/>
              </a:ext>
            </a:extLst>
          </p:cNvPr>
          <p:cNvSpPr/>
          <p:nvPr userDrawn="1"/>
        </p:nvSpPr>
        <p:spPr>
          <a:xfrm>
            <a:off x="6138202" y="3368287"/>
            <a:ext cx="6053006" cy="108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0" name="Grafik 19">
            <a:extLst>
              <a:ext uri="{FF2B5EF4-FFF2-40B4-BE49-F238E27FC236}">
                <a16:creationId xmlns:a16="http://schemas.microsoft.com/office/drawing/2014/main" id="{31109FCA-EB7D-4BB7-94B2-865F4647B948}"/>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404079" y="3641970"/>
            <a:ext cx="1619425" cy="586722"/>
          </a:xfrm>
          <a:prstGeom prst="rect">
            <a:avLst/>
          </a:prstGeom>
        </p:spPr>
      </p:pic>
      <p:sp>
        <p:nvSpPr>
          <p:cNvPr id="22" name="Titel 1"/>
          <p:cNvSpPr txBox="1">
            <a:spLocks/>
          </p:cNvSpPr>
          <p:nvPr/>
        </p:nvSpPr>
        <p:spPr>
          <a:xfrm>
            <a:off x="6369797" y="4733765"/>
            <a:ext cx="5530554" cy="1521121"/>
          </a:xfrm>
          <a:prstGeom prst="rect">
            <a:avLst/>
          </a:prstGeom>
        </p:spPr>
        <p:txBody>
          <a:bodyPr lIns="0" tIns="0" rIns="0" bIns="0" anchor="t">
            <a:normAutofit/>
          </a:bodyPr>
          <a:lstStyle>
            <a:lvl1pPr algn="l" defTabSz="914400" rtl="0" eaLnBrk="1" latinLnBrk="0" hangingPunct="1">
              <a:lnSpc>
                <a:spcPct val="95000"/>
              </a:lnSpc>
              <a:spcBef>
                <a:spcPts val="0"/>
              </a:spcBef>
              <a:spcAft>
                <a:spcPts val="0"/>
              </a:spcAft>
              <a:buNone/>
              <a:defRPr sz="3200" b="1" i="0" kern="1200">
                <a:solidFill>
                  <a:schemeClr val="accent1"/>
                </a:solidFill>
                <a:latin typeface="Arial"/>
                <a:ea typeface="+mj-ea"/>
                <a:cs typeface="+mj-cs"/>
              </a:defRPr>
            </a:lvl1pPr>
          </a:lstStyle>
          <a:p>
            <a:pPr>
              <a:lnSpc>
                <a:spcPct val="100000"/>
              </a:lnSpc>
              <a:spcBef>
                <a:spcPts val="600"/>
              </a:spcBef>
            </a:pPr>
            <a:endParaRPr lang="en-US" dirty="0"/>
          </a:p>
          <a:p>
            <a:pPr>
              <a:lnSpc>
                <a:spcPct val="100000"/>
              </a:lnSpc>
              <a:spcBef>
                <a:spcPts val="600"/>
              </a:spcBef>
            </a:pPr>
            <a:r>
              <a:rPr lang="zh-CN" altLang="en-US" dirty="0">
                <a:solidFill>
                  <a:schemeClr val="accent2"/>
                </a:solidFill>
                <a:latin typeface="楷体" panose="02010609060101010101" pitchFamily="49" charset="-122"/>
                <a:ea typeface="楷体" panose="02010609060101010101" pitchFamily="49" charset="-122"/>
              </a:rPr>
              <a:t>巴斯夫创业投资简介</a:t>
            </a:r>
            <a:endParaRPr lang="en-US" altLang="zh-CN" dirty="0">
              <a:solidFill>
                <a:schemeClr val="accent2"/>
              </a:solidFill>
              <a:latin typeface="楷体" panose="02010609060101010101" pitchFamily="49" charset="-122"/>
              <a:ea typeface="楷体" panose="02010609060101010101" pitchFamily="49" charset="-122"/>
            </a:endParaRPr>
          </a:p>
        </p:txBody>
      </p:sp>
    </p:spTree>
    <p:extLst>
      <p:ext uri="{BB962C8B-B14F-4D97-AF65-F5344CB8AC3E}">
        <p14:creationId xmlns:p14="http://schemas.microsoft.com/office/powerpoint/2010/main" val="43297010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B5586D2-F5CC-4587-A5CE-BF2472D771E8}"/>
              </a:ext>
            </a:extLst>
          </p:cNvPr>
          <p:cNvSpPr/>
          <p:nvPr/>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4" name="Grafik 6">
            <a:extLst>
              <a:ext uri="{FF2B5EF4-FFF2-40B4-BE49-F238E27FC236}">
                <a16:creationId xmlns:a16="http://schemas.microsoft.com/office/drawing/2014/main" id="{CC496E36-E902-46B6-A5C2-809FD1365DF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783141" y="2591045"/>
            <a:ext cx="4625717" cy="1675909"/>
          </a:xfrm>
          <a:prstGeom prst="rect">
            <a:avLst/>
          </a:prstGeom>
        </p:spPr>
      </p:pic>
    </p:spTree>
    <p:extLst>
      <p:ext uri="{BB962C8B-B14F-4D97-AF65-F5344CB8AC3E}">
        <p14:creationId xmlns:p14="http://schemas.microsoft.com/office/powerpoint/2010/main" val="181188737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D54FA42-1BD0-4C0D-83BD-DBD7BB341871}"/>
              </a:ext>
            </a:extLst>
          </p:cNvPr>
          <p:cNvSpPr>
            <a:spLocks noGrp="1"/>
          </p:cNvSpPr>
          <p:nvPr>
            <p:ph type="sldNum" sz="quarter" idx="10"/>
          </p:nvPr>
        </p:nvSpPr>
        <p:spPr/>
        <p:txBody>
          <a:bodyPr/>
          <a:lstStyle/>
          <a:p>
            <a:fld id="{05C7D7BC-3A63-427C-9D7F-63F95FDD71B6}" type="slidenum">
              <a:rPr lang="de-DE" smtClean="0"/>
              <a:pPr/>
              <a:t>2</a:t>
            </a:fld>
            <a:endParaRPr lang="de-DE"/>
          </a:p>
        </p:txBody>
      </p:sp>
      <p:sp>
        <p:nvSpPr>
          <p:cNvPr id="6" name="TextBox 5">
            <a:extLst>
              <a:ext uri="{FF2B5EF4-FFF2-40B4-BE49-F238E27FC236}">
                <a16:creationId xmlns:a16="http://schemas.microsoft.com/office/drawing/2014/main" id="{0393027C-E252-4F4C-8865-CBFD8622430B}"/>
              </a:ext>
            </a:extLst>
          </p:cNvPr>
          <p:cNvSpPr txBox="1"/>
          <p:nvPr/>
        </p:nvSpPr>
        <p:spPr>
          <a:xfrm>
            <a:off x="1657350" y="6619876"/>
            <a:ext cx="1111202" cy="246221"/>
          </a:xfrm>
          <a:prstGeom prst="rect">
            <a:avLst/>
          </a:prstGeom>
          <a:noFill/>
        </p:spPr>
        <p:txBody>
          <a:bodyPr wrap="none" rtlCol="0">
            <a:spAutoFit/>
          </a:bodyPr>
          <a:lstStyle/>
          <a:p>
            <a:r>
              <a:rPr lang="en-US" sz="1000" i="1" dirty="0"/>
              <a:t>Source: CB Insight</a:t>
            </a:r>
          </a:p>
        </p:txBody>
      </p:sp>
      <p:pic>
        <p:nvPicPr>
          <p:cNvPr id="40962" name="Picture 2" descr="global-CVC">
            <a:extLst>
              <a:ext uri="{FF2B5EF4-FFF2-40B4-BE49-F238E27FC236}">
                <a16:creationId xmlns:a16="http://schemas.microsoft.com/office/drawing/2014/main" id="{4B1DB21B-E1A0-4581-B4B8-498E2BAA3E2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08881" y="1714212"/>
            <a:ext cx="4367086" cy="3889057"/>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C53F7AE7-0E59-4196-95C7-E7FCF51DF508}"/>
              </a:ext>
            </a:extLst>
          </p:cNvPr>
          <p:cNvPicPr>
            <a:picLocks noChangeAspect="1"/>
          </p:cNvPicPr>
          <p:nvPr/>
        </p:nvPicPr>
        <p:blipFill>
          <a:blip r:embed="rId4"/>
          <a:stretch>
            <a:fillRect/>
          </a:stretch>
        </p:blipFill>
        <p:spPr>
          <a:xfrm>
            <a:off x="6416035" y="1667526"/>
            <a:ext cx="4421431" cy="3935743"/>
          </a:xfrm>
          <a:prstGeom prst="rect">
            <a:avLst/>
          </a:prstGeom>
        </p:spPr>
      </p:pic>
      <p:sp>
        <p:nvSpPr>
          <p:cNvPr id="9" name="TextBox 8">
            <a:extLst>
              <a:ext uri="{FF2B5EF4-FFF2-40B4-BE49-F238E27FC236}">
                <a16:creationId xmlns:a16="http://schemas.microsoft.com/office/drawing/2014/main" id="{D6ABACE4-34D7-460E-98F8-E23284E8BF29}"/>
              </a:ext>
            </a:extLst>
          </p:cNvPr>
          <p:cNvSpPr txBox="1"/>
          <p:nvPr/>
        </p:nvSpPr>
        <p:spPr>
          <a:xfrm>
            <a:off x="1657250" y="5811750"/>
            <a:ext cx="8877400" cy="646331"/>
          </a:xfrm>
          <a:prstGeom prst="rect">
            <a:avLst/>
          </a:prstGeom>
          <a:noFill/>
        </p:spPr>
        <p:txBody>
          <a:bodyPr wrap="square" rtlCol="0">
            <a:spAutoFit/>
          </a:bodyPr>
          <a:lstStyle/>
          <a:p>
            <a:r>
              <a:rPr lang="en-US" altLang="zh-CN" b="1" dirty="0">
                <a:latin typeface="Garamond" panose="02020404030301010803" pitchFamily="18" charset="0"/>
              </a:rPr>
              <a:t>Globally CVC participated in ~$53B of funding across 2,740 transactions</a:t>
            </a:r>
          </a:p>
          <a:p>
            <a:r>
              <a:rPr lang="en-US" b="1" dirty="0">
                <a:latin typeface="Garamond" panose="02020404030301010803" pitchFamily="18" charset="0"/>
              </a:rPr>
              <a:t>The Largest CVC backed deal was $2B round in </a:t>
            </a:r>
            <a:r>
              <a:rPr lang="en-US" b="1" dirty="0" err="1">
                <a:latin typeface="Garamond" panose="02020404030301010803" pitchFamily="18" charset="0"/>
              </a:rPr>
              <a:t>Manbang</a:t>
            </a:r>
            <a:r>
              <a:rPr lang="en-US" b="1" dirty="0">
                <a:latin typeface="Garamond" panose="02020404030301010803" pitchFamily="18" charset="0"/>
              </a:rPr>
              <a:t> Group (</a:t>
            </a:r>
            <a:r>
              <a:rPr lang="zh-CN" altLang="en-US" dirty="0"/>
              <a:t>满帮集团</a:t>
            </a:r>
            <a:r>
              <a:rPr lang="en-US" altLang="zh-CN" dirty="0"/>
              <a:t>)</a:t>
            </a:r>
            <a:endParaRPr lang="en-US" b="1" dirty="0">
              <a:latin typeface="Garamond" panose="02020404030301010803" pitchFamily="18" charset="0"/>
            </a:endParaRPr>
          </a:p>
        </p:txBody>
      </p:sp>
      <p:sp>
        <p:nvSpPr>
          <p:cNvPr id="8" name="Title 1">
            <a:extLst>
              <a:ext uri="{FF2B5EF4-FFF2-40B4-BE49-F238E27FC236}">
                <a16:creationId xmlns:a16="http://schemas.microsoft.com/office/drawing/2014/main" id="{94916E11-E948-4F62-B260-E2540546211F}"/>
              </a:ext>
            </a:extLst>
          </p:cNvPr>
          <p:cNvSpPr txBox="1">
            <a:spLocks/>
          </p:cNvSpPr>
          <p:nvPr/>
        </p:nvSpPr>
        <p:spPr>
          <a:xfrm>
            <a:off x="171450" y="506103"/>
            <a:ext cx="6841949" cy="78643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zh-CN" altLang="en-US" sz="3600" b="1" dirty="0">
                <a:solidFill>
                  <a:schemeClr val="bg1"/>
                </a:solidFill>
                <a:latin typeface="华文楷体" panose="02010600040101010101" pitchFamily="2" charset="-122"/>
                <a:ea typeface="华文楷体" panose="02010600040101010101" pitchFamily="2" charset="-122"/>
              </a:rPr>
              <a:t>全球企业创投发展趋势</a:t>
            </a:r>
            <a:endParaRPr lang="en-US" sz="3600" b="1" dirty="0">
              <a:solidFill>
                <a:schemeClr val="bg1"/>
              </a:solidFill>
              <a:latin typeface="华文楷体" panose="02010600040101010101" pitchFamily="2" charset="-122"/>
              <a:ea typeface="华文楷体" panose="02010600040101010101" pitchFamily="2" charset="-122"/>
            </a:endParaRPr>
          </a:p>
        </p:txBody>
      </p:sp>
    </p:spTree>
    <p:extLst>
      <p:ext uri="{BB962C8B-B14F-4D97-AF65-F5344CB8AC3E}">
        <p14:creationId xmlns:p14="http://schemas.microsoft.com/office/powerpoint/2010/main" val="250590275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D54FA42-1BD0-4C0D-83BD-DBD7BB341871}"/>
              </a:ext>
            </a:extLst>
          </p:cNvPr>
          <p:cNvSpPr>
            <a:spLocks noGrp="1"/>
          </p:cNvSpPr>
          <p:nvPr>
            <p:ph type="sldNum" sz="quarter" idx="10"/>
          </p:nvPr>
        </p:nvSpPr>
        <p:spPr/>
        <p:txBody>
          <a:bodyPr/>
          <a:lstStyle/>
          <a:p>
            <a:fld id="{05C7D7BC-3A63-427C-9D7F-63F95FDD71B6}" type="slidenum">
              <a:rPr lang="de-DE" smtClean="0"/>
              <a:pPr/>
              <a:t>3</a:t>
            </a:fld>
            <a:endParaRPr lang="de-DE"/>
          </a:p>
        </p:txBody>
      </p:sp>
      <p:sp>
        <p:nvSpPr>
          <p:cNvPr id="6" name="TextBox 5">
            <a:extLst>
              <a:ext uri="{FF2B5EF4-FFF2-40B4-BE49-F238E27FC236}">
                <a16:creationId xmlns:a16="http://schemas.microsoft.com/office/drawing/2014/main" id="{0393027C-E252-4F4C-8865-CBFD8622430B}"/>
              </a:ext>
            </a:extLst>
          </p:cNvPr>
          <p:cNvSpPr txBox="1"/>
          <p:nvPr/>
        </p:nvSpPr>
        <p:spPr>
          <a:xfrm>
            <a:off x="1657350" y="6619876"/>
            <a:ext cx="1111202" cy="246221"/>
          </a:xfrm>
          <a:prstGeom prst="rect">
            <a:avLst/>
          </a:prstGeom>
          <a:noFill/>
        </p:spPr>
        <p:txBody>
          <a:bodyPr wrap="none" rtlCol="0">
            <a:spAutoFit/>
          </a:bodyPr>
          <a:lstStyle/>
          <a:p>
            <a:r>
              <a:rPr lang="en-US" sz="1000" i="1" dirty="0"/>
              <a:t>Source: CB Insight</a:t>
            </a:r>
          </a:p>
        </p:txBody>
      </p:sp>
      <p:sp>
        <p:nvSpPr>
          <p:cNvPr id="9" name="TextBox 8">
            <a:extLst>
              <a:ext uri="{FF2B5EF4-FFF2-40B4-BE49-F238E27FC236}">
                <a16:creationId xmlns:a16="http://schemas.microsoft.com/office/drawing/2014/main" id="{D6ABACE4-34D7-460E-98F8-E23284E8BF29}"/>
              </a:ext>
            </a:extLst>
          </p:cNvPr>
          <p:cNvSpPr txBox="1"/>
          <p:nvPr/>
        </p:nvSpPr>
        <p:spPr>
          <a:xfrm>
            <a:off x="1046204" y="6201340"/>
            <a:ext cx="8877400" cy="369332"/>
          </a:xfrm>
          <a:prstGeom prst="rect">
            <a:avLst/>
          </a:prstGeom>
          <a:noFill/>
        </p:spPr>
        <p:txBody>
          <a:bodyPr wrap="square" rtlCol="0">
            <a:spAutoFit/>
          </a:bodyPr>
          <a:lstStyle/>
          <a:p>
            <a:r>
              <a:rPr lang="en-US" altLang="zh-CN" b="1" dirty="0">
                <a:latin typeface="Garamond" panose="02020404030301010803" pitchFamily="18" charset="0"/>
              </a:rPr>
              <a:t>BAIDU Venture is the most active with 13 AI Investments in 2018</a:t>
            </a:r>
          </a:p>
        </p:txBody>
      </p:sp>
      <p:pic>
        <p:nvPicPr>
          <p:cNvPr id="8" name="Picture 7">
            <a:extLst>
              <a:ext uri="{FF2B5EF4-FFF2-40B4-BE49-F238E27FC236}">
                <a16:creationId xmlns:a16="http://schemas.microsoft.com/office/drawing/2014/main" id="{F4DF31A4-2E2B-4140-AC57-9096EDD04F22}"/>
              </a:ext>
            </a:extLst>
          </p:cNvPr>
          <p:cNvPicPr>
            <a:picLocks noChangeAspect="1"/>
          </p:cNvPicPr>
          <p:nvPr/>
        </p:nvPicPr>
        <p:blipFill rotWithShape="1">
          <a:blip r:embed="rId2"/>
          <a:srcRect l="40222" t="18494" r="16334" b="10790"/>
          <a:stretch/>
        </p:blipFill>
        <p:spPr>
          <a:xfrm>
            <a:off x="977281" y="1866199"/>
            <a:ext cx="4590399" cy="4202974"/>
          </a:xfrm>
          <a:prstGeom prst="rect">
            <a:avLst/>
          </a:prstGeom>
        </p:spPr>
      </p:pic>
      <p:pic>
        <p:nvPicPr>
          <p:cNvPr id="5" name="Picture 4">
            <a:extLst>
              <a:ext uri="{FF2B5EF4-FFF2-40B4-BE49-F238E27FC236}">
                <a16:creationId xmlns:a16="http://schemas.microsoft.com/office/drawing/2014/main" id="{F2449BD4-47AF-40DF-AFB2-8388E8EE946D}"/>
              </a:ext>
            </a:extLst>
          </p:cNvPr>
          <p:cNvPicPr>
            <a:picLocks noChangeAspect="1"/>
          </p:cNvPicPr>
          <p:nvPr/>
        </p:nvPicPr>
        <p:blipFill rotWithShape="1">
          <a:blip r:embed="rId3"/>
          <a:srcRect l="39765" t="10370" r="16790" b="15496"/>
          <a:stretch/>
        </p:blipFill>
        <p:spPr>
          <a:xfrm>
            <a:off x="6463683" y="1866199"/>
            <a:ext cx="4590398" cy="4406155"/>
          </a:xfrm>
          <a:prstGeom prst="rect">
            <a:avLst/>
          </a:prstGeom>
        </p:spPr>
      </p:pic>
      <p:sp>
        <p:nvSpPr>
          <p:cNvPr id="10" name="Title 1">
            <a:extLst>
              <a:ext uri="{FF2B5EF4-FFF2-40B4-BE49-F238E27FC236}">
                <a16:creationId xmlns:a16="http://schemas.microsoft.com/office/drawing/2014/main" id="{CB784765-7BD3-4191-8A51-1C4D37C27262}"/>
              </a:ext>
            </a:extLst>
          </p:cNvPr>
          <p:cNvSpPr txBox="1">
            <a:spLocks/>
          </p:cNvSpPr>
          <p:nvPr/>
        </p:nvSpPr>
        <p:spPr>
          <a:xfrm>
            <a:off x="171450" y="506103"/>
            <a:ext cx="6841949" cy="78643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zh-CN" altLang="en-US" sz="3600" b="1" dirty="0">
                <a:solidFill>
                  <a:schemeClr val="bg1"/>
                </a:solidFill>
                <a:latin typeface="华文楷体" panose="02010600040101010101" pitchFamily="2" charset="-122"/>
                <a:ea typeface="华文楷体" panose="02010600040101010101" pitchFamily="2" charset="-122"/>
              </a:rPr>
              <a:t>企业创投 </a:t>
            </a:r>
            <a:r>
              <a:rPr lang="en-US" altLang="zh-CN" sz="3600" b="1" dirty="0">
                <a:solidFill>
                  <a:schemeClr val="bg1"/>
                </a:solidFill>
                <a:latin typeface="华文楷体" panose="02010600040101010101" pitchFamily="2" charset="-122"/>
                <a:ea typeface="华文楷体" panose="02010600040101010101" pitchFamily="2" charset="-122"/>
              </a:rPr>
              <a:t>– </a:t>
            </a:r>
            <a:r>
              <a:rPr lang="zh-CN" altLang="en-US" sz="3600" b="1" dirty="0">
                <a:solidFill>
                  <a:schemeClr val="bg1"/>
                </a:solidFill>
                <a:latin typeface="华文楷体" panose="02010600040101010101" pitchFamily="2" charset="-122"/>
                <a:ea typeface="华文楷体" panose="02010600040101010101" pitchFamily="2" charset="-122"/>
              </a:rPr>
              <a:t>科技贡献</a:t>
            </a:r>
            <a:endParaRPr lang="en-US" sz="6600" b="1" dirty="0">
              <a:solidFill>
                <a:schemeClr val="bg1"/>
              </a:solidFill>
              <a:latin typeface="华文楷体" panose="02010600040101010101" pitchFamily="2" charset="-122"/>
              <a:ea typeface="华文楷体" panose="02010600040101010101" pitchFamily="2" charset="-122"/>
            </a:endParaRPr>
          </a:p>
        </p:txBody>
      </p:sp>
    </p:spTree>
    <p:extLst>
      <p:ext uri="{BB962C8B-B14F-4D97-AF65-F5344CB8AC3E}">
        <p14:creationId xmlns:p14="http://schemas.microsoft.com/office/powerpoint/2010/main" val="191144316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D54FA42-1BD0-4C0D-83BD-DBD7BB341871}"/>
              </a:ext>
            </a:extLst>
          </p:cNvPr>
          <p:cNvSpPr>
            <a:spLocks noGrp="1"/>
          </p:cNvSpPr>
          <p:nvPr>
            <p:ph type="sldNum" sz="quarter" idx="10"/>
          </p:nvPr>
        </p:nvSpPr>
        <p:spPr/>
        <p:txBody>
          <a:bodyPr/>
          <a:lstStyle/>
          <a:p>
            <a:fld id="{05C7D7BC-3A63-427C-9D7F-63F95FDD71B6}" type="slidenum">
              <a:rPr lang="de-DE" smtClean="0"/>
              <a:pPr/>
              <a:t>4</a:t>
            </a:fld>
            <a:endParaRPr lang="de-DE"/>
          </a:p>
        </p:txBody>
      </p:sp>
      <p:sp>
        <p:nvSpPr>
          <p:cNvPr id="6" name="TextBox 5">
            <a:extLst>
              <a:ext uri="{FF2B5EF4-FFF2-40B4-BE49-F238E27FC236}">
                <a16:creationId xmlns:a16="http://schemas.microsoft.com/office/drawing/2014/main" id="{0393027C-E252-4F4C-8865-CBFD8622430B}"/>
              </a:ext>
            </a:extLst>
          </p:cNvPr>
          <p:cNvSpPr txBox="1"/>
          <p:nvPr/>
        </p:nvSpPr>
        <p:spPr>
          <a:xfrm>
            <a:off x="1657351" y="6619876"/>
            <a:ext cx="2388795" cy="246221"/>
          </a:xfrm>
          <a:prstGeom prst="rect">
            <a:avLst/>
          </a:prstGeom>
          <a:noFill/>
        </p:spPr>
        <p:txBody>
          <a:bodyPr wrap="none" rtlCol="0">
            <a:spAutoFit/>
          </a:bodyPr>
          <a:lstStyle/>
          <a:p>
            <a:r>
              <a:rPr lang="en-US" sz="1000" i="1" dirty="0"/>
              <a:t>Source: </a:t>
            </a:r>
            <a:r>
              <a:rPr lang="en-US" altLang="zh-CN" sz="1000" i="1" dirty="0"/>
              <a:t>PWC M&amp;A 2018 and 2019 Outlook</a:t>
            </a:r>
            <a:endParaRPr lang="en-US" sz="1000" i="1" dirty="0"/>
          </a:p>
        </p:txBody>
      </p:sp>
      <p:sp>
        <p:nvSpPr>
          <p:cNvPr id="7" name="TextBox 6">
            <a:extLst>
              <a:ext uri="{FF2B5EF4-FFF2-40B4-BE49-F238E27FC236}">
                <a16:creationId xmlns:a16="http://schemas.microsoft.com/office/drawing/2014/main" id="{2A6F7378-4AFC-4A2A-93AA-F7C983FC160F}"/>
              </a:ext>
            </a:extLst>
          </p:cNvPr>
          <p:cNvSpPr txBox="1"/>
          <p:nvPr/>
        </p:nvSpPr>
        <p:spPr>
          <a:xfrm>
            <a:off x="8823155" y="2457654"/>
            <a:ext cx="2318089" cy="2800767"/>
          </a:xfrm>
          <a:prstGeom prst="rect">
            <a:avLst/>
          </a:prstGeom>
          <a:noFill/>
        </p:spPr>
        <p:txBody>
          <a:bodyPr wrap="square" rtlCol="0">
            <a:spAutoFit/>
          </a:bodyPr>
          <a:lstStyle/>
          <a:p>
            <a:pPr algn="ctr"/>
            <a:r>
              <a:rPr lang="en-US" b="1" dirty="0">
                <a:solidFill>
                  <a:schemeClr val="tx2"/>
                </a:solidFill>
                <a:latin typeface="Garamond" panose="02020404030301010803" pitchFamily="18" charset="0"/>
              </a:rPr>
              <a:t>Global Appetite for </a:t>
            </a:r>
          </a:p>
          <a:p>
            <a:pPr algn="ctr"/>
            <a:r>
              <a:rPr lang="en-US" b="1" dirty="0">
                <a:solidFill>
                  <a:schemeClr val="tx2"/>
                </a:solidFill>
                <a:latin typeface="Garamond" panose="02020404030301010803" pitchFamily="18" charset="0"/>
              </a:rPr>
              <a:t>China Venture Capital:</a:t>
            </a:r>
          </a:p>
          <a:p>
            <a:pPr algn="ctr"/>
            <a:endParaRPr lang="en-US" sz="1400" dirty="0">
              <a:latin typeface="Garamond" panose="02020404030301010803" pitchFamily="18" charset="0"/>
            </a:endParaRPr>
          </a:p>
          <a:p>
            <a:pPr algn="ctr"/>
            <a:r>
              <a:rPr lang="en-US" altLang="zh-CN" i="1" dirty="0">
                <a:latin typeface="Garamond" panose="02020404030301010803" pitchFamily="18" charset="0"/>
              </a:rPr>
              <a:t>More money was raised for VC funds in China in the first half of 2018 than in America, the first time that had ever happened: $56bn compared with $42bn. </a:t>
            </a:r>
            <a:endParaRPr lang="en-US" sz="1400" dirty="0">
              <a:latin typeface="Garamond" panose="02020404030301010803" pitchFamily="18" charset="0"/>
            </a:endParaRPr>
          </a:p>
        </p:txBody>
      </p:sp>
      <p:pic>
        <p:nvPicPr>
          <p:cNvPr id="8" name="Picture 7">
            <a:extLst>
              <a:ext uri="{FF2B5EF4-FFF2-40B4-BE49-F238E27FC236}">
                <a16:creationId xmlns:a16="http://schemas.microsoft.com/office/drawing/2014/main" id="{48B902AF-C25E-4FD9-9D01-FA004756826C}"/>
              </a:ext>
            </a:extLst>
          </p:cNvPr>
          <p:cNvPicPr>
            <a:picLocks noChangeAspect="1"/>
          </p:cNvPicPr>
          <p:nvPr/>
        </p:nvPicPr>
        <p:blipFill rotWithShape="1">
          <a:blip r:embed="rId2"/>
          <a:srcRect l="4871" t="35680" r="45334" b="12173"/>
          <a:stretch/>
        </p:blipFill>
        <p:spPr>
          <a:xfrm>
            <a:off x="647842" y="1862511"/>
            <a:ext cx="7594115" cy="4473473"/>
          </a:xfrm>
          <a:prstGeom prst="rect">
            <a:avLst/>
          </a:prstGeom>
        </p:spPr>
      </p:pic>
      <p:sp>
        <p:nvSpPr>
          <p:cNvPr id="9" name="Title 1">
            <a:extLst>
              <a:ext uri="{FF2B5EF4-FFF2-40B4-BE49-F238E27FC236}">
                <a16:creationId xmlns:a16="http://schemas.microsoft.com/office/drawing/2014/main" id="{7413E6F9-6824-4403-AD23-E794A61FCBCC}"/>
              </a:ext>
            </a:extLst>
          </p:cNvPr>
          <p:cNvSpPr txBox="1">
            <a:spLocks/>
          </p:cNvSpPr>
          <p:nvPr/>
        </p:nvSpPr>
        <p:spPr>
          <a:xfrm>
            <a:off x="171450" y="506103"/>
            <a:ext cx="6841949" cy="78643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zh-CN" altLang="en-US" sz="3600" b="1" dirty="0">
                <a:solidFill>
                  <a:schemeClr val="bg1"/>
                </a:solidFill>
                <a:latin typeface="华文楷体" panose="02010600040101010101" pitchFamily="2" charset="-122"/>
                <a:ea typeface="华文楷体" panose="02010600040101010101" pitchFamily="2" charset="-122"/>
              </a:rPr>
              <a:t>中国创新投资</a:t>
            </a:r>
            <a:endParaRPr lang="en-US" sz="6600" b="1" dirty="0">
              <a:solidFill>
                <a:schemeClr val="bg1"/>
              </a:solidFill>
              <a:latin typeface="华文楷体" panose="02010600040101010101" pitchFamily="2" charset="-122"/>
              <a:ea typeface="华文楷体" panose="02010600040101010101" pitchFamily="2" charset="-122"/>
            </a:endParaRPr>
          </a:p>
        </p:txBody>
      </p:sp>
    </p:spTree>
    <p:extLst>
      <p:ext uri="{BB962C8B-B14F-4D97-AF65-F5344CB8AC3E}">
        <p14:creationId xmlns:p14="http://schemas.microsoft.com/office/powerpoint/2010/main" val="34935638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06016ECE-79FB-4F7B-B416-CF742832E179}"/>
              </a:ext>
            </a:extLst>
          </p:cNvPr>
          <p:cNvSpPr>
            <a:spLocks noGrp="1"/>
          </p:cNvSpPr>
          <p:nvPr>
            <p:ph type="subTitle" idx="1"/>
          </p:nvPr>
        </p:nvSpPr>
        <p:spPr>
          <a:xfrm>
            <a:off x="900170" y="3055792"/>
            <a:ext cx="10391660" cy="3239437"/>
          </a:xfrm>
        </p:spPr>
        <p:txBody>
          <a:bodyPr>
            <a:normAutofit/>
          </a:bodyPr>
          <a:lstStyle/>
          <a:p>
            <a:r>
              <a:rPr lang="en-US" altLang="zh-CN" sz="3600" b="1" dirty="0">
                <a:solidFill>
                  <a:schemeClr val="tx2"/>
                </a:solidFill>
                <a:latin typeface="楷体" panose="02010609060101010101" pitchFamily="49" charset="-122"/>
                <a:ea typeface="楷体" panose="02010609060101010101" pitchFamily="49" charset="-122"/>
              </a:rPr>
              <a:t>“</a:t>
            </a:r>
            <a:r>
              <a:rPr lang="zh-CN" altLang="en-US" sz="3600" b="1" dirty="0">
                <a:solidFill>
                  <a:schemeClr val="tx2"/>
                </a:solidFill>
                <a:latin typeface="楷体" panose="02010609060101010101" pitchFamily="49" charset="-122"/>
                <a:ea typeface="楷体" panose="02010609060101010101" pitchFamily="49" charset="-122"/>
              </a:rPr>
              <a:t>成为巴斯夫集团和整个化工行业</a:t>
            </a:r>
            <a:endParaRPr lang="en-US" altLang="zh-CN" sz="3600" b="1" dirty="0">
              <a:solidFill>
                <a:schemeClr val="tx2"/>
              </a:solidFill>
              <a:latin typeface="楷体" panose="02010609060101010101" pitchFamily="49" charset="-122"/>
              <a:ea typeface="楷体" panose="02010609060101010101" pitchFamily="49" charset="-122"/>
            </a:endParaRPr>
          </a:p>
          <a:p>
            <a:r>
              <a:rPr lang="zh-CN" altLang="en-US" sz="3600" b="1" dirty="0">
                <a:solidFill>
                  <a:schemeClr val="tx2"/>
                </a:solidFill>
                <a:latin typeface="楷体" panose="02010609060101010101" pitchFamily="49" charset="-122"/>
                <a:ea typeface="楷体" panose="02010609060101010101" pitchFamily="49" charset="-122"/>
              </a:rPr>
              <a:t>变革创新的催化剂</a:t>
            </a:r>
            <a:r>
              <a:rPr lang="en-US" altLang="zh-CN" sz="3600" b="1" dirty="0">
                <a:solidFill>
                  <a:schemeClr val="tx2"/>
                </a:solidFill>
                <a:latin typeface="楷体" panose="02010609060101010101" pitchFamily="49" charset="-122"/>
                <a:ea typeface="楷体" panose="02010609060101010101" pitchFamily="49" charset="-122"/>
              </a:rPr>
              <a:t>”</a:t>
            </a:r>
          </a:p>
        </p:txBody>
      </p:sp>
      <p:sp>
        <p:nvSpPr>
          <p:cNvPr id="4" name="Slide Number Placeholder 3">
            <a:extLst>
              <a:ext uri="{FF2B5EF4-FFF2-40B4-BE49-F238E27FC236}">
                <a16:creationId xmlns:a16="http://schemas.microsoft.com/office/drawing/2014/main" id="{9981E67F-13E9-471E-83CD-D49CED5568A3}"/>
              </a:ext>
            </a:extLst>
          </p:cNvPr>
          <p:cNvSpPr>
            <a:spLocks noGrp="1"/>
          </p:cNvSpPr>
          <p:nvPr>
            <p:ph type="sldNum" sz="quarter" idx="12"/>
          </p:nvPr>
        </p:nvSpPr>
        <p:spPr/>
        <p:txBody>
          <a:bodyPr/>
          <a:lstStyle/>
          <a:p>
            <a:fld id="{D5D29A3D-3D4E-0644-99C6-E19DFF2B4365}" type="slidenum">
              <a:rPr lang="en-US" smtClean="0"/>
              <a:pPr/>
              <a:t>5</a:t>
            </a:fld>
            <a:endParaRPr lang="en-US"/>
          </a:p>
        </p:txBody>
      </p:sp>
      <p:sp>
        <p:nvSpPr>
          <p:cNvPr id="5" name="TextBox 4">
            <a:extLst>
              <a:ext uri="{FF2B5EF4-FFF2-40B4-BE49-F238E27FC236}">
                <a16:creationId xmlns:a16="http://schemas.microsoft.com/office/drawing/2014/main" id="{E797B301-2232-429E-B79F-820334FDCE18}"/>
              </a:ext>
            </a:extLst>
          </p:cNvPr>
          <p:cNvSpPr txBox="1"/>
          <p:nvPr/>
        </p:nvSpPr>
        <p:spPr>
          <a:xfrm>
            <a:off x="0" y="247448"/>
            <a:ext cx="9652370" cy="1384995"/>
          </a:xfrm>
          <a:prstGeom prst="rect">
            <a:avLst/>
          </a:prstGeom>
          <a:noFill/>
        </p:spPr>
        <p:txBody>
          <a:bodyPr wrap="square" rtlCol="0">
            <a:spAutoFit/>
          </a:bodyPr>
          <a:lstStyle/>
          <a:p>
            <a:endParaRPr lang="en-US" altLang="zh-CN" sz="1000" b="1" dirty="0">
              <a:solidFill>
                <a:schemeClr val="bg1"/>
              </a:solidFill>
              <a:latin typeface="+mj-lt"/>
            </a:endParaRPr>
          </a:p>
          <a:p>
            <a:r>
              <a:rPr lang="en-US" altLang="zh-CN" sz="3600" b="1" dirty="0">
                <a:solidFill>
                  <a:schemeClr val="bg1"/>
                </a:solidFill>
                <a:latin typeface="Garamond" panose="02020404030301010803" pitchFamily="18" charset="0"/>
              </a:rPr>
              <a:t>BASF Venture Capital </a:t>
            </a:r>
          </a:p>
          <a:p>
            <a:r>
              <a:rPr lang="en-US" altLang="zh-CN" sz="2800" b="1" dirty="0">
                <a:solidFill>
                  <a:schemeClr val="bg1"/>
                </a:solidFill>
                <a:latin typeface="Garamond" panose="02020404030301010803" pitchFamily="18" charset="0"/>
              </a:rPr>
              <a:t>Vision</a:t>
            </a:r>
          </a:p>
          <a:p>
            <a:endParaRPr lang="zh-CN" altLang="en-US" sz="1000" b="1" dirty="0">
              <a:solidFill>
                <a:schemeClr val="bg1"/>
              </a:solidFill>
              <a:latin typeface="+mj-lt"/>
            </a:endParaRPr>
          </a:p>
        </p:txBody>
      </p:sp>
    </p:spTree>
    <p:extLst>
      <p:ext uri="{BB962C8B-B14F-4D97-AF65-F5344CB8AC3E}">
        <p14:creationId xmlns:p14="http://schemas.microsoft.com/office/powerpoint/2010/main" val="364062666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hteck 5">
            <a:extLst>
              <a:ext uri="{FF2B5EF4-FFF2-40B4-BE49-F238E27FC236}">
                <a16:creationId xmlns:a16="http://schemas.microsoft.com/office/drawing/2014/main" id="{54F5020E-440A-45B0-88AB-0233610E452E}"/>
              </a:ext>
            </a:extLst>
          </p:cNvPr>
          <p:cNvSpPr/>
          <p:nvPr/>
        </p:nvSpPr>
        <p:spPr>
          <a:xfrm>
            <a:off x="3561305" y="5142091"/>
            <a:ext cx="781642" cy="19698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de-AT" sz="1600">
              <a:solidFill>
                <a:srgbClr val="FFFFFF"/>
              </a:solidFill>
              <a:latin typeface="Garamond" panose="02020404030301010803" pitchFamily="18" charset="0"/>
              <a:cs typeface="Arial"/>
            </a:endParaRPr>
          </a:p>
        </p:txBody>
      </p:sp>
      <p:sp>
        <p:nvSpPr>
          <p:cNvPr id="11" name="Title 1">
            <a:extLst>
              <a:ext uri="{FF2B5EF4-FFF2-40B4-BE49-F238E27FC236}">
                <a16:creationId xmlns:a16="http://schemas.microsoft.com/office/drawing/2014/main" id="{B8334866-A282-4443-B324-C1EFE99E4145}"/>
              </a:ext>
            </a:extLst>
          </p:cNvPr>
          <p:cNvSpPr txBox="1">
            <a:spLocks/>
          </p:cNvSpPr>
          <p:nvPr/>
        </p:nvSpPr>
        <p:spPr>
          <a:xfrm>
            <a:off x="171450" y="506103"/>
            <a:ext cx="6841949" cy="78643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600" b="1" dirty="0">
                <a:solidFill>
                  <a:schemeClr val="bg1"/>
                </a:solidFill>
                <a:latin typeface="Garamond" panose="02020404030301010803" pitchFamily="18" charset="0"/>
              </a:rPr>
              <a:t>Mission Statement</a:t>
            </a:r>
            <a:endParaRPr lang="en-US" sz="6600" b="1" dirty="0">
              <a:solidFill>
                <a:schemeClr val="bg1"/>
              </a:solidFill>
              <a:latin typeface="Garamond" panose="02020404030301010803" pitchFamily="18" charset="0"/>
            </a:endParaRPr>
          </a:p>
        </p:txBody>
      </p:sp>
      <p:sp>
        <p:nvSpPr>
          <p:cNvPr id="10" name="Textfeld 1">
            <a:extLst>
              <a:ext uri="{FF2B5EF4-FFF2-40B4-BE49-F238E27FC236}">
                <a16:creationId xmlns:a16="http://schemas.microsoft.com/office/drawing/2014/main" id="{ED49D973-1517-42EB-9611-21DE9FEA2407}"/>
              </a:ext>
            </a:extLst>
          </p:cNvPr>
          <p:cNvSpPr txBox="1"/>
          <p:nvPr/>
        </p:nvSpPr>
        <p:spPr>
          <a:xfrm>
            <a:off x="2078553" y="2649113"/>
            <a:ext cx="8382918" cy="3139321"/>
          </a:xfrm>
          <a:prstGeom prst="rect">
            <a:avLst/>
          </a:prstGeom>
          <a:noFill/>
        </p:spPr>
        <p:txBody>
          <a:bodyPr wrap="square" rtlCol="0">
            <a:spAutoFit/>
          </a:bodyPr>
          <a:lstStyle/>
          <a:p>
            <a:pPr algn="ctr"/>
            <a:r>
              <a:rPr lang="zh-CN" altLang="en-US" b="1" dirty="0">
                <a:solidFill>
                  <a:schemeClr val="accent3"/>
                </a:solidFill>
                <a:latin typeface="楷体" panose="02010609060101010101" pitchFamily="49" charset="-122"/>
                <a:ea typeface="楷体" panose="02010609060101010101" pitchFamily="49" charset="-122"/>
              </a:rPr>
              <a:t>作为巴斯夫集团的独立创业投资部门，我们的目标是通过投资基金和拥有真正颠覆性技术和创新商业模式的创业公司来加速整个化工行业的变革。</a:t>
            </a:r>
            <a:endParaRPr lang="en-US" b="1" dirty="0">
              <a:solidFill>
                <a:schemeClr val="accent3"/>
              </a:solidFill>
              <a:latin typeface="楷体" panose="02010609060101010101" pitchFamily="49" charset="-122"/>
              <a:ea typeface="楷体" panose="02010609060101010101" pitchFamily="49" charset="-122"/>
            </a:endParaRPr>
          </a:p>
          <a:p>
            <a:pPr algn="ctr"/>
            <a:endParaRPr lang="en-US" b="1" dirty="0">
              <a:solidFill>
                <a:schemeClr val="accent3"/>
              </a:solidFill>
              <a:latin typeface="Garamond" panose="02020404030301010803" pitchFamily="18" charset="0"/>
            </a:endParaRPr>
          </a:p>
          <a:p>
            <a:pPr algn="ctr"/>
            <a:endParaRPr lang="en-US" b="1" dirty="0">
              <a:solidFill>
                <a:schemeClr val="accent3"/>
              </a:solidFill>
              <a:latin typeface="Garamond" panose="02020404030301010803" pitchFamily="18" charset="0"/>
            </a:endParaRPr>
          </a:p>
          <a:p>
            <a:pPr algn="ctr"/>
            <a:endParaRPr lang="en-US" b="1" dirty="0">
              <a:latin typeface="Garamond" panose="02020404030301010803" pitchFamily="18" charset="0"/>
            </a:endParaRPr>
          </a:p>
          <a:p>
            <a:pPr algn="ctr"/>
            <a:r>
              <a:rPr lang="zh-CN" altLang="en-US" b="1" dirty="0">
                <a:solidFill>
                  <a:schemeClr val="accent2"/>
                </a:solidFill>
                <a:latin typeface="楷体" panose="02010609060101010101" pitchFamily="49" charset="-122"/>
                <a:ea typeface="楷体" panose="02010609060101010101" pitchFamily="49" charset="-122"/>
              </a:rPr>
              <a:t>我们作为战略投资人，为被投企业提供行业专业知识、国际市场洞见以及巴斯夫集团的全球资源关系网</a:t>
            </a:r>
            <a:endParaRPr lang="en-US" b="1" dirty="0">
              <a:solidFill>
                <a:schemeClr val="accent2"/>
              </a:solidFill>
              <a:latin typeface="楷体" panose="02010609060101010101" pitchFamily="49" charset="-122"/>
              <a:ea typeface="楷体" panose="02010609060101010101" pitchFamily="49" charset="-122"/>
            </a:endParaRPr>
          </a:p>
          <a:p>
            <a:pPr algn="ctr"/>
            <a:endParaRPr lang="en-US" b="1" dirty="0">
              <a:latin typeface="Garamond" panose="02020404030301010803" pitchFamily="18" charset="0"/>
            </a:endParaRPr>
          </a:p>
          <a:p>
            <a:pPr algn="ctr"/>
            <a:endParaRPr lang="en-US" b="1" dirty="0">
              <a:latin typeface="Garamond" panose="02020404030301010803" pitchFamily="18" charset="0"/>
            </a:endParaRPr>
          </a:p>
          <a:p>
            <a:pPr algn="ctr"/>
            <a:endParaRPr lang="en-US" b="1" dirty="0">
              <a:latin typeface="Garamond" panose="02020404030301010803" pitchFamily="18" charset="0"/>
            </a:endParaRPr>
          </a:p>
          <a:p>
            <a:pPr algn="ctr"/>
            <a:r>
              <a:rPr lang="zh-CN" altLang="en-US" b="1" dirty="0">
                <a:solidFill>
                  <a:schemeClr val="tx2"/>
                </a:solidFill>
                <a:latin typeface="楷体" panose="02010609060101010101" pitchFamily="49" charset="-122"/>
                <a:ea typeface="楷体" panose="02010609060101010101" pitchFamily="49" charset="-122"/>
              </a:rPr>
              <a:t>我们希望与创业者并肩作战为整个行业的未来创造可持续增长的机会</a:t>
            </a:r>
            <a:endParaRPr lang="de-DE" b="1" dirty="0">
              <a:solidFill>
                <a:schemeClr val="tx2"/>
              </a:solidFill>
              <a:latin typeface="楷体" panose="02010609060101010101" pitchFamily="49" charset="-122"/>
              <a:ea typeface="楷体" panose="02010609060101010101" pitchFamily="49" charset="-122"/>
            </a:endParaRPr>
          </a:p>
        </p:txBody>
      </p:sp>
      <p:sp>
        <p:nvSpPr>
          <p:cNvPr id="12" name="Textfeld 1">
            <a:extLst>
              <a:ext uri="{FF2B5EF4-FFF2-40B4-BE49-F238E27FC236}">
                <a16:creationId xmlns:a16="http://schemas.microsoft.com/office/drawing/2014/main" id="{BAF02D09-C4A7-4AB1-9B2D-536CBBC75860}"/>
              </a:ext>
            </a:extLst>
          </p:cNvPr>
          <p:cNvSpPr txBox="1"/>
          <p:nvPr/>
        </p:nvSpPr>
        <p:spPr>
          <a:xfrm>
            <a:off x="5436717" y="2347178"/>
            <a:ext cx="1488688" cy="369332"/>
          </a:xfrm>
          <a:prstGeom prst="rect">
            <a:avLst/>
          </a:prstGeom>
          <a:noFill/>
        </p:spPr>
        <p:txBody>
          <a:bodyPr wrap="square" rtlCol="0">
            <a:spAutoFit/>
          </a:bodyPr>
          <a:lstStyle/>
          <a:p>
            <a:pPr algn="ctr"/>
            <a:r>
              <a:rPr lang="zh-CN" altLang="en-US" b="1" dirty="0">
                <a:solidFill>
                  <a:srgbClr val="C00000"/>
                </a:solidFill>
                <a:latin typeface="楷体" panose="02010609060101010101" pitchFamily="49" charset="-122"/>
                <a:ea typeface="楷体" panose="02010609060101010101" pitchFamily="49" charset="-122"/>
              </a:rPr>
              <a:t>我们是谁？</a:t>
            </a:r>
            <a:endParaRPr lang="de-DE" b="1" dirty="0">
              <a:solidFill>
                <a:srgbClr val="C00000"/>
              </a:solidFill>
              <a:latin typeface="楷体" panose="02010609060101010101" pitchFamily="49" charset="-122"/>
              <a:ea typeface="楷体" panose="02010609060101010101" pitchFamily="49" charset="-122"/>
            </a:endParaRPr>
          </a:p>
        </p:txBody>
      </p:sp>
      <p:sp>
        <p:nvSpPr>
          <p:cNvPr id="13" name="Textfeld 1">
            <a:extLst>
              <a:ext uri="{FF2B5EF4-FFF2-40B4-BE49-F238E27FC236}">
                <a16:creationId xmlns:a16="http://schemas.microsoft.com/office/drawing/2014/main" id="{7262AAF1-BED2-4FF4-849A-A7449501DF89}"/>
              </a:ext>
            </a:extLst>
          </p:cNvPr>
          <p:cNvSpPr txBox="1"/>
          <p:nvPr/>
        </p:nvSpPr>
        <p:spPr>
          <a:xfrm>
            <a:off x="5436715" y="3725788"/>
            <a:ext cx="1488688" cy="369332"/>
          </a:xfrm>
          <a:prstGeom prst="rect">
            <a:avLst/>
          </a:prstGeom>
          <a:noFill/>
        </p:spPr>
        <p:txBody>
          <a:bodyPr wrap="square" rtlCol="0">
            <a:spAutoFit/>
          </a:bodyPr>
          <a:lstStyle/>
          <a:p>
            <a:pPr algn="ctr"/>
            <a:r>
              <a:rPr lang="zh-CN" altLang="en-US" b="1" dirty="0">
                <a:solidFill>
                  <a:srgbClr val="C00000"/>
                </a:solidFill>
                <a:latin typeface="楷体" panose="02010609060101010101" pitchFamily="49" charset="-122"/>
                <a:ea typeface="楷体" panose="02010609060101010101" pitchFamily="49" charset="-122"/>
              </a:rPr>
              <a:t>我们做什么？</a:t>
            </a:r>
            <a:endParaRPr lang="en-US" altLang="zh-CN" b="1" dirty="0">
              <a:solidFill>
                <a:srgbClr val="C00000"/>
              </a:solidFill>
              <a:latin typeface="楷体" panose="02010609060101010101" pitchFamily="49" charset="-122"/>
              <a:ea typeface="楷体" panose="02010609060101010101" pitchFamily="49" charset="-122"/>
            </a:endParaRPr>
          </a:p>
        </p:txBody>
      </p:sp>
      <p:sp>
        <p:nvSpPr>
          <p:cNvPr id="14" name="Textfeld 1">
            <a:extLst>
              <a:ext uri="{FF2B5EF4-FFF2-40B4-BE49-F238E27FC236}">
                <a16:creationId xmlns:a16="http://schemas.microsoft.com/office/drawing/2014/main" id="{E39791B3-B14C-41C3-AA5E-1C3D9508E235}"/>
              </a:ext>
            </a:extLst>
          </p:cNvPr>
          <p:cNvSpPr txBox="1"/>
          <p:nvPr/>
        </p:nvSpPr>
        <p:spPr>
          <a:xfrm>
            <a:off x="5133804" y="5140210"/>
            <a:ext cx="2094511" cy="369332"/>
          </a:xfrm>
          <a:prstGeom prst="rect">
            <a:avLst/>
          </a:prstGeom>
          <a:noFill/>
        </p:spPr>
        <p:txBody>
          <a:bodyPr wrap="square" rtlCol="0">
            <a:spAutoFit/>
          </a:bodyPr>
          <a:lstStyle/>
          <a:p>
            <a:pPr algn="ctr"/>
            <a:r>
              <a:rPr lang="zh-CN" altLang="en-US" b="1" dirty="0">
                <a:solidFill>
                  <a:srgbClr val="C00000"/>
                </a:solidFill>
                <a:latin typeface="楷体" panose="02010609060101010101" pitchFamily="49" charset="-122"/>
                <a:ea typeface="楷体" panose="02010609060101010101" pitchFamily="49" charset="-122"/>
              </a:rPr>
              <a:t>我们为什么这么做？</a:t>
            </a:r>
            <a:endParaRPr lang="de-DE" b="1" dirty="0">
              <a:solidFill>
                <a:srgbClr val="C00000"/>
              </a:solidFill>
              <a:latin typeface="楷体" panose="02010609060101010101" pitchFamily="49" charset="-122"/>
              <a:ea typeface="楷体" panose="02010609060101010101" pitchFamily="49" charset="-122"/>
            </a:endParaRPr>
          </a:p>
        </p:txBody>
      </p:sp>
    </p:spTree>
    <p:extLst>
      <p:ext uri="{BB962C8B-B14F-4D97-AF65-F5344CB8AC3E}">
        <p14:creationId xmlns:p14="http://schemas.microsoft.com/office/powerpoint/2010/main" val="56799570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7CD55D-2B05-EF4E-9B6C-F2E302808706}"/>
              </a:ext>
            </a:extLst>
          </p:cNvPr>
          <p:cNvSpPr>
            <a:spLocks noGrp="1"/>
          </p:cNvSpPr>
          <p:nvPr>
            <p:ph type="title"/>
          </p:nvPr>
        </p:nvSpPr>
        <p:spPr>
          <a:xfrm>
            <a:off x="33349" y="268596"/>
            <a:ext cx="10515600" cy="1325563"/>
          </a:xfrm>
        </p:spPr>
        <p:txBody>
          <a:bodyPr>
            <a:normAutofit/>
          </a:bodyPr>
          <a:lstStyle/>
          <a:p>
            <a:r>
              <a:rPr lang="zh-CN" altLang="en-US" sz="3600" b="1">
                <a:solidFill>
                  <a:schemeClr val="bg1"/>
                </a:solidFill>
                <a:latin typeface="楷体" panose="02010609060101010101" pitchFamily="49" charset="-122"/>
                <a:ea typeface="楷体" panose="02010609060101010101" pitchFamily="49" charset="-122"/>
              </a:rPr>
              <a:t>团队概况</a:t>
            </a:r>
            <a:endParaRPr lang="en-US" sz="6600" b="1" dirty="0">
              <a:solidFill>
                <a:schemeClr val="bg1"/>
              </a:solidFill>
              <a:latin typeface="楷体" panose="02010609060101010101" pitchFamily="49" charset="-122"/>
              <a:ea typeface="楷体" panose="02010609060101010101" pitchFamily="49" charset="-122"/>
            </a:endParaRPr>
          </a:p>
        </p:txBody>
      </p:sp>
      <p:sp>
        <p:nvSpPr>
          <p:cNvPr id="3" name="Slide Number Placeholder 2">
            <a:extLst>
              <a:ext uri="{FF2B5EF4-FFF2-40B4-BE49-F238E27FC236}">
                <a16:creationId xmlns:a16="http://schemas.microsoft.com/office/drawing/2014/main" id="{426B122D-60DF-4342-8990-F885978865E8}"/>
              </a:ext>
            </a:extLst>
          </p:cNvPr>
          <p:cNvSpPr>
            <a:spLocks noGrp="1"/>
          </p:cNvSpPr>
          <p:nvPr>
            <p:ph type="sldNum" sz="quarter" idx="12"/>
          </p:nvPr>
        </p:nvSpPr>
        <p:spPr/>
        <p:txBody>
          <a:bodyPr/>
          <a:lstStyle/>
          <a:p>
            <a:fld id="{05C7D7BC-3A63-427C-9D7F-63F95FDD71B6}" type="slidenum">
              <a:rPr lang="de-DE" smtClean="0"/>
              <a:pPr/>
              <a:t>7</a:t>
            </a:fld>
            <a:endParaRPr lang="de-DE"/>
          </a:p>
        </p:txBody>
      </p:sp>
      <p:grpSp>
        <p:nvGrpSpPr>
          <p:cNvPr id="192" name="Group 191">
            <a:extLst>
              <a:ext uri="{FF2B5EF4-FFF2-40B4-BE49-F238E27FC236}">
                <a16:creationId xmlns:a16="http://schemas.microsoft.com/office/drawing/2014/main" id="{3833E4A9-D2E6-5241-B141-A81181AD07D8}"/>
              </a:ext>
            </a:extLst>
          </p:cNvPr>
          <p:cNvGrpSpPr/>
          <p:nvPr/>
        </p:nvGrpSpPr>
        <p:grpSpPr>
          <a:xfrm>
            <a:off x="-24492" y="1557051"/>
            <a:ext cx="12068174" cy="5276850"/>
            <a:chOff x="213530" y="1790379"/>
            <a:chExt cx="8702745" cy="4718141"/>
          </a:xfrm>
        </p:grpSpPr>
        <p:sp>
          <p:nvSpPr>
            <p:cNvPr id="6" name="USA (Alaska)" descr="© INSCALE GmbH, 05.05.2010&#10;http://www.presentationload.com/">
              <a:extLst>
                <a:ext uri="{FF2B5EF4-FFF2-40B4-BE49-F238E27FC236}">
                  <a16:creationId xmlns:a16="http://schemas.microsoft.com/office/drawing/2014/main" id="{E17CE438-A252-45E3-AF95-FDFB3B68BC2A}"/>
                </a:ext>
              </a:extLst>
            </p:cNvPr>
            <p:cNvSpPr>
              <a:spLocks noEditPoints="1"/>
            </p:cNvSpPr>
            <p:nvPr/>
          </p:nvSpPr>
          <p:spPr bwMode="gray">
            <a:xfrm>
              <a:off x="213530" y="2105730"/>
              <a:ext cx="1215171" cy="585652"/>
            </a:xfrm>
            <a:custGeom>
              <a:avLst/>
              <a:gdLst>
                <a:gd name="T0" fmla="*/ 2147483647 w 3072"/>
                <a:gd name="T1" fmla="*/ 2147483647 h 1332"/>
                <a:gd name="T2" fmla="*/ 2147483647 w 3072"/>
                <a:gd name="T3" fmla="*/ 2147483647 h 1332"/>
                <a:gd name="T4" fmla="*/ 2147483647 w 3072"/>
                <a:gd name="T5" fmla="*/ 2147483647 h 1332"/>
                <a:gd name="T6" fmla="*/ 2147483647 w 3072"/>
                <a:gd name="T7" fmla="*/ 2147483647 h 1332"/>
                <a:gd name="T8" fmla="*/ 2147483647 w 3072"/>
                <a:gd name="T9" fmla="*/ 2147483647 h 1332"/>
                <a:gd name="T10" fmla="*/ 2147483647 w 3072"/>
                <a:gd name="T11" fmla="*/ 2147483647 h 1332"/>
                <a:gd name="T12" fmla="*/ 2147483647 w 3072"/>
                <a:gd name="T13" fmla="*/ 2147483647 h 1332"/>
                <a:gd name="T14" fmla="*/ 2147483647 w 3072"/>
                <a:gd name="T15" fmla="*/ 2147483647 h 1332"/>
                <a:gd name="T16" fmla="*/ 2147483647 w 3072"/>
                <a:gd name="T17" fmla="*/ 2147483647 h 1332"/>
                <a:gd name="T18" fmla="*/ 2147483647 w 3072"/>
                <a:gd name="T19" fmla="*/ 2147483647 h 1332"/>
                <a:gd name="T20" fmla="*/ 2147483647 w 3072"/>
                <a:gd name="T21" fmla="*/ 2147483647 h 1332"/>
                <a:gd name="T22" fmla="*/ 2147483647 w 3072"/>
                <a:gd name="T23" fmla="*/ 0 h 1332"/>
                <a:gd name="T24" fmla="*/ 2147483647 w 3072"/>
                <a:gd name="T25" fmla="*/ 2147483647 h 1332"/>
                <a:gd name="T26" fmla="*/ 2147483647 w 3072"/>
                <a:gd name="T27" fmla="*/ 2147483647 h 1332"/>
                <a:gd name="T28" fmla="*/ 2147483647 w 3072"/>
                <a:gd name="T29" fmla="*/ 2147483647 h 1332"/>
                <a:gd name="T30" fmla="*/ 2147483647 w 3072"/>
                <a:gd name="T31" fmla="*/ 2147483647 h 1332"/>
                <a:gd name="T32" fmla="*/ 2147483647 w 3072"/>
                <a:gd name="T33" fmla="*/ 2147483647 h 1332"/>
                <a:gd name="T34" fmla="*/ 2147483647 w 3072"/>
                <a:gd name="T35" fmla="*/ 2147483647 h 1332"/>
                <a:gd name="T36" fmla="*/ 2147483647 w 3072"/>
                <a:gd name="T37" fmla="*/ 2147483647 h 1332"/>
                <a:gd name="T38" fmla="*/ 2147483647 w 3072"/>
                <a:gd name="T39" fmla="*/ 2147483647 h 1332"/>
                <a:gd name="T40" fmla="*/ 2147483647 w 3072"/>
                <a:gd name="T41" fmla="*/ 2147483647 h 1332"/>
                <a:gd name="T42" fmla="*/ 2147483647 w 3072"/>
                <a:gd name="T43" fmla="*/ 2147483647 h 1332"/>
                <a:gd name="T44" fmla="*/ 2147483647 w 3072"/>
                <a:gd name="T45" fmla="*/ 2147483647 h 1332"/>
                <a:gd name="T46" fmla="*/ 2147483647 w 3072"/>
                <a:gd name="T47" fmla="*/ 2147483647 h 1332"/>
                <a:gd name="T48" fmla="*/ 2147483647 w 3072"/>
                <a:gd name="T49" fmla="*/ 2147483647 h 1332"/>
                <a:gd name="T50" fmla="*/ 2147483647 w 3072"/>
                <a:gd name="T51" fmla="*/ 2147483647 h 1332"/>
                <a:gd name="T52" fmla="*/ 2147483647 w 3072"/>
                <a:gd name="T53" fmla="*/ 2147483647 h 1332"/>
                <a:gd name="T54" fmla="*/ 2147483647 w 3072"/>
                <a:gd name="T55" fmla="*/ 2147483647 h 1332"/>
                <a:gd name="T56" fmla="*/ 2147483647 w 3072"/>
                <a:gd name="T57" fmla="*/ 2147483647 h 1332"/>
                <a:gd name="T58" fmla="*/ 2147483647 w 3072"/>
                <a:gd name="T59" fmla="*/ 2147483647 h 1332"/>
                <a:gd name="T60" fmla="*/ 2147483647 w 3072"/>
                <a:gd name="T61" fmla="*/ 2147483647 h 1332"/>
                <a:gd name="T62" fmla="*/ 2147483647 w 3072"/>
                <a:gd name="T63" fmla="*/ 2147483647 h 1332"/>
                <a:gd name="T64" fmla="*/ 2147483647 w 3072"/>
                <a:gd name="T65" fmla="*/ 2147483647 h 1332"/>
                <a:gd name="T66" fmla="*/ 2147483647 w 3072"/>
                <a:gd name="T67" fmla="*/ 2147483647 h 1332"/>
                <a:gd name="T68" fmla="*/ 2147483647 w 3072"/>
                <a:gd name="T69" fmla="*/ 2147483647 h 1332"/>
                <a:gd name="T70" fmla="*/ 2147483647 w 3072"/>
                <a:gd name="T71" fmla="*/ 2147483647 h 1332"/>
                <a:gd name="T72" fmla="*/ 2147483647 w 3072"/>
                <a:gd name="T73" fmla="*/ 2147483647 h 1332"/>
                <a:gd name="T74" fmla="*/ 2147483647 w 3072"/>
                <a:gd name="T75" fmla="*/ 2147483647 h 1332"/>
                <a:gd name="T76" fmla="*/ 2147483647 w 3072"/>
                <a:gd name="T77" fmla="*/ 2147483647 h 1332"/>
                <a:gd name="T78" fmla="*/ 2147483647 w 3072"/>
                <a:gd name="T79" fmla="*/ 2147483647 h 1332"/>
                <a:gd name="T80" fmla="*/ 2147483647 w 3072"/>
                <a:gd name="T81" fmla="*/ 2147483647 h 1332"/>
                <a:gd name="T82" fmla="*/ 2147483647 w 3072"/>
                <a:gd name="T83" fmla="*/ 2147483647 h 1332"/>
                <a:gd name="T84" fmla="*/ 2147483647 w 3072"/>
                <a:gd name="T85" fmla="*/ 2147483647 h 1332"/>
                <a:gd name="T86" fmla="*/ 2147483647 w 3072"/>
                <a:gd name="T87" fmla="*/ 2147483647 h 1332"/>
                <a:gd name="T88" fmla="*/ 2147483647 w 3072"/>
                <a:gd name="T89" fmla="*/ 2147483647 h 1332"/>
                <a:gd name="T90" fmla="*/ 2147483647 w 3072"/>
                <a:gd name="T91" fmla="*/ 2147483647 h 1332"/>
                <a:gd name="T92" fmla="*/ 2147483647 w 3072"/>
                <a:gd name="T93" fmla="*/ 2147483647 h 1332"/>
                <a:gd name="T94" fmla="*/ 2147483647 w 3072"/>
                <a:gd name="T95" fmla="*/ 2147483647 h 1332"/>
                <a:gd name="T96" fmla="*/ 2147483647 w 3072"/>
                <a:gd name="T97" fmla="*/ 2147483647 h 1332"/>
                <a:gd name="T98" fmla="*/ 2147483647 w 3072"/>
                <a:gd name="T99" fmla="*/ 2147483647 h 1332"/>
                <a:gd name="T100" fmla="*/ 2147483647 w 3072"/>
                <a:gd name="T101" fmla="*/ 2147483647 h 1332"/>
                <a:gd name="T102" fmla="*/ 2147483647 w 3072"/>
                <a:gd name="T103" fmla="*/ 2147483647 h 1332"/>
                <a:gd name="T104" fmla="*/ 2147483647 w 3072"/>
                <a:gd name="T105" fmla="*/ 2147483647 h 1332"/>
                <a:gd name="T106" fmla="*/ 2147483647 w 3072"/>
                <a:gd name="T107" fmla="*/ 2147483647 h 1332"/>
                <a:gd name="T108" fmla="*/ 2147483647 w 3072"/>
                <a:gd name="T109" fmla="*/ 2147483647 h 1332"/>
                <a:gd name="T110" fmla="*/ 2147483647 w 3072"/>
                <a:gd name="T111" fmla="*/ 2147483647 h 1332"/>
                <a:gd name="T112" fmla="*/ 2147483647 w 3072"/>
                <a:gd name="T113" fmla="*/ 2147483647 h 1332"/>
                <a:gd name="T114" fmla="*/ 2147483647 w 3072"/>
                <a:gd name="T115" fmla="*/ 2147483647 h 1332"/>
                <a:gd name="T116" fmla="*/ 2147483647 w 3072"/>
                <a:gd name="T117" fmla="*/ 2147483647 h 1332"/>
                <a:gd name="T118" fmla="*/ 2147483647 w 3072"/>
                <a:gd name="T119" fmla="*/ 2147483647 h 1332"/>
                <a:gd name="T120" fmla="*/ 2147483647 w 3072"/>
                <a:gd name="T121" fmla="*/ 2147483647 h 133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072"/>
                <a:gd name="T184" fmla="*/ 0 h 1332"/>
                <a:gd name="T185" fmla="*/ 3072 w 3072"/>
                <a:gd name="T186" fmla="*/ 1332 h 1332"/>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072" h="1332">
                  <a:moveTo>
                    <a:pt x="2454" y="930"/>
                  </a:moveTo>
                  <a:lnTo>
                    <a:pt x="2418" y="966"/>
                  </a:lnTo>
                  <a:lnTo>
                    <a:pt x="2400" y="1002"/>
                  </a:lnTo>
                  <a:lnTo>
                    <a:pt x="2412" y="1002"/>
                  </a:lnTo>
                  <a:lnTo>
                    <a:pt x="2448" y="984"/>
                  </a:lnTo>
                  <a:lnTo>
                    <a:pt x="2460" y="972"/>
                  </a:lnTo>
                  <a:lnTo>
                    <a:pt x="2460" y="954"/>
                  </a:lnTo>
                  <a:lnTo>
                    <a:pt x="2472" y="942"/>
                  </a:lnTo>
                  <a:lnTo>
                    <a:pt x="2460" y="930"/>
                  </a:lnTo>
                  <a:lnTo>
                    <a:pt x="2454" y="930"/>
                  </a:lnTo>
                  <a:close/>
                  <a:moveTo>
                    <a:pt x="2400" y="930"/>
                  </a:moveTo>
                  <a:lnTo>
                    <a:pt x="2388" y="930"/>
                  </a:lnTo>
                  <a:lnTo>
                    <a:pt x="2376" y="936"/>
                  </a:lnTo>
                  <a:lnTo>
                    <a:pt x="2364" y="948"/>
                  </a:lnTo>
                  <a:lnTo>
                    <a:pt x="2364" y="954"/>
                  </a:lnTo>
                  <a:lnTo>
                    <a:pt x="2370" y="966"/>
                  </a:lnTo>
                  <a:lnTo>
                    <a:pt x="2376" y="972"/>
                  </a:lnTo>
                  <a:lnTo>
                    <a:pt x="2406" y="972"/>
                  </a:lnTo>
                  <a:lnTo>
                    <a:pt x="2412" y="960"/>
                  </a:lnTo>
                  <a:lnTo>
                    <a:pt x="2418" y="954"/>
                  </a:lnTo>
                  <a:lnTo>
                    <a:pt x="2418" y="942"/>
                  </a:lnTo>
                  <a:lnTo>
                    <a:pt x="2406" y="936"/>
                  </a:lnTo>
                  <a:lnTo>
                    <a:pt x="2400" y="930"/>
                  </a:lnTo>
                  <a:close/>
                  <a:moveTo>
                    <a:pt x="2316" y="1188"/>
                  </a:moveTo>
                  <a:lnTo>
                    <a:pt x="2328" y="1188"/>
                  </a:lnTo>
                  <a:lnTo>
                    <a:pt x="2340" y="1152"/>
                  </a:lnTo>
                  <a:lnTo>
                    <a:pt x="2322" y="1158"/>
                  </a:lnTo>
                  <a:lnTo>
                    <a:pt x="2316" y="1188"/>
                  </a:lnTo>
                  <a:close/>
                  <a:moveTo>
                    <a:pt x="2388" y="1074"/>
                  </a:moveTo>
                  <a:lnTo>
                    <a:pt x="2370" y="1086"/>
                  </a:lnTo>
                  <a:lnTo>
                    <a:pt x="2382" y="1098"/>
                  </a:lnTo>
                  <a:lnTo>
                    <a:pt x="2388" y="1098"/>
                  </a:lnTo>
                  <a:lnTo>
                    <a:pt x="2382" y="1104"/>
                  </a:lnTo>
                  <a:lnTo>
                    <a:pt x="2376" y="1104"/>
                  </a:lnTo>
                  <a:lnTo>
                    <a:pt x="2364" y="1116"/>
                  </a:lnTo>
                  <a:lnTo>
                    <a:pt x="2358" y="1116"/>
                  </a:lnTo>
                  <a:lnTo>
                    <a:pt x="2352" y="1122"/>
                  </a:lnTo>
                  <a:lnTo>
                    <a:pt x="2352" y="1152"/>
                  </a:lnTo>
                  <a:lnTo>
                    <a:pt x="2358" y="1164"/>
                  </a:lnTo>
                  <a:lnTo>
                    <a:pt x="2358" y="1188"/>
                  </a:lnTo>
                  <a:lnTo>
                    <a:pt x="2370" y="1182"/>
                  </a:lnTo>
                  <a:lnTo>
                    <a:pt x="2376" y="1170"/>
                  </a:lnTo>
                  <a:lnTo>
                    <a:pt x="2388" y="1164"/>
                  </a:lnTo>
                  <a:lnTo>
                    <a:pt x="2394" y="1158"/>
                  </a:lnTo>
                  <a:lnTo>
                    <a:pt x="2394" y="1146"/>
                  </a:lnTo>
                  <a:lnTo>
                    <a:pt x="2382" y="1134"/>
                  </a:lnTo>
                  <a:lnTo>
                    <a:pt x="2394" y="1134"/>
                  </a:lnTo>
                  <a:lnTo>
                    <a:pt x="2412" y="1116"/>
                  </a:lnTo>
                  <a:lnTo>
                    <a:pt x="2412" y="1098"/>
                  </a:lnTo>
                  <a:lnTo>
                    <a:pt x="2388" y="1074"/>
                  </a:lnTo>
                  <a:close/>
                  <a:moveTo>
                    <a:pt x="2562" y="1080"/>
                  </a:moveTo>
                  <a:lnTo>
                    <a:pt x="2550" y="1080"/>
                  </a:lnTo>
                  <a:lnTo>
                    <a:pt x="2550" y="1074"/>
                  </a:lnTo>
                  <a:lnTo>
                    <a:pt x="2544" y="1068"/>
                  </a:lnTo>
                  <a:lnTo>
                    <a:pt x="2538" y="1068"/>
                  </a:lnTo>
                  <a:lnTo>
                    <a:pt x="2532" y="1062"/>
                  </a:lnTo>
                  <a:lnTo>
                    <a:pt x="2520" y="1056"/>
                  </a:lnTo>
                  <a:lnTo>
                    <a:pt x="2514" y="1050"/>
                  </a:lnTo>
                  <a:lnTo>
                    <a:pt x="2514" y="1044"/>
                  </a:lnTo>
                  <a:lnTo>
                    <a:pt x="2520" y="1032"/>
                  </a:lnTo>
                  <a:lnTo>
                    <a:pt x="2520" y="1020"/>
                  </a:lnTo>
                  <a:lnTo>
                    <a:pt x="2526" y="1008"/>
                  </a:lnTo>
                  <a:lnTo>
                    <a:pt x="2532" y="1002"/>
                  </a:lnTo>
                  <a:lnTo>
                    <a:pt x="2532" y="960"/>
                  </a:lnTo>
                  <a:lnTo>
                    <a:pt x="2550" y="924"/>
                  </a:lnTo>
                  <a:lnTo>
                    <a:pt x="2550" y="906"/>
                  </a:lnTo>
                  <a:lnTo>
                    <a:pt x="2544" y="894"/>
                  </a:lnTo>
                  <a:lnTo>
                    <a:pt x="2526" y="876"/>
                  </a:lnTo>
                  <a:lnTo>
                    <a:pt x="2538" y="864"/>
                  </a:lnTo>
                  <a:lnTo>
                    <a:pt x="2538" y="834"/>
                  </a:lnTo>
                  <a:lnTo>
                    <a:pt x="2544" y="828"/>
                  </a:lnTo>
                  <a:lnTo>
                    <a:pt x="2550" y="828"/>
                  </a:lnTo>
                  <a:lnTo>
                    <a:pt x="2556" y="822"/>
                  </a:lnTo>
                  <a:lnTo>
                    <a:pt x="2550" y="816"/>
                  </a:lnTo>
                  <a:lnTo>
                    <a:pt x="2532" y="810"/>
                  </a:lnTo>
                  <a:lnTo>
                    <a:pt x="2520" y="810"/>
                  </a:lnTo>
                  <a:lnTo>
                    <a:pt x="2502" y="816"/>
                  </a:lnTo>
                  <a:lnTo>
                    <a:pt x="2490" y="816"/>
                  </a:lnTo>
                  <a:lnTo>
                    <a:pt x="2484" y="822"/>
                  </a:lnTo>
                  <a:lnTo>
                    <a:pt x="2478" y="822"/>
                  </a:lnTo>
                  <a:lnTo>
                    <a:pt x="2478" y="834"/>
                  </a:lnTo>
                  <a:lnTo>
                    <a:pt x="2460" y="834"/>
                  </a:lnTo>
                  <a:lnTo>
                    <a:pt x="2454" y="840"/>
                  </a:lnTo>
                  <a:lnTo>
                    <a:pt x="2442" y="846"/>
                  </a:lnTo>
                  <a:lnTo>
                    <a:pt x="2430" y="846"/>
                  </a:lnTo>
                  <a:lnTo>
                    <a:pt x="2418" y="852"/>
                  </a:lnTo>
                  <a:lnTo>
                    <a:pt x="2406" y="852"/>
                  </a:lnTo>
                  <a:lnTo>
                    <a:pt x="2400" y="858"/>
                  </a:lnTo>
                  <a:lnTo>
                    <a:pt x="2394" y="858"/>
                  </a:lnTo>
                  <a:lnTo>
                    <a:pt x="2388" y="864"/>
                  </a:lnTo>
                  <a:lnTo>
                    <a:pt x="2376" y="870"/>
                  </a:lnTo>
                  <a:lnTo>
                    <a:pt x="2370" y="876"/>
                  </a:lnTo>
                  <a:lnTo>
                    <a:pt x="2364" y="876"/>
                  </a:lnTo>
                  <a:lnTo>
                    <a:pt x="2364" y="864"/>
                  </a:lnTo>
                  <a:lnTo>
                    <a:pt x="2382" y="846"/>
                  </a:lnTo>
                  <a:lnTo>
                    <a:pt x="2376" y="840"/>
                  </a:lnTo>
                  <a:lnTo>
                    <a:pt x="2364" y="834"/>
                  </a:lnTo>
                  <a:lnTo>
                    <a:pt x="2358" y="828"/>
                  </a:lnTo>
                  <a:lnTo>
                    <a:pt x="2358" y="810"/>
                  </a:lnTo>
                  <a:lnTo>
                    <a:pt x="2352" y="798"/>
                  </a:lnTo>
                  <a:lnTo>
                    <a:pt x="2352" y="792"/>
                  </a:lnTo>
                  <a:lnTo>
                    <a:pt x="2376" y="768"/>
                  </a:lnTo>
                  <a:lnTo>
                    <a:pt x="2340" y="768"/>
                  </a:lnTo>
                  <a:lnTo>
                    <a:pt x="2328" y="780"/>
                  </a:lnTo>
                  <a:lnTo>
                    <a:pt x="2274" y="780"/>
                  </a:lnTo>
                  <a:lnTo>
                    <a:pt x="2274" y="768"/>
                  </a:lnTo>
                  <a:lnTo>
                    <a:pt x="2280" y="756"/>
                  </a:lnTo>
                  <a:lnTo>
                    <a:pt x="2292" y="750"/>
                  </a:lnTo>
                  <a:lnTo>
                    <a:pt x="2298" y="744"/>
                  </a:lnTo>
                  <a:lnTo>
                    <a:pt x="3072" y="108"/>
                  </a:lnTo>
                  <a:lnTo>
                    <a:pt x="3054" y="108"/>
                  </a:lnTo>
                  <a:lnTo>
                    <a:pt x="3054" y="102"/>
                  </a:lnTo>
                  <a:lnTo>
                    <a:pt x="3048" y="90"/>
                  </a:lnTo>
                  <a:lnTo>
                    <a:pt x="3036" y="84"/>
                  </a:lnTo>
                  <a:lnTo>
                    <a:pt x="3030" y="78"/>
                  </a:lnTo>
                  <a:lnTo>
                    <a:pt x="3012" y="78"/>
                  </a:lnTo>
                  <a:lnTo>
                    <a:pt x="2988" y="84"/>
                  </a:lnTo>
                  <a:lnTo>
                    <a:pt x="2964" y="84"/>
                  </a:lnTo>
                  <a:lnTo>
                    <a:pt x="2928" y="96"/>
                  </a:lnTo>
                  <a:lnTo>
                    <a:pt x="2916" y="96"/>
                  </a:lnTo>
                  <a:lnTo>
                    <a:pt x="2892" y="84"/>
                  </a:lnTo>
                  <a:lnTo>
                    <a:pt x="2886" y="78"/>
                  </a:lnTo>
                  <a:lnTo>
                    <a:pt x="2874" y="72"/>
                  </a:lnTo>
                  <a:lnTo>
                    <a:pt x="2784" y="72"/>
                  </a:lnTo>
                  <a:lnTo>
                    <a:pt x="2772" y="66"/>
                  </a:lnTo>
                  <a:lnTo>
                    <a:pt x="2766" y="60"/>
                  </a:lnTo>
                  <a:lnTo>
                    <a:pt x="2748" y="60"/>
                  </a:lnTo>
                  <a:lnTo>
                    <a:pt x="2736" y="54"/>
                  </a:lnTo>
                  <a:lnTo>
                    <a:pt x="2598" y="54"/>
                  </a:lnTo>
                  <a:lnTo>
                    <a:pt x="2598" y="42"/>
                  </a:lnTo>
                  <a:lnTo>
                    <a:pt x="2604" y="36"/>
                  </a:lnTo>
                  <a:lnTo>
                    <a:pt x="2592" y="36"/>
                  </a:lnTo>
                  <a:lnTo>
                    <a:pt x="2574" y="30"/>
                  </a:lnTo>
                  <a:lnTo>
                    <a:pt x="2562" y="30"/>
                  </a:lnTo>
                  <a:lnTo>
                    <a:pt x="2550" y="24"/>
                  </a:lnTo>
                  <a:lnTo>
                    <a:pt x="2532" y="24"/>
                  </a:lnTo>
                  <a:lnTo>
                    <a:pt x="2520" y="30"/>
                  </a:lnTo>
                  <a:lnTo>
                    <a:pt x="2496" y="30"/>
                  </a:lnTo>
                  <a:lnTo>
                    <a:pt x="2490" y="36"/>
                  </a:lnTo>
                  <a:lnTo>
                    <a:pt x="2484" y="36"/>
                  </a:lnTo>
                  <a:lnTo>
                    <a:pt x="2514" y="0"/>
                  </a:lnTo>
                  <a:lnTo>
                    <a:pt x="2430" y="36"/>
                  </a:lnTo>
                  <a:lnTo>
                    <a:pt x="2460" y="0"/>
                  </a:lnTo>
                  <a:lnTo>
                    <a:pt x="2430" y="0"/>
                  </a:lnTo>
                  <a:lnTo>
                    <a:pt x="2418" y="6"/>
                  </a:lnTo>
                  <a:lnTo>
                    <a:pt x="2412" y="12"/>
                  </a:lnTo>
                  <a:lnTo>
                    <a:pt x="2358" y="30"/>
                  </a:lnTo>
                  <a:lnTo>
                    <a:pt x="2232" y="30"/>
                  </a:lnTo>
                  <a:lnTo>
                    <a:pt x="2214" y="36"/>
                  </a:lnTo>
                  <a:lnTo>
                    <a:pt x="2208" y="42"/>
                  </a:lnTo>
                  <a:lnTo>
                    <a:pt x="2184" y="54"/>
                  </a:lnTo>
                  <a:lnTo>
                    <a:pt x="2172" y="54"/>
                  </a:lnTo>
                  <a:lnTo>
                    <a:pt x="2166" y="60"/>
                  </a:lnTo>
                  <a:lnTo>
                    <a:pt x="2046" y="60"/>
                  </a:lnTo>
                  <a:lnTo>
                    <a:pt x="2004" y="72"/>
                  </a:lnTo>
                  <a:lnTo>
                    <a:pt x="1956" y="102"/>
                  </a:lnTo>
                  <a:lnTo>
                    <a:pt x="1902" y="132"/>
                  </a:lnTo>
                  <a:lnTo>
                    <a:pt x="1854" y="144"/>
                  </a:lnTo>
                  <a:lnTo>
                    <a:pt x="1758" y="156"/>
                  </a:lnTo>
                  <a:lnTo>
                    <a:pt x="1722" y="162"/>
                  </a:lnTo>
                  <a:lnTo>
                    <a:pt x="1704" y="162"/>
                  </a:lnTo>
                  <a:lnTo>
                    <a:pt x="1698" y="168"/>
                  </a:lnTo>
                  <a:lnTo>
                    <a:pt x="1644" y="186"/>
                  </a:lnTo>
                  <a:lnTo>
                    <a:pt x="1632" y="192"/>
                  </a:lnTo>
                  <a:lnTo>
                    <a:pt x="1620" y="192"/>
                  </a:lnTo>
                  <a:lnTo>
                    <a:pt x="1620" y="198"/>
                  </a:lnTo>
                  <a:lnTo>
                    <a:pt x="1626" y="204"/>
                  </a:lnTo>
                  <a:lnTo>
                    <a:pt x="1638" y="210"/>
                  </a:lnTo>
                  <a:lnTo>
                    <a:pt x="1650" y="222"/>
                  </a:lnTo>
                  <a:lnTo>
                    <a:pt x="1656" y="222"/>
                  </a:lnTo>
                  <a:lnTo>
                    <a:pt x="1662" y="234"/>
                  </a:lnTo>
                  <a:lnTo>
                    <a:pt x="1662" y="240"/>
                  </a:lnTo>
                  <a:lnTo>
                    <a:pt x="1668" y="252"/>
                  </a:lnTo>
                  <a:lnTo>
                    <a:pt x="1668" y="264"/>
                  </a:lnTo>
                  <a:lnTo>
                    <a:pt x="1662" y="264"/>
                  </a:lnTo>
                  <a:lnTo>
                    <a:pt x="1650" y="270"/>
                  </a:lnTo>
                  <a:lnTo>
                    <a:pt x="1644" y="282"/>
                  </a:lnTo>
                  <a:lnTo>
                    <a:pt x="1734" y="282"/>
                  </a:lnTo>
                  <a:lnTo>
                    <a:pt x="1704" y="318"/>
                  </a:lnTo>
                  <a:lnTo>
                    <a:pt x="1770" y="318"/>
                  </a:lnTo>
                  <a:lnTo>
                    <a:pt x="1764" y="336"/>
                  </a:lnTo>
                  <a:lnTo>
                    <a:pt x="1710" y="336"/>
                  </a:lnTo>
                  <a:lnTo>
                    <a:pt x="1698" y="348"/>
                  </a:lnTo>
                  <a:lnTo>
                    <a:pt x="1632" y="348"/>
                  </a:lnTo>
                  <a:lnTo>
                    <a:pt x="1614" y="354"/>
                  </a:lnTo>
                  <a:lnTo>
                    <a:pt x="1560" y="354"/>
                  </a:lnTo>
                  <a:lnTo>
                    <a:pt x="1554" y="348"/>
                  </a:lnTo>
                  <a:lnTo>
                    <a:pt x="1548" y="348"/>
                  </a:lnTo>
                  <a:lnTo>
                    <a:pt x="1554" y="342"/>
                  </a:lnTo>
                  <a:lnTo>
                    <a:pt x="1560" y="342"/>
                  </a:lnTo>
                  <a:lnTo>
                    <a:pt x="1572" y="330"/>
                  </a:lnTo>
                  <a:lnTo>
                    <a:pt x="1566" y="324"/>
                  </a:lnTo>
                  <a:lnTo>
                    <a:pt x="1458" y="324"/>
                  </a:lnTo>
                  <a:lnTo>
                    <a:pt x="1452" y="330"/>
                  </a:lnTo>
                  <a:lnTo>
                    <a:pt x="1452" y="348"/>
                  </a:lnTo>
                  <a:lnTo>
                    <a:pt x="1434" y="348"/>
                  </a:lnTo>
                  <a:lnTo>
                    <a:pt x="1422" y="354"/>
                  </a:lnTo>
                  <a:lnTo>
                    <a:pt x="1404" y="354"/>
                  </a:lnTo>
                  <a:lnTo>
                    <a:pt x="1386" y="360"/>
                  </a:lnTo>
                  <a:lnTo>
                    <a:pt x="1338" y="360"/>
                  </a:lnTo>
                  <a:lnTo>
                    <a:pt x="1308" y="366"/>
                  </a:lnTo>
                  <a:lnTo>
                    <a:pt x="1254" y="384"/>
                  </a:lnTo>
                  <a:lnTo>
                    <a:pt x="1254" y="390"/>
                  </a:lnTo>
                  <a:lnTo>
                    <a:pt x="1272" y="396"/>
                  </a:lnTo>
                  <a:lnTo>
                    <a:pt x="1284" y="402"/>
                  </a:lnTo>
                  <a:lnTo>
                    <a:pt x="1314" y="402"/>
                  </a:lnTo>
                  <a:lnTo>
                    <a:pt x="1272" y="420"/>
                  </a:lnTo>
                  <a:lnTo>
                    <a:pt x="1260" y="462"/>
                  </a:lnTo>
                  <a:lnTo>
                    <a:pt x="1272" y="462"/>
                  </a:lnTo>
                  <a:lnTo>
                    <a:pt x="1290" y="468"/>
                  </a:lnTo>
                  <a:lnTo>
                    <a:pt x="1338" y="468"/>
                  </a:lnTo>
                  <a:lnTo>
                    <a:pt x="1350" y="462"/>
                  </a:lnTo>
                  <a:lnTo>
                    <a:pt x="1362" y="462"/>
                  </a:lnTo>
                  <a:lnTo>
                    <a:pt x="1410" y="474"/>
                  </a:lnTo>
                  <a:lnTo>
                    <a:pt x="1422" y="456"/>
                  </a:lnTo>
                  <a:lnTo>
                    <a:pt x="1434" y="474"/>
                  </a:lnTo>
                  <a:lnTo>
                    <a:pt x="1446" y="468"/>
                  </a:lnTo>
                  <a:lnTo>
                    <a:pt x="1452" y="462"/>
                  </a:lnTo>
                  <a:lnTo>
                    <a:pt x="1476" y="450"/>
                  </a:lnTo>
                  <a:lnTo>
                    <a:pt x="1482" y="444"/>
                  </a:lnTo>
                  <a:lnTo>
                    <a:pt x="1494" y="444"/>
                  </a:lnTo>
                  <a:lnTo>
                    <a:pt x="1506" y="450"/>
                  </a:lnTo>
                  <a:lnTo>
                    <a:pt x="1524" y="450"/>
                  </a:lnTo>
                  <a:lnTo>
                    <a:pt x="1536" y="444"/>
                  </a:lnTo>
                  <a:lnTo>
                    <a:pt x="1542" y="438"/>
                  </a:lnTo>
                  <a:lnTo>
                    <a:pt x="1554" y="432"/>
                  </a:lnTo>
                  <a:lnTo>
                    <a:pt x="1560" y="432"/>
                  </a:lnTo>
                  <a:lnTo>
                    <a:pt x="1566" y="426"/>
                  </a:lnTo>
                  <a:lnTo>
                    <a:pt x="1566" y="450"/>
                  </a:lnTo>
                  <a:lnTo>
                    <a:pt x="1560" y="462"/>
                  </a:lnTo>
                  <a:lnTo>
                    <a:pt x="1554" y="468"/>
                  </a:lnTo>
                  <a:lnTo>
                    <a:pt x="1500" y="468"/>
                  </a:lnTo>
                  <a:lnTo>
                    <a:pt x="1506" y="498"/>
                  </a:lnTo>
                  <a:lnTo>
                    <a:pt x="1494" y="504"/>
                  </a:lnTo>
                  <a:lnTo>
                    <a:pt x="1488" y="516"/>
                  </a:lnTo>
                  <a:lnTo>
                    <a:pt x="1476" y="522"/>
                  </a:lnTo>
                  <a:lnTo>
                    <a:pt x="1464" y="534"/>
                  </a:lnTo>
                  <a:lnTo>
                    <a:pt x="1446" y="540"/>
                  </a:lnTo>
                  <a:lnTo>
                    <a:pt x="1380" y="540"/>
                  </a:lnTo>
                  <a:lnTo>
                    <a:pt x="1362" y="522"/>
                  </a:lnTo>
                  <a:lnTo>
                    <a:pt x="1344" y="534"/>
                  </a:lnTo>
                  <a:lnTo>
                    <a:pt x="1344" y="546"/>
                  </a:lnTo>
                  <a:lnTo>
                    <a:pt x="1338" y="546"/>
                  </a:lnTo>
                  <a:lnTo>
                    <a:pt x="1332" y="552"/>
                  </a:lnTo>
                  <a:lnTo>
                    <a:pt x="1320" y="558"/>
                  </a:lnTo>
                  <a:lnTo>
                    <a:pt x="1302" y="564"/>
                  </a:lnTo>
                  <a:lnTo>
                    <a:pt x="1290" y="570"/>
                  </a:lnTo>
                  <a:lnTo>
                    <a:pt x="1266" y="570"/>
                  </a:lnTo>
                  <a:lnTo>
                    <a:pt x="1242" y="558"/>
                  </a:lnTo>
                  <a:lnTo>
                    <a:pt x="1236" y="558"/>
                  </a:lnTo>
                  <a:lnTo>
                    <a:pt x="1140" y="606"/>
                  </a:lnTo>
                  <a:lnTo>
                    <a:pt x="1122" y="624"/>
                  </a:lnTo>
                  <a:lnTo>
                    <a:pt x="1116" y="606"/>
                  </a:lnTo>
                  <a:lnTo>
                    <a:pt x="1080" y="624"/>
                  </a:lnTo>
                  <a:lnTo>
                    <a:pt x="1068" y="624"/>
                  </a:lnTo>
                  <a:lnTo>
                    <a:pt x="1044" y="636"/>
                  </a:lnTo>
                  <a:lnTo>
                    <a:pt x="1020" y="660"/>
                  </a:lnTo>
                  <a:lnTo>
                    <a:pt x="990" y="648"/>
                  </a:lnTo>
                  <a:lnTo>
                    <a:pt x="990" y="672"/>
                  </a:lnTo>
                  <a:lnTo>
                    <a:pt x="984" y="666"/>
                  </a:lnTo>
                  <a:lnTo>
                    <a:pt x="972" y="666"/>
                  </a:lnTo>
                  <a:lnTo>
                    <a:pt x="966" y="672"/>
                  </a:lnTo>
                  <a:lnTo>
                    <a:pt x="966" y="690"/>
                  </a:lnTo>
                  <a:lnTo>
                    <a:pt x="954" y="708"/>
                  </a:lnTo>
                  <a:lnTo>
                    <a:pt x="1014" y="684"/>
                  </a:lnTo>
                  <a:lnTo>
                    <a:pt x="990" y="702"/>
                  </a:lnTo>
                  <a:lnTo>
                    <a:pt x="990" y="714"/>
                  </a:lnTo>
                  <a:lnTo>
                    <a:pt x="972" y="726"/>
                  </a:lnTo>
                  <a:lnTo>
                    <a:pt x="1026" y="726"/>
                  </a:lnTo>
                  <a:lnTo>
                    <a:pt x="1032" y="732"/>
                  </a:lnTo>
                  <a:lnTo>
                    <a:pt x="1032" y="738"/>
                  </a:lnTo>
                  <a:lnTo>
                    <a:pt x="1020" y="744"/>
                  </a:lnTo>
                  <a:lnTo>
                    <a:pt x="984" y="744"/>
                  </a:lnTo>
                  <a:lnTo>
                    <a:pt x="960" y="750"/>
                  </a:lnTo>
                  <a:lnTo>
                    <a:pt x="972" y="738"/>
                  </a:lnTo>
                  <a:lnTo>
                    <a:pt x="960" y="732"/>
                  </a:lnTo>
                  <a:lnTo>
                    <a:pt x="954" y="732"/>
                  </a:lnTo>
                  <a:lnTo>
                    <a:pt x="948" y="738"/>
                  </a:lnTo>
                  <a:lnTo>
                    <a:pt x="936" y="744"/>
                  </a:lnTo>
                  <a:lnTo>
                    <a:pt x="930" y="750"/>
                  </a:lnTo>
                  <a:lnTo>
                    <a:pt x="924" y="750"/>
                  </a:lnTo>
                  <a:lnTo>
                    <a:pt x="918" y="756"/>
                  </a:lnTo>
                  <a:lnTo>
                    <a:pt x="924" y="756"/>
                  </a:lnTo>
                  <a:lnTo>
                    <a:pt x="930" y="762"/>
                  </a:lnTo>
                  <a:lnTo>
                    <a:pt x="930" y="768"/>
                  </a:lnTo>
                  <a:lnTo>
                    <a:pt x="924" y="774"/>
                  </a:lnTo>
                  <a:lnTo>
                    <a:pt x="924" y="780"/>
                  </a:lnTo>
                  <a:lnTo>
                    <a:pt x="918" y="792"/>
                  </a:lnTo>
                  <a:lnTo>
                    <a:pt x="918" y="804"/>
                  </a:lnTo>
                  <a:lnTo>
                    <a:pt x="990" y="804"/>
                  </a:lnTo>
                  <a:lnTo>
                    <a:pt x="1038" y="774"/>
                  </a:lnTo>
                  <a:lnTo>
                    <a:pt x="1104" y="750"/>
                  </a:lnTo>
                  <a:lnTo>
                    <a:pt x="1098" y="750"/>
                  </a:lnTo>
                  <a:lnTo>
                    <a:pt x="1092" y="756"/>
                  </a:lnTo>
                  <a:lnTo>
                    <a:pt x="1080" y="762"/>
                  </a:lnTo>
                  <a:lnTo>
                    <a:pt x="1062" y="768"/>
                  </a:lnTo>
                  <a:lnTo>
                    <a:pt x="1050" y="780"/>
                  </a:lnTo>
                  <a:lnTo>
                    <a:pt x="1038" y="786"/>
                  </a:lnTo>
                  <a:lnTo>
                    <a:pt x="1026" y="798"/>
                  </a:lnTo>
                  <a:lnTo>
                    <a:pt x="1026" y="816"/>
                  </a:lnTo>
                  <a:lnTo>
                    <a:pt x="1020" y="828"/>
                  </a:lnTo>
                  <a:lnTo>
                    <a:pt x="990" y="828"/>
                  </a:lnTo>
                  <a:lnTo>
                    <a:pt x="978" y="834"/>
                  </a:lnTo>
                  <a:lnTo>
                    <a:pt x="972" y="852"/>
                  </a:lnTo>
                  <a:lnTo>
                    <a:pt x="966" y="864"/>
                  </a:lnTo>
                  <a:lnTo>
                    <a:pt x="954" y="870"/>
                  </a:lnTo>
                  <a:lnTo>
                    <a:pt x="942" y="882"/>
                  </a:lnTo>
                  <a:lnTo>
                    <a:pt x="930" y="888"/>
                  </a:lnTo>
                  <a:lnTo>
                    <a:pt x="924" y="894"/>
                  </a:lnTo>
                  <a:lnTo>
                    <a:pt x="978" y="888"/>
                  </a:lnTo>
                  <a:lnTo>
                    <a:pt x="972" y="906"/>
                  </a:lnTo>
                  <a:lnTo>
                    <a:pt x="978" y="894"/>
                  </a:lnTo>
                  <a:lnTo>
                    <a:pt x="990" y="888"/>
                  </a:lnTo>
                  <a:lnTo>
                    <a:pt x="1002" y="876"/>
                  </a:lnTo>
                  <a:lnTo>
                    <a:pt x="1026" y="864"/>
                  </a:lnTo>
                  <a:lnTo>
                    <a:pt x="1038" y="864"/>
                  </a:lnTo>
                  <a:lnTo>
                    <a:pt x="1050" y="870"/>
                  </a:lnTo>
                  <a:lnTo>
                    <a:pt x="1056" y="870"/>
                  </a:lnTo>
                  <a:lnTo>
                    <a:pt x="1056" y="876"/>
                  </a:lnTo>
                  <a:lnTo>
                    <a:pt x="1050" y="876"/>
                  </a:lnTo>
                  <a:lnTo>
                    <a:pt x="1074" y="870"/>
                  </a:lnTo>
                  <a:lnTo>
                    <a:pt x="1068" y="876"/>
                  </a:lnTo>
                  <a:lnTo>
                    <a:pt x="1068" y="906"/>
                  </a:lnTo>
                  <a:lnTo>
                    <a:pt x="1074" y="912"/>
                  </a:lnTo>
                  <a:lnTo>
                    <a:pt x="1092" y="912"/>
                  </a:lnTo>
                  <a:lnTo>
                    <a:pt x="1098" y="900"/>
                  </a:lnTo>
                  <a:lnTo>
                    <a:pt x="1110" y="894"/>
                  </a:lnTo>
                  <a:lnTo>
                    <a:pt x="1116" y="888"/>
                  </a:lnTo>
                  <a:lnTo>
                    <a:pt x="1122" y="876"/>
                  </a:lnTo>
                  <a:lnTo>
                    <a:pt x="1164" y="858"/>
                  </a:lnTo>
                  <a:lnTo>
                    <a:pt x="1176" y="870"/>
                  </a:lnTo>
                  <a:lnTo>
                    <a:pt x="1146" y="870"/>
                  </a:lnTo>
                  <a:lnTo>
                    <a:pt x="1140" y="876"/>
                  </a:lnTo>
                  <a:lnTo>
                    <a:pt x="1140" y="882"/>
                  </a:lnTo>
                  <a:lnTo>
                    <a:pt x="1134" y="888"/>
                  </a:lnTo>
                  <a:lnTo>
                    <a:pt x="1134" y="894"/>
                  </a:lnTo>
                  <a:lnTo>
                    <a:pt x="1152" y="894"/>
                  </a:lnTo>
                  <a:lnTo>
                    <a:pt x="1164" y="888"/>
                  </a:lnTo>
                  <a:lnTo>
                    <a:pt x="1182" y="888"/>
                  </a:lnTo>
                  <a:lnTo>
                    <a:pt x="1200" y="882"/>
                  </a:lnTo>
                  <a:lnTo>
                    <a:pt x="1218" y="882"/>
                  </a:lnTo>
                  <a:lnTo>
                    <a:pt x="1224" y="876"/>
                  </a:lnTo>
                  <a:lnTo>
                    <a:pt x="1230" y="876"/>
                  </a:lnTo>
                  <a:lnTo>
                    <a:pt x="1272" y="858"/>
                  </a:lnTo>
                  <a:lnTo>
                    <a:pt x="1224" y="882"/>
                  </a:lnTo>
                  <a:lnTo>
                    <a:pt x="1224" y="894"/>
                  </a:lnTo>
                  <a:lnTo>
                    <a:pt x="1212" y="894"/>
                  </a:lnTo>
                  <a:lnTo>
                    <a:pt x="1200" y="900"/>
                  </a:lnTo>
                  <a:lnTo>
                    <a:pt x="1188" y="900"/>
                  </a:lnTo>
                  <a:lnTo>
                    <a:pt x="1176" y="906"/>
                  </a:lnTo>
                  <a:lnTo>
                    <a:pt x="1170" y="912"/>
                  </a:lnTo>
                  <a:lnTo>
                    <a:pt x="1158" y="918"/>
                  </a:lnTo>
                  <a:lnTo>
                    <a:pt x="1152" y="930"/>
                  </a:lnTo>
                  <a:lnTo>
                    <a:pt x="1122" y="930"/>
                  </a:lnTo>
                  <a:lnTo>
                    <a:pt x="1086" y="960"/>
                  </a:lnTo>
                  <a:lnTo>
                    <a:pt x="1086" y="978"/>
                  </a:lnTo>
                  <a:lnTo>
                    <a:pt x="1038" y="978"/>
                  </a:lnTo>
                  <a:lnTo>
                    <a:pt x="1032" y="984"/>
                  </a:lnTo>
                  <a:lnTo>
                    <a:pt x="1020" y="984"/>
                  </a:lnTo>
                  <a:lnTo>
                    <a:pt x="1002" y="990"/>
                  </a:lnTo>
                  <a:lnTo>
                    <a:pt x="990" y="996"/>
                  </a:lnTo>
                  <a:lnTo>
                    <a:pt x="978" y="996"/>
                  </a:lnTo>
                  <a:lnTo>
                    <a:pt x="966" y="1008"/>
                  </a:lnTo>
                  <a:lnTo>
                    <a:pt x="966" y="1020"/>
                  </a:lnTo>
                  <a:lnTo>
                    <a:pt x="960" y="1026"/>
                  </a:lnTo>
                  <a:lnTo>
                    <a:pt x="960" y="1038"/>
                  </a:lnTo>
                  <a:lnTo>
                    <a:pt x="876" y="1038"/>
                  </a:lnTo>
                  <a:lnTo>
                    <a:pt x="858" y="1044"/>
                  </a:lnTo>
                  <a:lnTo>
                    <a:pt x="828" y="1062"/>
                  </a:lnTo>
                  <a:lnTo>
                    <a:pt x="804" y="1080"/>
                  </a:lnTo>
                  <a:lnTo>
                    <a:pt x="780" y="1092"/>
                  </a:lnTo>
                  <a:lnTo>
                    <a:pt x="774" y="1098"/>
                  </a:lnTo>
                  <a:lnTo>
                    <a:pt x="750" y="1104"/>
                  </a:lnTo>
                  <a:lnTo>
                    <a:pt x="738" y="1122"/>
                  </a:lnTo>
                  <a:lnTo>
                    <a:pt x="732" y="1104"/>
                  </a:lnTo>
                  <a:lnTo>
                    <a:pt x="672" y="1104"/>
                  </a:lnTo>
                  <a:lnTo>
                    <a:pt x="648" y="1116"/>
                  </a:lnTo>
                  <a:lnTo>
                    <a:pt x="630" y="1122"/>
                  </a:lnTo>
                  <a:lnTo>
                    <a:pt x="624" y="1128"/>
                  </a:lnTo>
                  <a:lnTo>
                    <a:pt x="606" y="1128"/>
                  </a:lnTo>
                  <a:lnTo>
                    <a:pt x="606" y="1140"/>
                  </a:lnTo>
                  <a:lnTo>
                    <a:pt x="576" y="1146"/>
                  </a:lnTo>
                  <a:lnTo>
                    <a:pt x="564" y="1152"/>
                  </a:lnTo>
                  <a:lnTo>
                    <a:pt x="540" y="1152"/>
                  </a:lnTo>
                  <a:lnTo>
                    <a:pt x="516" y="1170"/>
                  </a:lnTo>
                  <a:lnTo>
                    <a:pt x="522" y="1182"/>
                  </a:lnTo>
                  <a:lnTo>
                    <a:pt x="540" y="1164"/>
                  </a:lnTo>
                  <a:lnTo>
                    <a:pt x="558" y="1176"/>
                  </a:lnTo>
                  <a:lnTo>
                    <a:pt x="582" y="1158"/>
                  </a:lnTo>
                  <a:lnTo>
                    <a:pt x="582" y="1170"/>
                  </a:lnTo>
                  <a:lnTo>
                    <a:pt x="594" y="1170"/>
                  </a:lnTo>
                  <a:lnTo>
                    <a:pt x="606" y="1164"/>
                  </a:lnTo>
                  <a:lnTo>
                    <a:pt x="618" y="1164"/>
                  </a:lnTo>
                  <a:lnTo>
                    <a:pt x="642" y="1140"/>
                  </a:lnTo>
                  <a:lnTo>
                    <a:pt x="654" y="1134"/>
                  </a:lnTo>
                  <a:lnTo>
                    <a:pt x="666" y="1122"/>
                  </a:lnTo>
                  <a:lnTo>
                    <a:pt x="684" y="1122"/>
                  </a:lnTo>
                  <a:lnTo>
                    <a:pt x="684" y="1134"/>
                  </a:lnTo>
                  <a:lnTo>
                    <a:pt x="690" y="1140"/>
                  </a:lnTo>
                  <a:lnTo>
                    <a:pt x="708" y="1140"/>
                  </a:lnTo>
                  <a:lnTo>
                    <a:pt x="732" y="1128"/>
                  </a:lnTo>
                  <a:lnTo>
                    <a:pt x="744" y="1128"/>
                  </a:lnTo>
                  <a:lnTo>
                    <a:pt x="756" y="1122"/>
                  </a:lnTo>
                  <a:lnTo>
                    <a:pt x="762" y="1116"/>
                  </a:lnTo>
                  <a:lnTo>
                    <a:pt x="768" y="1116"/>
                  </a:lnTo>
                  <a:lnTo>
                    <a:pt x="804" y="1128"/>
                  </a:lnTo>
                  <a:lnTo>
                    <a:pt x="822" y="1110"/>
                  </a:lnTo>
                  <a:lnTo>
                    <a:pt x="834" y="1110"/>
                  </a:lnTo>
                  <a:lnTo>
                    <a:pt x="852" y="1104"/>
                  </a:lnTo>
                  <a:lnTo>
                    <a:pt x="870" y="1104"/>
                  </a:lnTo>
                  <a:lnTo>
                    <a:pt x="894" y="1092"/>
                  </a:lnTo>
                  <a:lnTo>
                    <a:pt x="918" y="1068"/>
                  </a:lnTo>
                  <a:lnTo>
                    <a:pt x="942" y="1056"/>
                  </a:lnTo>
                  <a:lnTo>
                    <a:pt x="972" y="1056"/>
                  </a:lnTo>
                  <a:lnTo>
                    <a:pt x="978" y="1044"/>
                  </a:lnTo>
                  <a:lnTo>
                    <a:pt x="1014" y="1044"/>
                  </a:lnTo>
                  <a:lnTo>
                    <a:pt x="1026" y="1038"/>
                  </a:lnTo>
                  <a:lnTo>
                    <a:pt x="1032" y="1038"/>
                  </a:lnTo>
                  <a:lnTo>
                    <a:pt x="1038" y="1032"/>
                  </a:lnTo>
                  <a:lnTo>
                    <a:pt x="1050" y="1032"/>
                  </a:lnTo>
                  <a:lnTo>
                    <a:pt x="1086" y="1020"/>
                  </a:lnTo>
                  <a:lnTo>
                    <a:pt x="1110" y="1008"/>
                  </a:lnTo>
                  <a:lnTo>
                    <a:pt x="1122" y="996"/>
                  </a:lnTo>
                  <a:lnTo>
                    <a:pt x="1134" y="990"/>
                  </a:lnTo>
                  <a:lnTo>
                    <a:pt x="1140" y="984"/>
                  </a:lnTo>
                  <a:lnTo>
                    <a:pt x="1206" y="972"/>
                  </a:lnTo>
                  <a:lnTo>
                    <a:pt x="1260" y="942"/>
                  </a:lnTo>
                  <a:lnTo>
                    <a:pt x="1296" y="942"/>
                  </a:lnTo>
                  <a:lnTo>
                    <a:pt x="1314" y="936"/>
                  </a:lnTo>
                  <a:lnTo>
                    <a:pt x="1326" y="936"/>
                  </a:lnTo>
                  <a:lnTo>
                    <a:pt x="1338" y="930"/>
                  </a:lnTo>
                  <a:lnTo>
                    <a:pt x="1368" y="900"/>
                  </a:lnTo>
                  <a:lnTo>
                    <a:pt x="1380" y="900"/>
                  </a:lnTo>
                  <a:lnTo>
                    <a:pt x="1404" y="888"/>
                  </a:lnTo>
                  <a:lnTo>
                    <a:pt x="1416" y="888"/>
                  </a:lnTo>
                  <a:lnTo>
                    <a:pt x="1428" y="882"/>
                  </a:lnTo>
                  <a:lnTo>
                    <a:pt x="1434" y="876"/>
                  </a:lnTo>
                  <a:lnTo>
                    <a:pt x="1434" y="864"/>
                  </a:lnTo>
                  <a:lnTo>
                    <a:pt x="1422" y="864"/>
                  </a:lnTo>
                  <a:lnTo>
                    <a:pt x="1428" y="858"/>
                  </a:lnTo>
                  <a:lnTo>
                    <a:pt x="1452" y="846"/>
                  </a:lnTo>
                  <a:lnTo>
                    <a:pt x="1458" y="840"/>
                  </a:lnTo>
                  <a:lnTo>
                    <a:pt x="1470" y="834"/>
                  </a:lnTo>
                  <a:lnTo>
                    <a:pt x="1476" y="828"/>
                  </a:lnTo>
                  <a:lnTo>
                    <a:pt x="1488" y="828"/>
                  </a:lnTo>
                  <a:lnTo>
                    <a:pt x="1500" y="822"/>
                  </a:lnTo>
                  <a:lnTo>
                    <a:pt x="1512" y="822"/>
                  </a:lnTo>
                  <a:lnTo>
                    <a:pt x="1518" y="816"/>
                  </a:lnTo>
                  <a:lnTo>
                    <a:pt x="1524" y="816"/>
                  </a:lnTo>
                  <a:lnTo>
                    <a:pt x="1596" y="786"/>
                  </a:lnTo>
                  <a:lnTo>
                    <a:pt x="1590" y="768"/>
                  </a:lnTo>
                  <a:lnTo>
                    <a:pt x="1602" y="768"/>
                  </a:lnTo>
                  <a:lnTo>
                    <a:pt x="1608" y="774"/>
                  </a:lnTo>
                  <a:lnTo>
                    <a:pt x="1626" y="774"/>
                  </a:lnTo>
                  <a:lnTo>
                    <a:pt x="1638" y="762"/>
                  </a:lnTo>
                  <a:lnTo>
                    <a:pt x="1650" y="762"/>
                  </a:lnTo>
                  <a:lnTo>
                    <a:pt x="1674" y="750"/>
                  </a:lnTo>
                  <a:lnTo>
                    <a:pt x="1680" y="744"/>
                  </a:lnTo>
                  <a:lnTo>
                    <a:pt x="1704" y="732"/>
                  </a:lnTo>
                  <a:lnTo>
                    <a:pt x="1740" y="720"/>
                  </a:lnTo>
                  <a:lnTo>
                    <a:pt x="1770" y="708"/>
                  </a:lnTo>
                  <a:lnTo>
                    <a:pt x="1794" y="702"/>
                  </a:lnTo>
                  <a:lnTo>
                    <a:pt x="1812" y="702"/>
                  </a:lnTo>
                  <a:lnTo>
                    <a:pt x="1818" y="708"/>
                  </a:lnTo>
                  <a:lnTo>
                    <a:pt x="1842" y="720"/>
                  </a:lnTo>
                  <a:lnTo>
                    <a:pt x="1848" y="726"/>
                  </a:lnTo>
                  <a:lnTo>
                    <a:pt x="1812" y="726"/>
                  </a:lnTo>
                  <a:lnTo>
                    <a:pt x="1794" y="714"/>
                  </a:lnTo>
                  <a:lnTo>
                    <a:pt x="1758" y="738"/>
                  </a:lnTo>
                  <a:lnTo>
                    <a:pt x="1728" y="738"/>
                  </a:lnTo>
                  <a:lnTo>
                    <a:pt x="1722" y="744"/>
                  </a:lnTo>
                  <a:lnTo>
                    <a:pt x="1710" y="750"/>
                  </a:lnTo>
                  <a:lnTo>
                    <a:pt x="1704" y="762"/>
                  </a:lnTo>
                  <a:lnTo>
                    <a:pt x="1692" y="768"/>
                  </a:lnTo>
                  <a:lnTo>
                    <a:pt x="1686" y="774"/>
                  </a:lnTo>
                  <a:lnTo>
                    <a:pt x="1680" y="774"/>
                  </a:lnTo>
                  <a:lnTo>
                    <a:pt x="1668" y="780"/>
                  </a:lnTo>
                  <a:lnTo>
                    <a:pt x="1656" y="780"/>
                  </a:lnTo>
                  <a:lnTo>
                    <a:pt x="1638" y="786"/>
                  </a:lnTo>
                  <a:lnTo>
                    <a:pt x="1614" y="798"/>
                  </a:lnTo>
                  <a:lnTo>
                    <a:pt x="1614" y="804"/>
                  </a:lnTo>
                  <a:lnTo>
                    <a:pt x="1620" y="810"/>
                  </a:lnTo>
                  <a:lnTo>
                    <a:pt x="1632" y="816"/>
                  </a:lnTo>
                  <a:lnTo>
                    <a:pt x="1650" y="816"/>
                  </a:lnTo>
                  <a:lnTo>
                    <a:pt x="1644" y="816"/>
                  </a:lnTo>
                  <a:lnTo>
                    <a:pt x="1638" y="822"/>
                  </a:lnTo>
                  <a:lnTo>
                    <a:pt x="1632" y="822"/>
                  </a:lnTo>
                  <a:lnTo>
                    <a:pt x="1620" y="828"/>
                  </a:lnTo>
                  <a:lnTo>
                    <a:pt x="1572" y="828"/>
                  </a:lnTo>
                  <a:lnTo>
                    <a:pt x="1566" y="834"/>
                  </a:lnTo>
                  <a:lnTo>
                    <a:pt x="1560" y="834"/>
                  </a:lnTo>
                  <a:lnTo>
                    <a:pt x="1560" y="846"/>
                  </a:lnTo>
                  <a:lnTo>
                    <a:pt x="1572" y="858"/>
                  </a:lnTo>
                  <a:lnTo>
                    <a:pt x="1584" y="858"/>
                  </a:lnTo>
                  <a:lnTo>
                    <a:pt x="1596" y="852"/>
                  </a:lnTo>
                  <a:lnTo>
                    <a:pt x="1638" y="834"/>
                  </a:lnTo>
                  <a:lnTo>
                    <a:pt x="1680" y="810"/>
                  </a:lnTo>
                  <a:lnTo>
                    <a:pt x="1722" y="798"/>
                  </a:lnTo>
                  <a:lnTo>
                    <a:pt x="1788" y="798"/>
                  </a:lnTo>
                  <a:lnTo>
                    <a:pt x="1818" y="792"/>
                  </a:lnTo>
                  <a:lnTo>
                    <a:pt x="1824" y="786"/>
                  </a:lnTo>
                  <a:lnTo>
                    <a:pt x="1848" y="774"/>
                  </a:lnTo>
                  <a:lnTo>
                    <a:pt x="1854" y="762"/>
                  </a:lnTo>
                  <a:lnTo>
                    <a:pt x="1866" y="756"/>
                  </a:lnTo>
                  <a:lnTo>
                    <a:pt x="1872" y="750"/>
                  </a:lnTo>
                  <a:lnTo>
                    <a:pt x="1866" y="738"/>
                  </a:lnTo>
                  <a:lnTo>
                    <a:pt x="1878" y="732"/>
                  </a:lnTo>
                  <a:lnTo>
                    <a:pt x="1908" y="720"/>
                  </a:lnTo>
                  <a:lnTo>
                    <a:pt x="1944" y="714"/>
                  </a:lnTo>
                  <a:lnTo>
                    <a:pt x="1962" y="708"/>
                  </a:lnTo>
                  <a:lnTo>
                    <a:pt x="1968" y="708"/>
                  </a:lnTo>
                  <a:lnTo>
                    <a:pt x="1980" y="720"/>
                  </a:lnTo>
                  <a:lnTo>
                    <a:pt x="1980" y="726"/>
                  </a:lnTo>
                  <a:lnTo>
                    <a:pt x="2046" y="702"/>
                  </a:lnTo>
                  <a:lnTo>
                    <a:pt x="2004" y="738"/>
                  </a:lnTo>
                  <a:lnTo>
                    <a:pt x="2022" y="744"/>
                  </a:lnTo>
                  <a:lnTo>
                    <a:pt x="2022" y="762"/>
                  </a:lnTo>
                  <a:lnTo>
                    <a:pt x="2028" y="762"/>
                  </a:lnTo>
                  <a:lnTo>
                    <a:pt x="2034" y="756"/>
                  </a:lnTo>
                  <a:lnTo>
                    <a:pt x="2094" y="726"/>
                  </a:lnTo>
                  <a:lnTo>
                    <a:pt x="2082" y="732"/>
                  </a:lnTo>
                  <a:lnTo>
                    <a:pt x="2076" y="744"/>
                  </a:lnTo>
                  <a:lnTo>
                    <a:pt x="2064" y="750"/>
                  </a:lnTo>
                  <a:lnTo>
                    <a:pt x="2058" y="762"/>
                  </a:lnTo>
                  <a:lnTo>
                    <a:pt x="2046" y="774"/>
                  </a:lnTo>
                  <a:lnTo>
                    <a:pt x="2052" y="780"/>
                  </a:lnTo>
                  <a:lnTo>
                    <a:pt x="2064" y="780"/>
                  </a:lnTo>
                  <a:lnTo>
                    <a:pt x="2076" y="786"/>
                  </a:lnTo>
                  <a:lnTo>
                    <a:pt x="2106" y="786"/>
                  </a:lnTo>
                  <a:lnTo>
                    <a:pt x="2208" y="798"/>
                  </a:lnTo>
                  <a:lnTo>
                    <a:pt x="2238" y="780"/>
                  </a:lnTo>
                  <a:lnTo>
                    <a:pt x="2232" y="786"/>
                  </a:lnTo>
                  <a:lnTo>
                    <a:pt x="2232" y="810"/>
                  </a:lnTo>
                  <a:lnTo>
                    <a:pt x="2298" y="810"/>
                  </a:lnTo>
                  <a:lnTo>
                    <a:pt x="2334" y="804"/>
                  </a:lnTo>
                  <a:lnTo>
                    <a:pt x="2328" y="804"/>
                  </a:lnTo>
                  <a:lnTo>
                    <a:pt x="2322" y="810"/>
                  </a:lnTo>
                  <a:lnTo>
                    <a:pt x="2310" y="810"/>
                  </a:lnTo>
                  <a:lnTo>
                    <a:pt x="2286" y="822"/>
                  </a:lnTo>
                  <a:lnTo>
                    <a:pt x="2280" y="828"/>
                  </a:lnTo>
                  <a:lnTo>
                    <a:pt x="2280" y="834"/>
                  </a:lnTo>
                  <a:lnTo>
                    <a:pt x="2292" y="846"/>
                  </a:lnTo>
                  <a:lnTo>
                    <a:pt x="2304" y="852"/>
                  </a:lnTo>
                  <a:lnTo>
                    <a:pt x="2310" y="858"/>
                  </a:lnTo>
                  <a:lnTo>
                    <a:pt x="2310" y="882"/>
                  </a:lnTo>
                  <a:lnTo>
                    <a:pt x="2316" y="888"/>
                  </a:lnTo>
                  <a:lnTo>
                    <a:pt x="2316" y="900"/>
                  </a:lnTo>
                  <a:lnTo>
                    <a:pt x="2322" y="912"/>
                  </a:lnTo>
                  <a:lnTo>
                    <a:pt x="2358" y="912"/>
                  </a:lnTo>
                  <a:lnTo>
                    <a:pt x="2370" y="906"/>
                  </a:lnTo>
                  <a:lnTo>
                    <a:pt x="2388" y="906"/>
                  </a:lnTo>
                  <a:lnTo>
                    <a:pt x="2382" y="876"/>
                  </a:lnTo>
                  <a:lnTo>
                    <a:pt x="2400" y="870"/>
                  </a:lnTo>
                  <a:lnTo>
                    <a:pt x="2412" y="888"/>
                  </a:lnTo>
                  <a:lnTo>
                    <a:pt x="2442" y="876"/>
                  </a:lnTo>
                  <a:lnTo>
                    <a:pt x="2430" y="888"/>
                  </a:lnTo>
                  <a:lnTo>
                    <a:pt x="2430" y="900"/>
                  </a:lnTo>
                  <a:lnTo>
                    <a:pt x="2424" y="906"/>
                  </a:lnTo>
                  <a:lnTo>
                    <a:pt x="2424" y="912"/>
                  </a:lnTo>
                  <a:lnTo>
                    <a:pt x="2430" y="918"/>
                  </a:lnTo>
                  <a:lnTo>
                    <a:pt x="2436" y="918"/>
                  </a:lnTo>
                  <a:lnTo>
                    <a:pt x="2448" y="912"/>
                  </a:lnTo>
                  <a:lnTo>
                    <a:pt x="2454" y="906"/>
                  </a:lnTo>
                  <a:lnTo>
                    <a:pt x="2460" y="894"/>
                  </a:lnTo>
                  <a:lnTo>
                    <a:pt x="2466" y="888"/>
                  </a:lnTo>
                  <a:lnTo>
                    <a:pt x="2472" y="876"/>
                  </a:lnTo>
                  <a:lnTo>
                    <a:pt x="2502" y="834"/>
                  </a:lnTo>
                  <a:lnTo>
                    <a:pt x="2478" y="900"/>
                  </a:lnTo>
                  <a:lnTo>
                    <a:pt x="2484" y="924"/>
                  </a:lnTo>
                  <a:lnTo>
                    <a:pt x="2520" y="912"/>
                  </a:lnTo>
                  <a:lnTo>
                    <a:pt x="2496" y="936"/>
                  </a:lnTo>
                  <a:lnTo>
                    <a:pt x="2520" y="954"/>
                  </a:lnTo>
                  <a:lnTo>
                    <a:pt x="2502" y="954"/>
                  </a:lnTo>
                  <a:lnTo>
                    <a:pt x="2502" y="972"/>
                  </a:lnTo>
                  <a:lnTo>
                    <a:pt x="2472" y="990"/>
                  </a:lnTo>
                  <a:lnTo>
                    <a:pt x="2454" y="1002"/>
                  </a:lnTo>
                  <a:lnTo>
                    <a:pt x="2484" y="1020"/>
                  </a:lnTo>
                  <a:lnTo>
                    <a:pt x="2478" y="1050"/>
                  </a:lnTo>
                  <a:lnTo>
                    <a:pt x="2460" y="1068"/>
                  </a:lnTo>
                  <a:lnTo>
                    <a:pt x="2478" y="1080"/>
                  </a:lnTo>
                  <a:lnTo>
                    <a:pt x="2460" y="1098"/>
                  </a:lnTo>
                  <a:lnTo>
                    <a:pt x="2490" y="1098"/>
                  </a:lnTo>
                  <a:lnTo>
                    <a:pt x="2526" y="1086"/>
                  </a:lnTo>
                  <a:lnTo>
                    <a:pt x="2496" y="1122"/>
                  </a:lnTo>
                  <a:lnTo>
                    <a:pt x="2478" y="1140"/>
                  </a:lnTo>
                  <a:lnTo>
                    <a:pt x="2502" y="1146"/>
                  </a:lnTo>
                  <a:lnTo>
                    <a:pt x="2454" y="1164"/>
                  </a:lnTo>
                  <a:lnTo>
                    <a:pt x="2436" y="1176"/>
                  </a:lnTo>
                  <a:lnTo>
                    <a:pt x="2454" y="1188"/>
                  </a:lnTo>
                  <a:lnTo>
                    <a:pt x="2454" y="1200"/>
                  </a:lnTo>
                  <a:lnTo>
                    <a:pt x="2472" y="1188"/>
                  </a:lnTo>
                  <a:lnTo>
                    <a:pt x="2490" y="1182"/>
                  </a:lnTo>
                  <a:lnTo>
                    <a:pt x="2502" y="1170"/>
                  </a:lnTo>
                  <a:lnTo>
                    <a:pt x="2514" y="1164"/>
                  </a:lnTo>
                  <a:lnTo>
                    <a:pt x="2532" y="1146"/>
                  </a:lnTo>
                  <a:lnTo>
                    <a:pt x="2538" y="1134"/>
                  </a:lnTo>
                  <a:lnTo>
                    <a:pt x="2538" y="1122"/>
                  </a:lnTo>
                  <a:lnTo>
                    <a:pt x="2550" y="1116"/>
                  </a:lnTo>
                  <a:lnTo>
                    <a:pt x="2562" y="1104"/>
                  </a:lnTo>
                  <a:lnTo>
                    <a:pt x="2574" y="1098"/>
                  </a:lnTo>
                  <a:lnTo>
                    <a:pt x="2574" y="1086"/>
                  </a:lnTo>
                  <a:lnTo>
                    <a:pt x="2568" y="1080"/>
                  </a:lnTo>
                  <a:lnTo>
                    <a:pt x="2562" y="1080"/>
                  </a:lnTo>
                  <a:close/>
                  <a:moveTo>
                    <a:pt x="2394" y="1056"/>
                  </a:moveTo>
                  <a:lnTo>
                    <a:pt x="2400" y="1062"/>
                  </a:lnTo>
                  <a:lnTo>
                    <a:pt x="2418" y="1062"/>
                  </a:lnTo>
                  <a:lnTo>
                    <a:pt x="2436" y="1044"/>
                  </a:lnTo>
                  <a:lnTo>
                    <a:pt x="2460" y="1038"/>
                  </a:lnTo>
                  <a:lnTo>
                    <a:pt x="2454" y="1020"/>
                  </a:lnTo>
                  <a:lnTo>
                    <a:pt x="2430" y="1020"/>
                  </a:lnTo>
                  <a:lnTo>
                    <a:pt x="2418" y="1026"/>
                  </a:lnTo>
                  <a:lnTo>
                    <a:pt x="2412" y="1032"/>
                  </a:lnTo>
                  <a:lnTo>
                    <a:pt x="2406" y="1044"/>
                  </a:lnTo>
                  <a:lnTo>
                    <a:pt x="2394" y="1050"/>
                  </a:lnTo>
                  <a:lnTo>
                    <a:pt x="2394" y="1056"/>
                  </a:lnTo>
                  <a:close/>
                  <a:moveTo>
                    <a:pt x="2376" y="984"/>
                  </a:moveTo>
                  <a:lnTo>
                    <a:pt x="2358" y="984"/>
                  </a:lnTo>
                  <a:lnTo>
                    <a:pt x="2346" y="990"/>
                  </a:lnTo>
                  <a:lnTo>
                    <a:pt x="2334" y="1002"/>
                  </a:lnTo>
                  <a:lnTo>
                    <a:pt x="2334" y="1014"/>
                  </a:lnTo>
                  <a:lnTo>
                    <a:pt x="2322" y="1026"/>
                  </a:lnTo>
                  <a:lnTo>
                    <a:pt x="2322" y="1044"/>
                  </a:lnTo>
                  <a:lnTo>
                    <a:pt x="2310" y="1056"/>
                  </a:lnTo>
                  <a:lnTo>
                    <a:pt x="2310" y="1074"/>
                  </a:lnTo>
                  <a:lnTo>
                    <a:pt x="2316" y="1080"/>
                  </a:lnTo>
                  <a:lnTo>
                    <a:pt x="2322" y="1074"/>
                  </a:lnTo>
                  <a:lnTo>
                    <a:pt x="2328" y="1062"/>
                  </a:lnTo>
                  <a:lnTo>
                    <a:pt x="2340" y="1050"/>
                  </a:lnTo>
                  <a:lnTo>
                    <a:pt x="2352" y="1044"/>
                  </a:lnTo>
                  <a:lnTo>
                    <a:pt x="2376" y="1020"/>
                  </a:lnTo>
                  <a:lnTo>
                    <a:pt x="2382" y="1008"/>
                  </a:lnTo>
                  <a:lnTo>
                    <a:pt x="2382" y="990"/>
                  </a:lnTo>
                  <a:lnTo>
                    <a:pt x="2376" y="984"/>
                  </a:lnTo>
                  <a:close/>
                  <a:moveTo>
                    <a:pt x="786" y="810"/>
                  </a:moveTo>
                  <a:lnTo>
                    <a:pt x="798" y="810"/>
                  </a:lnTo>
                  <a:lnTo>
                    <a:pt x="834" y="798"/>
                  </a:lnTo>
                  <a:lnTo>
                    <a:pt x="858" y="786"/>
                  </a:lnTo>
                  <a:lnTo>
                    <a:pt x="864" y="780"/>
                  </a:lnTo>
                  <a:lnTo>
                    <a:pt x="870" y="780"/>
                  </a:lnTo>
                  <a:lnTo>
                    <a:pt x="864" y="774"/>
                  </a:lnTo>
                  <a:lnTo>
                    <a:pt x="828" y="762"/>
                  </a:lnTo>
                  <a:lnTo>
                    <a:pt x="810" y="762"/>
                  </a:lnTo>
                  <a:lnTo>
                    <a:pt x="798" y="768"/>
                  </a:lnTo>
                  <a:lnTo>
                    <a:pt x="792" y="774"/>
                  </a:lnTo>
                  <a:lnTo>
                    <a:pt x="786" y="768"/>
                  </a:lnTo>
                  <a:lnTo>
                    <a:pt x="774" y="768"/>
                  </a:lnTo>
                  <a:lnTo>
                    <a:pt x="768" y="774"/>
                  </a:lnTo>
                  <a:lnTo>
                    <a:pt x="768" y="804"/>
                  </a:lnTo>
                  <a:lnTo>
                    <a:pt x="774" y="810"/>
                  </a:lnTo>
                  <a:lnTo>
                    <a:pt x="786" y="810"/>
                  </a:lnTo>
                  <a:close/>
                  <a:moveTo>
                    <a:pt x="0" y="1332"/>
                  </a:moveTo>
                  <a:lnTo>
                    <a:pt x="60" y="1320"/>
                  </a:lnTo>
                  <a:lnTo>
                    <a:pt x="72" y="1302"/>
                  </a:lnTo>
                  <a:lnTo>
                    <a:pt x="132" y="1296"/>
                  </a:lnTo>
                  <a:lnTo>
                    <a:pt x="114" y="1272"/>
                  </a:lnTo>
                  <a:lnTo>
                    <a:pt x="0" y="1332"/>
                  </a:lnTo>
                  <a:close/>
                  <a:moveTo>
                    <a:pt x="1362" y="954"/>
                  </a:moveTo>
                  <a:lnTo>
                    <a:pt x="1350" y="954"/>
                  </a:lnTo>
                  <a:lnTo>
                    <a:pt x="1338" y="960"/>
                  </a:lnTo>
                  <a:lnTo>
                    <a:pt x="1332" y="954"/>
                  </a:lnTo>
                  <a:lnTo>
                    <a:pt x="1314" y="954"/>
                  </a:lnTo>
                  <a:lnTo>
                    <a:pt x="1314" y="978"/>
                  </a:lnTo>
                  <a:lnTo>
                    <a:pt x="1290" y="996"/>
                  </a:lnTo>
                  <a:lnTo>
                    <a:pt x="1290" y="972"/>
                  </a:lnTo>
                  <a:lnTo>
                    <a:pt x="1278" y="966"/>
                  </a:lnTo>
                  <a:lnTo>
                    <a:pt x="1272" y="966"/>
                  </a:lnTo>
                  <a:lnTo>
                    <a:pt x="1248" y="978"/>
                  </a:lnTo>
                  <a:lnTo>
                    <a:pt x="1242" y="978"/>
                  </a:lnTo>
                  <a:lnTo>
                    <a:pt x="1230" y="990"/>
                  </a:lnTo>
                  <a:lnTo>
                    <a:pt x="1224" y="1002"/>
                  </a:lnTo>
                  <a:lnTo>
                    <a:pt x="1218" y="1008"/>
                  </a:lnTo>
                  <a:lnTo>
                    <a:pt x="1218" y="1014"/>
                  </a:lnTo>
                  <a:lnTo>
                    <a:pt x="1224" y="1014"/>
                  </a:lnTo>
                  <a:lnTo>
                    <a:pt x="1230" y="1020"/>
                  </a:lnTo>
                  <a:lnTo>
                    <a:pt x="1278" y="1020"/>
                  </a:lnTo>
                  <a:lnTo>
                    <a:pt x="1296" y="1014"/>
                  </a:lnTo>
                  <a:lnTo>
                    <a:pt x="1308" y="1014"/>
                  </a:lnTo>
                  <a:lnTo>
                    <a:pt x="1320" y="1008"/>
                  </a:lnTo>
                  <a:lnTo>
                    <a:pt x="1320" y="996"/>
                  </a:lnTo>
                  <a:lnTo>
                    <a:pt x="1350" y="990"/>
                  </a:lnTo>
                  <a:lnTo>
                    <a:pt x="1350" y="984"/>
                  </a:lnTo>
                  <a:lnTo>
                    <a:pt x="1386" y="978"/>
                  </a:lnTo>
                  <a:lnTo>
                    <a:pt x="1398" y="954"/>
                  </a:lnTo>
                  <a:lnTo>
                    <a:pt x="1380" y="960"/>
                  </a:lnTo>
                  <a:lnTo>
                    <a:pt x="1374" y="954"/>
                  </a:lnTo>
                  <a:lnTo>
                    <a:pt x="1362" y="954"/>
                  </a:lnTo>
                  <a:close/>
                  <a:moveTo>
                    <a:pt x="162" y="1290"/>
                  </a:moveTo>
                  <a:lnTo>
                    <a:pt x="204" y="1290"/>
                  </a:lnTo>
                  <a:lnTo>
                    <a:pt x="240" y="1260"/>
                  </a:lnTo>
                  <a:lnTo>
                    <a:pt x="228" y="1242"/>
                  </a:lnTo>
                  <a:lnTo>
                    <a:pt x="162" y="1290"/>
                  </a:lnTo>
                  <a:close/>
                  <a:moveTo>
                    <a:pt x="2466" y="1140"/>
                  </a:moveTo>
                  <a:lnTo>
                    <a:pt x="2472" y="1128"/>
                  </a:lnTo>
                  <a:lnTo>
                    <a:pt x="2454" y="1110"/>
                  </a:lnTo>
                  <a:lnTo>
                    <a:pt x="2448" y="1110"/>
                  </a:lnTo>
                  <a:lnTo>
                    <a:pt x="2436" y="1122"/>
                  </a:lnTo>
                  <a:lnTo>
                    <a:pt x="2430" y="1134"/>
                  </a:lnTo>
                  <a:lnTo>
                    <a:pt x="2424" y="1152"/>
                  </a:lnTo>
                  <a:lnTo>
                    <a:pt x="2418" y="1164"/>
                  </a:lnTo>
                  <a:lnTo>
                    <a:pt x="2418" y="1176"/>
                  </a:lnTo>
                  <a:lnTo>
                    <a:pt x="2436" y="1158"/>
                  </a:lnTo>
                  <a:lnTo>
                    <a:pt x="2454" y="1158"/>
                  </a:lnTo>
                  <a:lnTo>
                    <a:pt x="2460" y="1152"/>
                  </a:lnTo>
                  <a:lnTo>
                    <a:pt x="2466" y="1140"/>
                  </a:lnTo>
                  <a:close/>
                  <a:moveTo>
                    <a:pt x="1428" y="912"/>
                  </a:moveTo>
                  <a:lnTo>
                    <a:pt x="1404" y="924"/>
                  </a:lnTo>
                  <a:lnTo>
                    <a:pt x="1386" y="942"/>
                  </a:lnTo>
                  <a:lnTo>
                    <a:pt x="1386" y="948"/>
                  </a:lnTo>
                  <a:lnTo>
                    <a:pt x="1398" y="954"/>
                  </a:lnTo>
                  <a:lnTo>
                    <a:pt x="1410" y="954"/>
                  </a:lnTo>
                  <a:lnTo>
                    <a:pt x="1422" y="948"/>
                  </a:lnTo>
                  <a:lnTo>
                    <a:pt x="1428" y="948"/>
                  </a:lnTo>
                  <a:lnTo>
                    <a:pt x="1440" y="942"/>
                  </a:lnTo>
                  <a:lnTo>
                    <a:pt x="1446" y="930"/>
                  </a:lnTo>
                  <a:lnTo>
                    <a:pt x="1470" y="930"/>
                  </a:lnTo>
                  <a:lnTo>
                    <a:pt x="1470" y="924"/>
                  </a:lnTo>
                  <a:lnTo>
                    <a:pt x="1458" y="912"/>
                  </a:lnTo>
                  <a:lnTo>
                    <a:pt x="1452" y="912"/>
                  </a:lnTo>
                  <a:lnTo>
                    <a:pt x="1440" y="906"/>
                  </a:lnTo>
                  <a:lnTo>
                    <a:pt x="1428" y="912"/>
                  </a:lnTo>
                  <a:close/>
                  <a:moveTo>
                    <a:pt x="498" y="1164"/>
                  </a:moveTo>
                  <a:lnTo>
                    <a:pt x="486" y="1164"/>
                  </a:lnTo>
                  <a:lnTo>
                    <a:pt x="474" y="1170"/>
                  </a:lnTo>
                  <a:lnTo>
                    <a:pt x="462" y="1170"/>
                  </a:lnTo>
                  <a:lnTo>
                    <a:pt x="450" y="1176"/>
                  </a:lnTo>
                  <a:lnTo>
                    <a:pt x="444" y="1182"/>
                  </a:lnTo>
                  <a:lnTo>
                    <a:pt x="432" y="1182"/>
                  </a:lnTo>
                  <a:lnTo>
                    <a:pt x="426" y="1188"/>
                  </a:lnTo>
                  <a:lnTo>
                    <a:pt x="414" y="1188"/>
                  </a:lnTo>
                  <a:lnTo>
                    <a:pt x="390" y="1200"/>
                  </a:lnTo>
                  <a:lnTo>
                    <a:pt x="384" y="1206"/>
                  </a:lnTo>
                  <a:lnTo>
                    <a:pt x="384" y="1218"/>
                  </a:lnTo>
                  <a:lnTo>
                    <a:pt x="402" y="1218"/>
                  </a:lnTo>
                  <a:lnTo>
                    <a:pt x="420" y="1212"/>
                  </a:lnTo>
                  <a:lnTo>
                    <a:pt x="432" y="1206"/>
                  </a:lnTo>
                  <a:lnTo>
                    <a:pt x="504" y="1206"/>
                  </a:lnTo>
                  <a:lnTo>
                    <a:pt x="510" y="1200"/>
                  </a:lnTo>
                  <a:lnTo>
                    <a:pt x="510" y="1176"/>
                  </a:lnTo>
                  <a:lnTo>
                    <a:pt x="498" y="1164"/>
                  </a:lnTo>
                  <a:close/>
                  <a:moveTo>
                    <a:pt x="330" y="1242"/>
                  </a:moveTo>
                  <a:lnTo>
                    <a:pt x="330" y="1224"/>
                  </a:lnTo>
                  <a:lnTo>
                    <a:pt x="276" y="1242"/>
                  </a:lnTo>
                  <a:lnTo>
                    <a:pt x="330" y="1242"/>
                  </a:lnTo>
                  <a:close/>
                </a:path>
              </a:pathLst>
            </a:custGeom>
            <a:solidFill>
              <a:srgbClr val="9D90A0">
                <a:lumMod val="40000"/>
                <a:lumOff val="60000"/>
              </a:srgbClr>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grpSp>
          <p:nvGrpSpPr>
            <p:cNvPr id="4" name="Group 3">
              <a:extLst>
                <a:ext uri="{FF2B5EF4-FFF2-40B4-BE49-F238E27FC236}">
                  <a16:creationId xmlns:a16="http://schemas.microsoft.com/office/drawing/2014/main" id="{E9771883-3A7C-BA4C-9AD9-21AA25DB8CCB}"/>
                </a:ext>
              </a:extLst>
            </p:cNvPr>
            <p:cNvGrpSpPr/>
            <p:nvPr/>
          </p:nvGrpSpPr>
          <p:grpSpPr>
            <a:xfrm>
              <a:off x="1009085" y="1790379"/>
              <a:ext cx="7907190" cy="4718141"/>
              <a:chOff x="1009085" y="1790379"/>
              <a:chExt cx="7907190" cy="4718141"/>
            </a:xfrm>
          </p:grpSpPr>
          <p:sp>
            <p:nvSpPr>
              <p:cNvPr id="8" name="Israel" descr="© INSCALE GmbH, 05.05.2010&#10;http://www.presentationload.com/">
                <a:extLst>
                  <a:ext uri="{FF2B5EF4-FFF2-40B4-BE49-F238E27FC236}">
                    <a16:creationId xmlns:a16="http://schemas.microsoft.com/office/drawing/2014/main" id="{8BD1F49A-871A-40B6-9C25-DB3841FF5290}"/>
                  </a:ext>
                </a:extLst>
              </p:cNvPr>
              <p:cNvSpPr>
                <a:spLocks/>
              </p:cNvSpPr>
              <p:nvPr/>
            </p:nvSpPr>
            <p:spPr bwMode="gray">
              <a:xfrm>
                <a:off x="5149089" y="3368868"/>
                <a:ext cx="40558" cy="142081"/>
              </a:xfrm>
              <a:custGeom>
                <a:avLst/>
                <a:gdLst>
                  <a:gd name="T0" fmla="*/ 0 w 102"/>
                  <a:gd name="T1" fmla="*/ 2147483647 h 324"/>
                  <a:gd name="T2" fmla="*/ 2147483647 w 102"/>
                  <a:gd name="T3" fmla="*/ 2147483647 h 324"/>
                  <a:gd name="T4" fmla="*/ 2147483647 w 102"/>
                  <a:gd name="T5" fmla="*/ 2147483647 h 324"/>
                  <a:gd name="T6" fmla="*/ 2147483647 w 102"/>
                  <a:gd name="T7" fmla="*/ 2147483647 h 324"/>
                  <a:gd name="T8" fmla="*/ 2147483647 w 102"/>
                  <a:gd name="T9" fmla="*/ 2147483647 h 324"/>
                  <a:gd name="T10" fmla="*/ 2147483647 w 102"/>
                  <a:gd name="T11" fmla="*/ 2147483647 h 324"/>
                  <a:gd name="T12" fmla="*/ 2147483647 w 102"/>
                  <a:gd name="T13" fmla="*/ 2147483647 h 324"/>
                  <a:gd name="T14" fmla="*/ 2147483647 w 102"/>
                  <a:gd name="T15" fmla="*/ 2147483647 h 324"/>
                  <a:gd name="T16" fmla="*/ 2147483647 w 102"/>
                  <a:gd name="T17" fmla="*/ 2147483647 h 324"/>
                  <a:gd name="T18" fmla="*/ 2147483647 w 102"/>
                  <a:gd name="T19" fmla="*/ 2147483647 h 324"/>
                  <a:gd name="T20" fmla="*/ 2147483647 w 102"/>
                  <a:gd name="T21" fmla="*/ 2147483647 h 324"/>
                  <a:gd name="T22" fmla="*/ 2147483647 w 102"/>
                  <a:gd name="T23" fmla="*/ 2147483647 h 324"/>
                  <a:gd name="T24" fmla="*/ 2147483647 w 102"/>
                  <a:gd name="T25" fmla="*/ 2147483647 h 324"/>
                  <a:gd name="T26" fmla="*/ 2147483647 w 102"/>
                  <a:gd name="T27" fmla="*/ 2147483647 h 324"/>
                  <a:gd name="T28" fmla="*/ 2147483647 w 102"/>
                  <a:gd name="T29" fmla="*/ 2147483647 h 324"/>
                  <a:gd name="T30" fmla="*/ 2147483647 w 102"/>
                  <a:gd name="T31" fmla="*/ 2147483647 h 324"/>
                  <a:gd name="T32" fmla="*/ 2147483647 w 102"/>
                  <a:gd name="T33" fmla="*/ 2147483647 h 324"/>
                  <a:gd name="T34" fmla="*/ 2147483647 w 102"/>
                  <a:gd name="T35" fmla="*/ 2147483647 h 324"/>
                  <a:gd name="T36" fmla="*/ 2147483647 w 102"/>
                  <a:gd name="T37" fmla="*/ 2147483647 h 324"/>
                  <a:gd name="T38" fmla="*/ 2147483647 w 102"/>
                  <a:gd name="T39" fmla="*/ 2147483647 h 324"/>
                  <a:gd name="T40" fmla="*/ 2147483647 w 102"/>
                  <a:gd name="T41" fmla="*/ 2147483647 h 324"/>
                  <a:gd name="T42" fmla="*/ 2147483647 w 102"/>
                  <a:gd name="T43" fmla="*/ 2147483647 h 324"/>
                  <a:gd name="T44" fmla="*/ 2147483647 w 102"/>
                  <a:gd name="T45" fmla="*/ 2147483647 h 324"/>
                  <a:gd name="T46" fmla="*/ 2147483647 w 102"/>
                  <a:gd name="T47" fmla="*/ 2147483647 h 324"/>
                  <a:gd name="T48" fmla="*/ 2147483647 w 102"/>
                  <a:gd name="T49" fmla="*/ 0 h 324"/>
                  <a:gd name="T50" fmla="*/ 2147483647 w 102"/>
                  <a:gd name="T51" fmla="*/ 2147483647 h 324"/>
                  <a:gd name="T52" fmla="*/ 2147483647 w 102"/>
                  <a:gd name="T53" fmla="*/ 2147483647 h 324"/>
                  <a:gd name="T54" fmla="*/ 2147483647 w 102"/>
                  <a:gd name="T55" fmla="*/ 2147483647 h 324"/>
                  <a:gd name="T56" fmla="*/ 2147483647 w 102"/>
                  <a:gd name="T57" fmla="*/ 2147483647 h 324"/>
                  <a:gd name="T58" fmla="*/ 2147483647 w 102"/>
                  <a:gd name="T59" fmla="*/ 2147483647 h 324"/>
                  <a:gd name="T60" fmla="*/ 2147483647 w 102"/>
                  <a:gd name="T61" fmla="*/ 2147483647 h 324"/>
                  <a:gd name="T62" fmla="*/ 2147483647 w 102"/>
                  <a:gd name="T63" fmla="*/ 2147483647 h 324"/>
                  <a:gd name="T64" fmla="*/ 2147483647 w 102"/>
                  <a:gd name="T65" fmla="*/ 2147483647 h 324"/>
                  <a:gd name="T66" fmla="*/ 2147483647 w 102"/>
                  <a:gd name="T67" fmla="*/ 2147483647 h 324"/>
                  <a:gd name="T68" fmla="*/ 2147483647 w 102"/>
                  <a:gd name="T69" fmla="*/ 2147483647 h 324"/>
                  <a:gd name="T70" fmla="*/ 2147483647 w 102"/>
                  <a:gd name="T71" fmla="*/ 2147483647 h 324"/>
                  <a:gd name="T72" fmla="*/ 2147483647 w 102"/>
                  <a:gd name="T73" fmla="*/ 2147483647 h 324"/>
                  <a:gd name="T74" fmla="*/ 2147483647 w 102"/>
                  <a:gd name="T75" fmla="*/ 2147483647 h 324"/>
                  <a:gd name="T76" fmla="*/ 2147483647 w 102"/>
                  <a:gd name="T77" fmla="*/ 2147483647 h 324"/>
                  <a:gd name="T78" fmla="*/ 0 w 102"/>
                  <a:gd name="T79" fmla="*/ 2147483647 h 32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02"/>
                  <a:gd name="T121" fmla="*/ 0 h 324"/>
                  <a:gd name="T122" fmla="*/ 102 w 102"/>
                  <a:gd name="T123" fmla="*/ 324 h 324"/>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02" h="324">
                    <a:moveTo>
                      <a:pt x="0" y="168"/>
                    </a:moveTo>
                    <a:lnTo>
                      <a:pt x="54" y="312"/>
                    </a:lnTo>
                    <a:lnTo>
                      <a:pt x="60" y="324"/>
                    </a:lnTo>
                    <a:lnTo>
                      <a:pt x="60" y="306"/>
                    </a:lnTo>
                    <a:lnTo>
                      <a:pt x="66" y="294"/>
                    </a:lnTo>
                    <a:lnTo>
                      <a:pt x="66" y="234"/>
                    </a:lnTo>
                    <a:lnTo>
                      <a:pt x="72" y="228"/>
                    </a:lnTo>
                    <a:lnTo>
                      <a:pt x="78" y="216"/>
                    </a:lnTo>
                    <a:lnTo>
                      <a:pt x="84" y="210"/>
                    </a:lnTo>
                    <a:lnTo>
                      <a:pt x="90" y="198"/>
                    </a:lnTo>
                    <a:lnTo>
                      <a:pt x="90" y="186"/>
                    </a:lnTo>
                    <a:lnTo>
                      <a:pt x="78" y="174"/>
                    </a:lnTo>
                    <a:lnTo>
                      <a:pt x="78" y="162"/>
                    </a:lnTo>
                    <a:lnTo>
                      <a:pt x="72" y="156"/>
                    </a:lnTo>
                    <a:lnTo>
                      <a:pt x="66" y="162"/>
                    </a:lnTo>
                    <a:lnTo>
                      <a:pt x="66" y="168"/>
                    </a:lnTo>
                    <a:lnTo>
                      <a:pt x="60" y="168"/>
                    </a:lnTo>
                    <a:lnTo>
                      <a:pt x="54" y="174"/>
                    </a:lnTo>
                    <a:lnTo>
                      <a:pt x="48" y="168"/>
                    </a:lnTo>
                    <a:lnTo>
                      <a:pt x="48" y="96"/>
                    </a:lnTo>
                    <a:lnTo>
                      <a:pt x="66" y="78"/>
                    </a:lnTo>
                    <a:lnTo>
                      <a:pt x="84" y="78"/>
                    </a:lnTo>
                    <a:lnTo>
                      <a:pt x="90" y="60"/>
                    </a:lnTo>
                    <a:lnTo>
                      <a:pt x="84" y="18"/>
                    </a:lnTo>
                    <a:lnTo>
                      <a:pt x="102" y="0"/>
                    </a:lnTo>
                    <a:lnTo>
                      <a:pt x="78" y="6"/>
                    </a:lnTo>
                    <a:lnTo>
                      <a:pt x="78" y="18"/>
                    </a:lnTo>
                    <a:lnTo>
                      <a:pt x="72" y="30"/>
                    </a:lnTo>
                    <a:lnTo>
                      <a:pt x="66" y="36"/>
                    </a:lnTo>
                    <a:lnTo>
                      <a:pt x="60" y="36"/>
                    </a:lnTo>
                    <a:lnTo>
                      <a:pt x="54" y="30"/>
                    </a:lnTo>
                    <a:lnTo>
                      <a:pt x="42" y="54"/>
                    </a:lnTo>
                    <a:lnTo>
                      <a:pt x="30" y="60"/>
                    </a:lnTo>
                    <a:lnTo>
                      <a:pt x="36" y="72"/>
                    </a:lnTo>
                    <a:lnTo>
                      <a:pt x="36" y="84"/>
                    </a:lnTo>
                    <a:lnTo>
                      <a:pt x="42" y="90"/>
                    </a:lnTo>
                    <a:lnTo>
                      <a:pt x="42" y="96"/>
                    </a:lnTo>
                    <a:lnTo>
                      <a:pt x="18" y="138"/>
                    </a:lnTo>
                    <a:lnTo>
                      <a:pt x="18" y="156"/>
                    </a:lnTo>
                    <a:lnTo>
                      <a:pt x="0" y="168"/>
                    </a:lnTo>
                    <a:close/>
                  </a:path>
                </a:pathLst>
              </a:custGeom>
              <a:solidFill>
                <a:srgbClr val="4966AC"/>
              </a:solidFill>
              <a:ln w="3175" algn="ctr">
                <a:solidFill>
                  <a:srgbClr val="4A66AC"/>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9" name="Egypt" descr="© INSCALE GmbH, 05.05.2010&#10;http://www.presentationload.com/">
                <a:extLst>
                  <a:ext uri="{FF2B5EF4-FFF2-40B4-BE49-F238E27FC236}">
                    <a16:creationId xmlns:a16="http://schemas.microsoft.com/office/drawing/2014/main" id="{FAD50E4B-F537-4F11-9782-7EF348B6E2FD}"/>
                  </a:ext>
                </a:extLst>
              </p:cNvPr>
              <p:cNvSpPr>
                <a:spLocks/>
              </p:cNvSpPr>
              <p:nvPr/>
            </p:nvSpPr>
            <p:spPr bwMode="gray">
              <a:xfrm>
                <a:off x="4893264" y="3431246"/>
                <a:ext cx="311982" cy="353471"/>
              </a:xfrm>
              <a:custGeom>
                <a:avLst/>
                <a:gdLst>
                  <a:gd name="T0" fmla="*/ 2147483647 w 792"/>
                  <a:gd name="T1" fmla="*/ 2147483647 h 804"/>
                  <a:gd name="T2" fmla="*/ 2147483647 w 792"/>
                  <a:gd name="T3" fmla="*/ 2147483647 h 804"/>
                  <a:gd name="T4" fmla="*/ 2147483647 w 792"/>
                  <a:gd name="T5" fmla="*/ 2147483647 h 804"/>
                  <a:gd name="T6" fmla="*/ 2147483647 w 792"/>
                  <a:gd name="T7" fmla="*/ 2147483647 h 804"/>
                  <a:gd name="T8" fmla="*/ 2147483647 w 792"/>
                  <a:gd name="T9" fmla="*/ 2147483647 h 804"/>
                  <a:gd name="T10" fmla="*/ 2147483647 w 792"/>
                  <a:gd name="T11" fmla="*/ 2147483647 h 804"/>
                  <a:gd name="T12" fmla="*/ 2147483647 w 792"/>
                  <a:gd name="T13" fmla="*/ 2147483647 h 804"/>
                  <a:gd name="T14" fmla="*/ 2147483647 w 792"/>
                  <a:gd name="T15" fmla="*/ 2147483647 h 804"/>
                  <a:gd name="T16" fmla="*/ 2147483647 w 792"/>
                  <a:gd name="T17" fmla="*/ 2147483647 h 804"/>
                  <a:gd name="T18" fmla="*/ 2147483647 w 792"/>
                  <a:gd name="T19" fmla="*/ 2147483647 h 804"/>
                  <a:gd name="T20" fmla="*/ 2147483647 w 792"/>
                  <a:gd name="T21" fmla="*/ 2147483647 h 804"/>
                  <a:gd name="T22" fmla="*/ 2147483647 w 792"/>
                  <a:gd name="T23" fmla="*/ 2147483647 h 804"/>
                  <a:gd name="T24" fmla="*/ 2147483647 w 792"/>
                  <a:gd name="T25" fmla="*/ 2147483647 h 804"/>
                  <a:gd name="T26" fmla="*/ 2147483647 w 792"/>
                  <a:gd name="T27" fmla="*/ 2147483647 h 804"/>
                  <a:gd name="T28" fmla="*/ 2147483647 w 792"/>
                  <a:gd name="T29" fmla="*/ 2147483647 h 804"/>
                  <a:gd name="T30" fmla="*/ 2147483647 w 792"/>
                  <a:gd name="T31" fmla="*/ 2147483647 h 804"/>
                  <a:gd name="T32" fmla="*/ 2147483647 w 792"/>
                  <a:gd name="T33" fmla="*/ 2147483647 h 804"/>
                  <a:gd name="T34" fmla="*/ 2147483647 w 792"/>
                  <a:gd name="T35" fmla="*/ 2147483647 h 804"/>
                  <a:gd name="T36" fmla="*/ 2147483647 w 792"/>
                  <a:gd name="T37" fmla="*/ 2147483647 h 804"/>
                  <a:gd name="T38" fmla="*/ 2147483647 w 792"/>
                  <a:gd name="T39" fmla="*/ 2147483647 h 804"/>
                  <a:gd name="T40" fmla="*/ 2147483647 w 792"/>
                  <a:gd name="T41" fmla="*/ 2147483647 h 804"/>
                  <a:gd name="T42" fmla="*/ 2147483647 w 792"/>
                  <a:gd name="T43" fmla="*/ 2147483647 h 804"/>
                  <a:gd name="T44" fmla="*/ 2147483647 w 792"/>
                  <a:gd name="T45" fmla="*/ 2147483647 h 804"/>
                  <a:gd name="T46" fmla="*/ 2147483647 w 792"/>
                  <a:gd name="T47" fmla="*/ 2147483647 h 804"/>
                  <a:gd name="T48" fmla="*/ 2147483647 w 792"/>
                  <a:gd name="T49" fmla="*/ 2147483647 h 804"/>
                  <a:gd name="T50" fmla="*/ 2147483647 w 792"/>
                  <a:gd name="T51" fmla="*/ 2147483647 h 804"/>
                  <a:gd name="T52" fmla="*/ 2147483647 w 792"/>
                  <a:gd name="T53" fmla="*/ 2147483647 h 804"/>
                  <a:gd name="T54" fmla="*/ 2147483647 w 792"/>
                  <a:gd name="T55" fmla="*/ 2147483647 h 804"/>
                  <a:gd name="T56" fmla="*/ 2147483647 w 792"/>
                  <a:gd name="T57" fmla="*/ 2147483647 h 804"/>
                  <a:gd name="T58" fmla="*/ 2147483647 w 792"/>
                  <a:gd name="T59" fmla="*/ 2147483647 h 804"/>
                  <a:gd name="T60" fmla="*/ 2147483647 w 792"/>
                  <a:gd name="T61" fmla="*/ 2147483647 h 804"/>
                  <a:gd name="T62" fmla="*/ 2147483647 w 792"/>
                  <a:gd name="T63" fmla="*/ 2147483647 h 804"/>
                  <a:gd name="T64" fmla="*/ 2147483647 w 792"/>
                  <a:gd name="T65" fmla="*/ 2147483647 h 804"/>
                  <a:gd name="T66" fmla="*/ 2147483647 w 792"/>
                  <a:gd name="T67" fmla="*/ 2147483647 h 804"/>
                  <a:gd name="T68" fmla="*/ 2147483647 w 792"/>
                  <a:gd name="T69" fmla="*/ 2147483647 h 804"/>
                  <a:gd name="T70" fmla="*/ 2147483647 w 792"/>
                  <a:gd name="T71" fmla="*/ 2147483647 h 804"/>
                  <a:gd name="T72" fmla="*/ 2147483647 w 792"/>
                  <a:gd name="T73" fmla="*/ 2147483647 h 804"/>
                  <a:gd name="T74" fmla="*/ 2147483647 w 792"/>
                  <a:gd name="T75" fmla="*/ 2147483647 h 804"/>
                  <a:gd name="T76" fmla="*/ 2147483647 w 792"/>
                  <a:gd name="T77" fmla="*/ 2147483647 h 804"/>
                  <a:gd name="T78" fmla="*/ 2147483647 w 792"/>
                  <a:gd name="T79" fmla="*/ 2147483647 h 804"/>
                  <a:gd name="T80" fmla="*/ 2147483647 w 792"/>
                  <a:gd name="T81" fmla="*/ 2147483647 h 804"/>
                  <a:gd name="T82" fmla="*/ 2147483647 w 792"/>
                  <a:gd name="T83" fmla="*/ 2147483647 h 804"/>
                  <a:gd name="T84" fmla="*/ 2147483647 w 792"/>
                  <a:gd name="T85" fmla="*/ 2147483647 h 804"/>
                  <a:gd name="T86" fmla="*/ 2147483647 w 792"/>
                  <a:gd name="T87" fmla="*/ 2147483647 h 804"/>
                  <a:gd name="T88" fmla="*/ 2147483647 w 792"/>
                  <a:gd name="T89" fmla="*/ 2147483647 h 804"/>
                  <a:gd name="T90" fmla="*/ 2147483647 w 792"/>
                  <a:gd name="T91" fmla="*/ 0 h 804"/>
                  <a:gd name="T92" fmla="*/ 2147483647 w 792"/>
                  <a:gd name="T93" fmla="*/ 2147483647 h 804"/>
                  <a:gd name="T94" fmla="*/ 2147483647 w 792"/>
                  <a:gd name="T95" fmla="*/ 0 h 80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92"/>
                  <a:gd name="T145" fmla="*/ 0 h 804"/>
                  <a:gd name="T146" fmla="*/ 792 w 792"/>
                  <a:gd name="T147" fmla="*/ 804 h 804"/>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92" h="804">
                    <a:moveTo>
                      <a:pt x="12" y="18"/>
                    </a:moveTo>
                    <a:lnTo>
                      <a:pt x="6" y="24"/>
                    </a:lnTo>
                    <a:lnTo>
                      <a:pt x="6" y="54"/>
                    </a:lnTo>
                    <a:lnTo>
                      <a:pt x="18" y="60"/>
                    </a:lnTo>
                    <a:lnTo>
                      <a:pt x="24" y="72"/>
                    </a:lnTo>
                    <a:lnTo>
                      <a:pt x="24" y="78"/>
                    </a:lnTo>
                    <a:lnTo>
                      <a:pt x="18" y="84"/>
                    </a:lnTo>
                    <a:lnTo>
                      <a:pt x="12" y="96"/>
                    </a:lnTo>
                    <a:lnTo>
                      <a:pt x="6" y="102"/>
                    </a:lnTo>
                    <a:lnTo>
                      <a:pt x="0" y="114"/>
                    </a:lnTo>
                    <a:lnTo>
                      <a:pt x="0" y="120"/>
                    </a:lnTo>
                    <a:lnTo>
                      <a:pt x="6" y="132"/>
                    </a:lnTo>
                    <a:lnTo>
                      <a:pt x="18" y="144"/>
                    </a:lnTo>
                    <a:lnTo>
                      <a:pt x="30" y="180"/>
                    </a:lnTo>
                    <a:lnTo>
                      <a:pt x="30" y="264"/>
                    </a:lnTo>
                    <a:lnTo>
                      <a:pt x="36" y="342"/>
                    </a:lnTo>
                    <a:lnTo>
                      <a:pt x="36" y="438"/>
                    </a:lnTo>
                    <a:lnTo>
                      <a:pt x="42" y="534"/>
                    </a:lnTo>
                    <a:lnTo>
                      <a:pt x="42" y="624"/>
                    </a:lnTo>
                    <a:lnTo>
                      <a:pt x="48" y="702"/>
                    </a:lnTo>
                    <a:lnTo>
                      <a:pt x="48" y="774"/>
                    </a:lnTo>
                    <a:lnTo>
                      <a:pt x="474" y="780"/>
                    </a:lnTo>
                    <a:lnTo>
                      <a:pt x="492" y="762"/>
                    </a:lnTo>
                    <a:lnTo>
                      <a:pt x="498" y="762"/>
                    </a:lnTo>
                    <a:lnTo>
                      <a:pt x="498" y="774"/>
                    </a:lnTo>
                    <a:lnTo>
                      <a:pt x="618" y="780"/>
                    </a:lnTo>
                    <a:lnTo>
                      <a:pt x="624" y="786"/>
                    </a:lnTo>
                    <a:lnTo>
                      <a:pt x="630" y="798"/>
                    </a:lnTo>
                    <a:lnTo>
                      <a:pt x="636" y="804"/>
                    </a:lnTo>
                    <a:lnTo>
                      <a:pt x="654" y="804"/>
                    </a:lnTo>
                    <a:lnTo>
                      <a:pt x="660" y="798"/>
                    </a:lnTo>
                    <a:lnTo>
                      <a:pt x="672" y="774"/>
                    </a:lnTo>
                    <a:lnTo>
                      <a:pt x="684" y="762"/>
                    </a:lnTo>
                    <a:lnTo>
                      <a:pt x="696" y="762"/>
                    </a:lnTo>
                    <a:lnTo>
                      <a:pt x="702" y="756"/>
                    </a:lnTo>
                    <a:lnTo>
                      <a:pt x="720" y="756"/>
                    </a:lnTo>
                    <a:lnTo>
                      <a:pt x="726" y="750"/>
                    </a:lnTo>
                    <a:lnTo>
                      <a:pt x="732" y="738"/>
                    </a:lnTo>
                    <a:lnTo>
                      <a:pt x="732" y="714"/>
                    </a:lnTo>
                    <a:lnTo>
                      <a:pt x="762" y="714"/>
                    </a:lnTo>
                    <a:lnTo>
                      <a:pt x="786" y="690"/>
                    </a:lnTo>
                    <a:lnTo>
                      <a:pt x="780" y="684"/>
                    </a:lnTo>
                    <a:lnTo>
                      <a:pt x="774" y="672"/>
                    </a:lnTo>
                    <a:lnTo>
                      <a:pt x="774" y="624"/>
                    </a:lnTo>
                    <a:lnTo>
                      <a:pt x="792" y="618"/>
                    </a:lnTo>
                    <a:lnTo>
                      <a:pt x="786" y="618"/>
                    </a:lnTo>
                    <a:lnTo>
                      <a:pt x="756" y="588"/>
                    </a:lnTo>
                    <a:lnTo>
                      <a:pt x="732" y="552"/>
                    </a:lnTo>
                    <a:lnTo>
                      <a:pt x="726" y="528"/>
                    </a:lnTo>
                    <a:lnTo>
                      <a:pt x="714" y="492"/>
                    </a:lnTo>
                    <a:lnTo>
                      <a:pt x="702" y="468"/>
                    </a:lnTo>
                    <a:lnTo>
                      <a:pt x="690" y="462"/>
                    </a:lnTo>
                    <a:lnTo>
                      <a:pt x="684" y="450"/>
                    </a:lnTo>
                    <a:lnTo>
                      <a:pt x="672" y="444"/>
                    </a:lnTo>
                    <a:lnTo>
                      <a:pt x="666" y="432"/>
                    </a:lnTo>
                    <a:lnTo>
                      <a:pt x="654" y="396"/>
                    </a:lnTo>
                    <a:lnTo>
                      <a:pt x="654" y="378"/>
                    </a:lnTo>
                    <a:lnTo>
                      <a:pt x="618" y="336"/>
                    </a:lnTo>
                    <a:lnTo>
                      <a:pt x="618" y="318"/>
                    </a:lnTo>
                    <a:lnTo>
                      <a:pt x="606" y="294"/>
                    </a:lnTo>
                    <a:lnTo>
                      <a:pt x="594" y="282"/>
                    </a:lnTo>
                    <a:lnTo>
                      <a:pt x="588" y="270"/>
                    </a:lnTo>
                    <a:lnTo>
                      <a:pt x="576" y="258"/>
                    </a:lnTo>
                    <a:lnTo>
                      <a:pt x="570" y="246"/>
                    </a:lnTo>
                    <a:lnTo>
                      <a:pt x="558" y="234"/>
                    </a:lnTo>
                    <a:lnTo>
                      <a:pt x="552" y="222"/>
                    </a:lnTo>
                    <a:lnTo>
                      <a:pt x="546" y="216"/>
                    </a:lnTo>
                    <a:lnTo>
                      <a:pt x="552" y="210"/>
                    </a:lnTo>
                    <a:lnTo>
                      <a:pt x="552" y="198"/>
                    </a:lnTo>
                    <a:lnTo>
                      <a:pt x="540" y="174"/>
                    </a:lnTo>
                    <a:lnTo>
                      <a:pt x="528" y="168"/>
                    </a:lnTo>
                    <a:lnTo>
                      <a:pt x="522" y="168"/>
                    </a:lnTo>
                    <a:lnTo>
                      <a:pt x="540" y="144"/>
                    </a:lnTo>
                    <a:lnTo>
                      <a:pt x="558" y="156"/>
                    </a:lnTo>
                    <a:lnTo>
                      <a:pt x="558" y="174"/>
                    </a:lnTo>
                    <a:lnTo>
                      <a:pt x="564" y="186"/>
                    </a:lnTo>
                    <a:lnTo>
                      <a:pt x="576" y="198"/>
                    </a:lnTo>
                    <a:lnTo>
                      <a:pt x="582" y="210"/>
                    </a:lnTo>
                    <a:lnTo>
                      <a:pt x="588" y="216"/>
                    </a:lnTo>
                    <a:lnTo>
                      <a:pt x="588" y="246"/>
                    </a:lnTo>
                    <a:lnTo>
                      <a:pt x="606" y="264"/>
                    </a:lnTo>
                    <a:lnTo>
                      <a:pt x="612" y="276"/>
                    </a:lnTo>
                    <a:lnTo>
                      <a:pt x="636" y="300"/>
                    </a:lnTo>
                    <a:lnTo>
                      <a:pt x="648" y="306"/>
                    </a:lnTo>
                    <a:lnTo>
                      <a:pt x="654" y="306"/>
                    </a:lnTo>
                    <a:lnTo>
                      <a:pt x="666" y="300"/>
                    </a:lnTo>
                    <a:lnTo>
                      <a:pt x="678" y="288"/>
                    </a:lnTo>
                    <a:lnTo>
                      <a:pt x="672" y="270"/>
                    </a:lnTo>
                    <a:lnTo>
                      <a:pt x="684" y="246"/>
                    </a:lnTo>
                    <a:lnTo>
                      <a:pt x="684" y="234"/>
                    </a:lnTo>
                    <a:lnTo>
                      <a:pt x="690" y="222"/>
                    </a:lnTo>
                    <a:lnTo>
                      <a:pt x="690" y="198"/>
                    </a:lnTo>
                    <a:lnTo>
                      <a:pt x="696" y="186"/>
                    </a:lnTo>
                    <a:lnTo>
                      <a:pt x="696" y="180"/>
                    </a:lnTo>
                    <a:lnTo>
                      <a:pt x="702" y="168"/>
                    </a:lnTo>
                    <a:lnTo>
                      <a:pt x="648" y="24"/>
                    </a:lnTo>
                    <a:lnTo>
                      <a:pt x="642" y="24"/>
                    </a:lnTo>
                    <a:lnTo>
                      <a:pt x="636" y="30"/>
                    </a:lnTo>
                    <a:lnTo>
                      <a:pt x="624" y="30"/>
                    </a:lnTo>
                    <a:lnTo>
                      <a:pt x="600" y="42"/>
                    </a:lnTo>
                    <a:lnTo>
                      <a:pt x="576" y="42"/>
                    </a:lnTo>
                    <a:lnTo>
                      <a:pt x="564" y="36"/>
                    </a:lnTo>
                    <a:lnTo>
                      <a:pt x="558" y="30"/>
                    </a:lnTo>
                    <a:lnTo>
                      <a:pt x="552" y="36"/>
                    </a:lnTo>
                    <a:lnTo>
                      <a:pt x="540" y="42"/>
                    </a:lnTo>
                    <a:lnTo>
                      <a:pt x="534" y="42"/>
                    </a:lnTo>
                    <a:lnTo>
                      <a:pt x="510" y="30"/>
                    </a:lnTo>
                    <a:lnTo>
                      <a:pt x="504" y="24"/>
                    </a:lnTo>
                    <a:lnTo>
                      <a:pt x="504" y="18"/>
                    </a:lnTo>
                    <a:lnTo>
                      <a:pt x="498" y="12"/>
                    </a:lnTo>
                    <a:lnTo>
                      <a:pt x="486" y="6"/>
                    </a:lnTo>
                    <a:lnTo>
                      <a:pt x="468" y="6"/>
                    </a:lnTo>
                    <a:lnTo>
                      <a:pt x="456" y="12"/>
                    </a:lnTo>
                    <a:lnTo>
                      <a:pt x="438" y="12"/>
                    </a:lnTo>
                    <a:lnTo>
                      <a:pt x="432" y="18"/>
                    </a:lnTo>
                    <a:lnTo>
                      <a:pt x="420" y="18"/>
                    </a:lnTo>
                    <a:lnTo>
                      <a:pt x="414" y="12"/>
                    </a:lnTo>
                    <a:lnTo>
                      <a:pt x="390" y="12"/>
                    </a:lnTo>
                    <a:lnTo>
                      <a:pt x="378" y="18"/>
                    </a:lnTo>
                    <a:lnTo>
                      <a:pt x="372" y="24"/>
                    </a:lnTo>
                    <a:lnTo>
                      <a:pt x="366" y="36"/>
                    </a:lnTo>
                    <a:lnTo>
                      <a:pt x="360" y="42"/>
                    </a:lnTo>
                    <a:lnTo>
                      <a:pt x="336" y="42"/>
                    </a:lnTo>
                    <a:lnTo>
                      <a:pt x="324" y="54"/>
                    </a:lnTo>
                    <a:lnTo>
                      <a:pt x="312" y="60"/>
                    </a:lnTo>
                    <a:lnTo>
                      <a:pt x="306" y="60"/>
                    </a:lnTo>
                    <a:lnTo>
                      <a:pt x="300" y="54"/>
                    </a:lnTo>
                    <a:lnTo>
                      <a:pt x="288" y="54"/>
                    </a:lnTo>
                    <a:lnTo>
                      <a:pt x="276" y="48"/>
                    </a:lnTo>
                    <a:lnTo>
                      <a:pt x="264" y="48"/>
                    </a:lnTo>
                    <a:lnTo>
                      <a:pt x="258" y="42"/>
                    </a:lnTo>
                    <a:lnTo>
                      <a:pt x="204" y="42"/>
                    </a:lnTo>
                    <a:lnTo>
                      <a:pt x="198" y="36"/>
                    </a:lnTo>
                    <a:lnTo>
                      <a:pt x="186" y="30"/>
                    </a:lnTo>
                    <a:lnTo>
                      <a:pt x="174" y="18"/>
                    </a:lnTo>
                    <a:lnTo>
                      <a:pt x="126" y="18"/>
                    </a:lnTo>
                    <a:lnTo>
                      <a:pt x="120" y="12"/>
                    </a:lnTo>
                    <a:lnTo>
                      <a:pt x="96" y="0"/>
                    </a:lnTo>
                    <a:lnTo>
                      <a:pt x="78" y="0"/>
                    </a:lnTo>
                    <a:lnTo>
                      <a:pt x="66" y="12"/>
                    </a:lnTo>
                    <a:lnTo>
                      <a:pt x="54" y="12"/>
                    </a:lnTo>
                    <a:lnTo>
                      <a:pt x="42" y="6"/>
                    </a:lnTo>
                    <a:lnTo>
                      <a:pt x="36" y="6"/>
                    </a:lnTo>
                    <a:lnTo>
                      <a:pt x="36" y="0"/>
                    </a:lnTo>
                    <a:lnTo>
                      <a:pt x="30" y="0"/>
                    </a:lnTo>
                    <a:lnTo>
                      <a:pt x="12" y="18"/>
                    </a:lnTo>
                    <a:close/>
                  </a:path>
                </a:pathLst>
              </a:custGeom>
              <a:solidFill>
                <a:srgbClr val="9D90A0">
                  <a:lumMod val="40000"/>
                  <a:lumOff val="60000"/>
                </a:srgbClr>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10" name="Jordan" descr="© INSCALE GmbH, 05.05.2010&#10;http://www.presentationload.com/">
                <a:extLst>
                  <a:ext uri="{FF2B5EF4-FFF2-40B4-BE49-F238E27FC236}">
                    <a16:creationId xmlns:a16="http://schemas.microsoft.com/office/drawing/2014/main" id="{ED6C2DC6-831D-4328-8DC9-4925F1F72706}"/>
                  </a:ext>
                </a:extLst>
              </p:cNvPr>
              <p:cNvSpPr>
                <a:spLocks/>
              </p:cNvSpPr>
              <p:nvPr/>
            </p:nvSpPr>
            <p:spPr bwMode="gray">
              <a:xfrm>
                <a:off x="5172488" y="3374066"/>
                <a:ext cx="110754" cy="149012"/>
              </a:xfrm>
              <a:custGeom>
                <a:avLst/>
                <a:gdLst>
                  <a:gd name="T0" fmla="*/ 2147483647 w 282"/>
                  <a:gd name="T1" fmla="*/ 2147483647 h 336"/>
                  <a:gd name="T2" fmla="*/ 2147483647 w 282"/>
                  <a:gd name="T3" fmla="*/ 2147483647 h 336"/>
                  <a:gd name="T4" fmla="*/ 2147483647 w 282"/>
                  <a:gd name="T5" fmla="*/ 0 h 336"/>
                  <a:gd name="T6" fmla="*/ 2147483647 w 282"/>
                  <a:gd name="T7" fmla="*/ 2147483647 h 336"/>
                  <a:gd name="T8" fmla="*/ 2147483647 w 282"/>
                  <a:gd name="T9" fmla="*/ 2147483647 h 336"/>
                  <a:gd name="T10" fmla="*/ 2147483647 w 282"/>
                  <a:gd name="T11" fmla="*/ 2147483647 h 336"/>
                  <a:gd name="T12" fmla="*/ 2147483647 w 282"/>
                  <a:gd name="T13" fmla="*/ 2147483647 h 336"/>
                  <a:gd name="T14" fmla="*/ 2147483647 w 282"/>
                  <a:gd name="T15" fmla="*/ 2147483647 h 336"/>
                  <a:gd name="T16" fmla="*/ 2147483647 w 282"/>
                  <a:gd name="T17" fmla="*/ 2147483647 h 336"/>
                  <a:gd name="T18" fmla="*/ 2147483647 w 282"/>
                  <a:gd name="T19" fmla="*/ 2147483647 h 336"/>
                  <a:gd name="T20" fmla="*/ 2147483647 w 282"/>
                  <a:gd name="T21" fmla="*/ 2147483647 h 336"/>
                  <a:gd name="T22" fmla="*/ 2147483647 w 282"/>
                  <a:gd name="T23" fmla="*/ 2147483647 h 336"/>
                  <a:gd name="T24" fmla="*/ 2147483647 w 282"/>
                  <a:gd name="T25" fmla="*/ 2147483647 h 336"/>
                  <a:gd name="T26" fmla="*/ 2147483647 w 282"/>
                  <a:gd name="T27" fmla="*/ 2147483647 h 336"/>
                  <a:gd name="T28" fmla="*/ 2147483647 w 282"/>
                  <a:gd name="T29" fmla="*/ 2147483647 h 336"/>
                  <a:gd name="T30" fmla="*/ 2147483647 w 282"/>
                  <a:gd name="T31" fmla="*/ 2147483647 h 336"/>
                  <a:gd name="T32" fmla="*/ 2147483647 w 282"/>
                  <a:gd name="T33" fmla="*/ 2147483647 h 336"/>
                  <a:gd name="T34" fmla="*/ 2147483647 w 282"/>
                  <a:gd name="T35" fmla="*/ 2147483647 h 336"/>
                  <a:gd name="T36" fmla="*/ 2147483647 w 282"/>
                  <a:gd name="T37" fmla="*/ 2147483647 h 336"/>
                  <a:gd name="T38" fmla="*/ 2147483647 w 282"/>
                  <a:gd name="T39" fmla="*/ 2147483647 h 336"/>
                  <a:gd name="T40" fmla="*/ 2147483647 w 282"/>
                  <a:gd name="T41" fmla="*/ 2147483647 h 336"/>
                  <a:gd name="T42" fmla="*/ 2147483647 w 282"/>
                  <a:gd name="T43" fmla="*/ 2147483647 h 336"/>
                  <a:gd name="T44" fmla="*/ 2147483647 w 282"/>
                  <a:gd name="T45" fmla="*/ 2147483647 h 336"/>
                  <a:gd name="T46" fmla="*/ 0 w 282"/>
                  <a:gd name="T47" fmla="*/ 2147483647 h 336"/>
                  <a:gd name="T48" fmla="*/ 0 w 282"/>
                  <a:gd name="T49" fmla="*/ 2147483647 h 336"/>
                  <a:gd name="T50" fmla="*/ 2147483647 w 282"/>
                  <a:gd name="T51" fmla="*/ 2147483647 h 336"/>
                  <a:gd name="T52" fmla="*/ 2147483647 w 282"/>
                  <a:gd name="T53" fmla="*/ 2147483647 h 336"/>
                  <a:gd name="T54" fmla="*/ 2147483647 w 282"/>
                  <a:gd name="T55" fmla="*/ 2147483647 h 336"/>
                  <a:gd name="T56" fmla="*/ 2147483647 w 282"/>
                  <a:gd name="T57" fmla="*/ 2147483647 h 336"/>
                  <a:gd name="T58" fmla="*/ 2147483647 w 282"/>
                  <a:gd name="T59" fmla="*/ 2147483647 h 336"/>
                  <a:gd name="T60" fmla="*/ 2147483647 w 282"/>
                  <a:gd name="T61" fmla="*/ 2147483647 h 336"/>
                  <a:gd name="T62" fmla="*/ 2147483647 w 282"/>
                  <a:gd name="T63" fmla="*/ 2147483647 h 336"/>
                  <a:gd name="T64" fmla="*/ 2147483647 w 282"/>
                  <a:gd name="T65" fmla="*/ 2147483647 h 336"/>
                  <a:gd name="T66" fmla="*/ 2147483647 w 282"/>
                  <a:gd name="T67" fmla="*/ 2147483647 h 336"/>
                  <a:gd name="T68" fmla="*/ 2147483647 w 282"/>
                  <a:gd name="T69" fmla="*/ 2147483647 h 336"/>
                  <a:gd name="T70" fmla="*/ 2147483647 w 282"/>
                  <a:gd name="T71" fmla="*/ 2147483647 h 336"/>
                  <a:gd name="T72" fmla="*/ 2147483647 w 282"/>
                  <a:gd name="T73" fmla="*/ 2147483647 h 336"/>
                  <a:gd name="T74" fmla="*/ 2147483647 w 282"/>
                  <a:gd name="T75" fmla="*/ 2147483647 h 336"/>
                  <a:gd name="T76" fmla="*/ 2147483647 w 282"/>
                  <a:gd name="T77" fmla="*/ 2147483647 h 336"/>
                  <a:gd name="T78" fmla="*/ 2147483647 w 282"/>
                  <a:gd name="T79" fmla="*/ 2147483647 h 336"/>
                  <a:gd name="T80" fmla="*/ 2147483647 w 282"/>
                  <a:gd name="T81" fmla="*/ 2147483647 h 336"/>
                  <a:gd name="T82" fmla="*/ 2147483647 w 282"/>
                  <a:gd name="T83" fmla="*/ 2147483647 h 336"/>
                  <a:gd name="T84" fmla="*/ 2147483647 w 282"/>
                  <a:gd name="T85" fmla="*/ 2147483647 h 336"/>
                  <a:gd name="T86" fmla="*/ 2147483647 w 282"/>
                  <a:gd name="T87" fmla="*/ 2147483647 h 336"/>
                  <a:gd name="T88" fmla="*/ 2147483647 w 282"/>
                  <a:gd name="T89" fmla="*/ 2147483647 h 336"/>
                  <a:gd name="T90" fmla="*/ 2147483647 w 282"/>
                  <a:gd name="T91" fmla="*/ 2147483647 h 336"/>
                  <a:gd name="T92" fmla="*/ 2147483647 w 282"/>
                  <a:gd name="T93" fmla="*/ 2147483647 h 336"/>
                  <a:gd name="T94" fmla="*/ 2147483647 w 282"/>
                  <a:gd name="T95" fmla="*/ 2147483647 h 336"/>
                  <a:gd name="T96" fmla="*/ 2147483647 w 282"/>
                  <a:gd name="T97" fmla="*/ 2147483647 h 336"/>
                  <a:gd name="T98" fmla="*/ 2147483647 w 282"/>
                  <a:gd name="T99" fmla="*/ 2147483647 h 336"/>
                  <a:gd name="T100" fmla="*/ 2147483647 w 282"/>
                  <a:gd name="T101" fmla="*/ 2147483647 h 336"/>
                  <a:gd name="T102" fmla="*/ 2147483647 w 282"/>
                  <a:gd name="T103" fmla="*/ 2147483647 h 336"/>
                  <a:gd name="T104" fmla="*/ 2147483647 w 282"/>
                  <a:gd name="T105" fmla="*/ 2147483647 h 336"/>
                  <a:gd name="T106" fmla="*/ 2147483647 w 282"/>
                  <a:gd name="T107" fmla="*/ 2147483647 h 336"/>
                  <a:gd name="T108" fmla="*/ 2147483647 w 282"/>
                  <a:gd name="T109" fmla="*/ 2147483647 h 336"/>
                  <a:gd name="T110" fmla="*/ 2147483647 w 282"/>
                  <a:gd name="T111" fmla="*/ 2147483647 h 336"/>
                  <a:gd name="T112" fmla="*/ 2147483647 w 282"/>
                  <a:gd name="T113" fmla="*/ 2147483647 h 336"/>
                  <a:gd name="T114" fmla="*/ 2147483647 w 282"/>
                  <a:gd name="T115" fmla="*/ 2147483647 h 336"/>
                  <a:gd name="T116" fmla="*/ 2147483647 w 282"/>
                  <a:gd name="T117" fmla="*/ 2147483647 h 336"/>
                  <a:gd name="T118" fmla="*/ 2147483647 w 282"/>
                  <a:gd name="T119" fmla="*/ 2147483647 h 336"/>
                  <a:gd name="T120" fmla="*/ 2147483647 w 282"/>
                  <a:gd name="T121" fmla="*/ 2147483647 h 336"/>
                  <a:gd name="T122" fmla="*/ 2147483647 w 282"/>
                  <a:gd name="T123" fmla="*/ 2147483647 h 3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82"/>
                  <a:gd name="T187" fmla="*/ 0 h 336"/>
                  <a:gd name="T188" fmla="*/ 282 w 282"/>
                  <a:gd name="T189" fmla="*/ 336 h 3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82" h="336">
                    <a:moveTo>
                      <a:pt x="258" y="60"/>
                    </a:moveTo>
                    <a:lnTo>
                      <a:pt x="258" y="42"/>
                    </a:lnTo>
                    <a:lnTo>
                      <a:pt x="234" y="0"/>
                    </a:lnTo>
                    <a:lnTo>
                      <a:pt x="222" y="6"/>
                    </a:lnTo>
                    <a:lnTo>
                      <a:pt x="198" y="30"/>
                    </a:lnTo>
                    <a:lnTo>
                      <a:pt x="138" y="78"/>
                    </a:lnTo>
                    <a:lnTo>
                      <a:pt x="114" y="84"/>
                    </a:lnTo>
                    <a:lnTo>
                      <a:pt x="96" y="84"/>
                    </a:lnTo>
                    <a:lnTo>
                      <a:pt x="84" y="78"/>
                    </a:lnTo>
                    <a:lnTo>
                      <a:pt x="72" y="66"/>
                    </a:lnTo>
                    <a:lnTo>
                      <a:pt x="36" y="48"/>
                    </a:lnTo>
                    <a:lnTo>
                      <a:pt x="30" y="48"/>
                    </a:lnTo>
                    <a:lnTo>
                      <a:pt x="24" y="66"/>
                    </a:lnTo>
                    <a:lnTo>
                      <a:pt x="30" y="138"/>
                    </a:lnTo>
                    <a:lnTo>
                      <a:pt x="18" y="150"/>
                    </a:lnTo>
                    <a:lnTo>
                      <a:pt x="18" y="162"/>
                    </a:lnTo>
                    <a:lnTo>
                      <a:pt x="30" y="174"/>
                    </a:lnTo>
                    <a:lnTo>
                      <a:pt x="30" y="186"/>
                    </a:lnTo>
                    <a:lnTo>
                      <a:pt x="24" y="198"/>
                    </a:lnTo>
                    <a:lnTo>
                      <a:pt x="18" y="204"/>
                    </a:lnTo>
                    <a:lnTo>
                      <a:pt x="12" y="216"/>
                    </a:lnTo>
                    <a:lnTo>
                      <a:pt x="6" y="222"/>
                    </a:lnTo>
                    <a:lnTo>
                      <a:pt x="6" y="282"/>
                    </a:lnTo>
                    <a:lnTo>
                      <a:pt x="0" y="294"/>
                    </a:lnTo>
                    <a:lnTo>
                      <a:pt x="0" y="312"/>
                    </a:lnTo>
                    <a:lnTo>
                      <a:pt x="6" y="324"/>
                    </a:lnTo>
                    <a:lnTo>
                      <a:pt x="24" y="324"/>
                    </a:lnTo>
                    <a:lnTo>
                      <a:pt x="48" y="336"/>
                    </a:lnTo>
                    <a:lnTo>
                      <a:pt x="84" y="336"/>
                    </a:lnTo>
                    <a:lnTo>
                      <a:pt x="96" y="324"/>
                    </a:lnTo>
                    <a:lnTo>
                      <a:pt x="108" y="300"/>
                    </a:lnTo>
                    <a:lnTo>
                      <a:pt x="108" y="288"/>
                    </a:lnTo>
                    <a:lnTo>
                      <a:pt x="120" y="276"/>
                    </a:lnTo>
                    <a:lnTo>
                      <a:pt x="126" y="276"/>
                    </a:lnTo>
                    <a:lnTo>
                      <a:pt x="138" y="270"/>
                    </a:lnTo>
                    <a:lnTo>
                      <a:pt x="150" y="270"/>
                    </a:lnTo>
                    <a:lnTo>
                      <a:pt x="162" y="264"/>
                    </a:lnTo>
                    <a:lnTo>
                      <a:pt x="168" y="258"/>
                    </a:lnTo>
                    <a:lnTo>
                      <a:pt x="174" y="246"/>
                    </a:lnTo>
                    <a:lnTo>
                      <a:pt x="180" y="240"/>
                    </a:lnTo>
                    <a:lnTo>
                      <a:pt x="180" y="228"/>
                    </a:lnTo>
                    <a:lnTo>
                      <a:pt x="186" y="222"/>
                    </a:lnTo>
                    <a:lnTo>
                      <a:pt x="186" y="210"/>
                    </a:lnTo>
                    <a:lnTo>
                      <a:pt x="180" y="204"/>
                    </a:lnTo>
                    <a:lnTo>
                      <a:pt x="168" y="180"/>
                    </a:lnTo>
                    <a:lnTo>
                      <a:pt x="144" y="156"/>
                    </a:lnTo>
                    <a:lnTo>
                      <a:pt x="132" y="156"/>
                    </a:lnTo>
                    <a:lnTo>
                      <a:pt x="120" y="150"/>
                    </a:lnTo>
                    <a:lnTo>
                      <a:pt x="96" y="150"/>
                    </a:lnTo>
                    <a:lnTo>
                      <a:pt x="96" y="144"/>
                    </a:lnTo>
                    <a:lnTo>
                      <a:pt x="108" y="144"/>
                    </a:lnTo>
                    <a:lnTo>
                      <a:pt x="120" y="138"/>
                    </a:lnTo>
                    <a:lnTo>
                      <a:pt x="186" y="138"/>
                    </a:lnTo>
                    <a:lnTo>
                      <a:pt x="198" y="114"/>
                    </a:lnTo>
                    <a:lnTo>
                      <a:pt x="240" y="114"/>
                    </a:lnTo>
                    <a:lnTo>
                      <a:pt x="252" y="108"/>
                    </a:lnTo>
                    <a:lnTo>
                      <a:pt x="258" y="102"/>
                    </a:lnTo>
                    <a:lnTo>
                      <a:pt x="264" y="102"/>
                    </a:lnTo>
                    <a:lnTo>
                      <a:pt x="276" y="96"/>
                    </a:lnTo>
                    <a:lnTo>
                      <a:pt x="282" y="90"/>
                    </a:lnTo>
                    <a:lnTo>
                      <a:pt x="282" y="78"/>
                    </a:lnTo>
                    <a:lnTo>
                      <a:pt x="258" y="60"/>
                    </a:lnTo>
                    <a:close/>
                  </a:path>
                </a:pathLst>
              </a:custGeom>
              <a:solidFill>
                <a:srgbClr val="9D90A0">
                  <a:lumMod val="40000"/>
                  <a:lumOff val="60000"/>
                </a:srgbClr>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11" name="Vietnam" descr="© INSCALE GmbH, 05.05.2010&#10;http://www.presentationload.com/">
                <a:extLst>
                  <a:ext uri="{FF2B5EF4-FFF2-40B4-BE49-F238E27FC236}">
                    <a16:creationId xmlns:a16="http://schemas.microsoft.com/office/drawing/2014/main" id="{250FA545-35FE-4FAD-AEC0-9B73969AF1C1}"/>
                  </a:ext>
                </a:extLst>
              </p:cNvPr>
              <p:cNvSpPr>
                <a:spLocks/>
              </p:cNvSpPr>
              <p:nvPr/>
            </p:nvSpPr>
            <p:spPr bwMode="gray">
              <a:xfrm>
                <a:off x="7038142" y="3725804"/>
                <a:ext cx="238666" cy="523275"/>
              </a:xfrm>
              <a:custGeom>
                <a:avLst/>
                <a:gdLst>
                  <a:gd name="T0" fmla="*/ 2147483647 w 606"/>
                  <a:gd name="T1" fmla="*/ 2147483647 h 1194"/>
                  <a:gd name="T2" fmla="*/ 2147483647 w 606"/>
                  <a:gd name="T3" fmla="*/ 2147483647 h 1194"/>
                  <a:gd name="T4" fmla="*/ 2147483647 w 606"/>
                  <a:gd name="T5" fmla="*/ 2147483647 h 1194"/>
                  <a:gd name="T6" fmla="*/ 2147483647 w 606"/>
                  <a:gd name="T7" fmla="*/ 2147483647 h 1194"/>
                  <a:gd name="T8" fmla="*/ 2147483647 w 606"/>
                  <a:gd name="T9" fmla="*/ 2147483647 h 1194"/>
                  <a:gd name="T10" fmla="*/ 2147483647 w 606"/>
                  <a:gd name="T11" fmla="*/ 2147483647 h 1194"/>
                  <a:gd name="T12" fmla="*/ 2147483647 w 606"/>
                  <a:gd name="T13" fmla="*/ 2147483647 h 1194"/>
                  <a:gd name="T14" fmla="*/ 2147483647 w 606"/>
                  <a:gd name="T15" fmla="*/ 2147483647 h 1194"/>
                  <a:gd name="T16" fmla="*/ 2147483647 w 606"/>
                  <a:gd name="T17" fmla="*/ 2147483647 h 1194"/>
                  <a:gd name="T18" fmla="*/ 2147483647 w 606"/>
                  <a:gd name="T19" fmla="*/ 2147483647 h 1194"/>
                  <a:gd name="T20" fmla="*/ 2147483647 w 606"/>
                  <a:gd name="T21" fmla="*/ 2147483647 h 1194"/>
                  <a:gd name="T22" fmla="*/ 2147483647 w 606"/>
                  <a:gd name="T23" fmla="*/ 2147483647 h 1194"/>
                  <a:gd name="T24" fmla="*/ 2147483647 w 606"/>
                  <a:gd name="T25" fmla="*/ 2147483647 h 1194"/>
                  <a:gd name="T26" fmla="*/ 2147483647 w 606"/>
                  <a:gd name="T27" fmla="*/ 2147483647 h 1194"/>
                  <a:gd name="T28" fmla="*/ 2147483647 w 606"/>
                  <a:gd name="T29" fmla="*/ 2147483647 h 1194"/>
                  <a:gd name="T30" fmla="*/ 2147483647 w 606"/>
                  <a:gd name="T31" fmla="*/ 2147483647 h 1194"/>
                  <a:gd name="T32" fmla="*/ 2147483647 w 606"/>
                  <a:gd name="T33" fmla="*/ 2147483647 h 1194"/>
                  <a:gd name="T34" fmla="*/ 2147483647 w 606"/>
                  <a:gd name="T35" fmla="*/ 2147483647 h 1194"/>
                  <a:gd name="T36" fmla="*/ 2147483647 w 606"/>
                  <a:gd name="T37" fmla="*/ 2147483647 h 1194"/>
                  <a:gd name="T38" fmla="*/ 2147483647 w 606"/>
                  <a:gd name="T39" fmla="*/ 2147483647 h 1194"/>
                  <a:gd name="T40" fmla="*/ 2147483647 w 606"/>
                  <a:gd name="T41" fmla="*/ 2147483647 h 1194"/>
                  <a:gd name="T42" fmla="*/ 2147483647 w 606"/>
                  <a:gd name="T43" fmla="*/ 2147483647 h 1194"/>
                  <a:gd name="T44" fmla="*/ 2147483647 w 606"/>
                  <a:gd name="T45" fmla="*/ 2147483647 h 1194"/>
                  <a:gd name="T46" fmla="*/ 2147483647 w 606"/>
                  <a:gd name="T47" fmla="*/ 2147483647 h 1194"/>
                  <a:gd name="T48" fmla="*/ 2147483647 w 606"/>
                  <a:gd name="T49" fmla="*/ 2147483647 h 1194"/>
                  <a:gd name="T50" fmla="*/ 2147483647 w 606"/>
                  <a:gd name="T51" fmla="*/ 2147483647 h 1194"/>
                  <a:gd name="T52" fmla="*/ 2147483647 w 606"/>
                  <a:gd name="T53" fmla="*/ 2147483647 h 1194"/>
                  <a:gd name="T54" fmla="*/ 2147483647 w 606"/>
                  <a:gd name="T55" fmla="*/ 2147483647 h 1194"/>
                  <a:gd name="T56" fmla="*/ 2147483647 w 606"/>
                  <a:gd name="T57" fmla="*/ 2147483647 h 1194"/>
                  <a:gd name="T58" fmla="*/ 2147483647 w 606"/>
                  <a:gd name="T59" fmla="*/ 2147483647 h 1194"/>
                  <a:gd name="T60" fmla="*/ 2147483647 w 606"/>
                  <a:gd name="T61" fmla="*/ 2147483647 h 1194"/>
                  <a:gd name="T62" fmla="*/ 2147483647 w 606"/>
                  <a:gd name="T63" fmla="*/ 2147483647 h 1194"/>
                  <a:gd name="T64" fmla="*/ 2147483647 w 606"/>
                  <a:gd name="T65" fmla="*/ 2147483647 h 1194"/>
                  <a:gd name="T66" fmla="*/ 2147483647 w 606"/>
                  <a:gd name="T67" fmla="*/ 2147483647 h 1194"/>
                  <a:gd name="T68" fmla="*/ 2147483647 w 606"/>
                  <a:gd name="T69" fmla="*/ 2147483647 h 1194"/>
                  <a:gd name="T70" fmla="*/ 2147483647 w 606"/>
                  <a:gd name="T71" fmla="*/ 2147483647 h 1194"/>
                  <a:gd name="T72" fmla="*/ 2147483647 w 606"/>
                  <a:gd name="T73" fmla="*/ 2147483647 h 1194"/>
                  <a:gd name="T74" fmla="*/ 2147483647 w 606"/>
                  <a:gd name="T75" fmla="*/ 2147483647 h 1194"/>
                  <a:gd name="T76" fmla="*/ 2147483647 w 606"/>
                  <a:gd name="T77" fmla="*/ 2147483647 h 1194"/>
                  <a:gd name="T78" fmla="*/ 2147483647 w 606"/>
                  <a:gd name="T79" fmla="*/ 2147483647 h 1194"/>
                  <a:gd name="T80" fmla="*/ 2147483647 w 606"/>
                  <a:gd name="T81" fmla="*/ 2147483647 h 1194"/>
                  <a:gd name="T82" fmla="*/ 2147483647 w 606"/>
                  <a:gd name="T83" fmla="*/ 2147483647 h 1194"/>
                  <a:gd name="T84" fmla="*/ 2147483647 w 606"/>
                  <a:gd name="T85" fmla="*/ 2147483647 h 1194"/>
                  <a:gd name="T86" fmla="*/ 2147483647 w 606"/>
                  <a:gd name="T87" fmla="*/ 2147483647 h 1194"/>
                  <a:gd name="T88" fmla="*/ 2147483647 w 606"/>
                  <a:gd name="T89" fmla="*/ 2147483647 h 1194"/>
                  <a:gd name="T90" fmla="*/ 2147483647 w 606"/>
                  <a:gd name="T91" fmla="*/ 2147483647 h 1194"/>
                  <a:gd name="T92" fmla="*/ 2147483647 w 606"/>
                  <a:gd name="T93" fmla="*/ 2147483647 h 1194"/>
                  <a:gd name="T94" fmla="*/ 2147483647 w 606"/>
                  <a:gd name="T95" fmla="*/ 2147483647 h 1194"/>
                  <a:gd name="T96" fmla="*/ 2147483647 w 606"/>
                  <a:gd name="T97" fmla="*/ 2147483647 h 1194"/>
                  <a:gd name="T98" fmla="*/ 2147483647 w 606"/>
                  <a:gd name="T99" fmla="*/ 2147483647 h 1194"/>
                  <a:gd name="T100" fmla="*/ 2147483647 w 606"/>
                  <a:gd name="T101" fmla="*/ 2147483647 h 1194"/>
                  <a:gd name="T102" fmla="*/ 2147483647 w 606"/>
                  <a:gd name="T103" fmla="*/ 2147483647 h 1194"/>
                  <a:gd name="T104" fmla="*/ 2147483647 w 606"/>
                  <a:gd name="T105" fmla="*/ 2147483647 h 1194"/>
                  <a:gd name="T106" fmla="*/ 2147483647 w 606"/>
                  <a:gd name="T107" fmla="*/ 2147483647 h 1194"/>
                  <a:gd name="T108" fmla="*/ 2147483647 w 606"/>
                  <a:gd name="T109" fmla="*/ 2147483647 h 1194"/>
                  <a:gd name="T110" fmla="*/ 2147483647 w 606"/>
                  <a:gd name="T111" fmla="*/ 2147483647 h 1194"/>
                  <a:gd name="T112" fmla="*/ 2147483647 w 606"/>
                  <a:gd name="T113" fmla="*/ 2147483647 h 1194"/>
                  <a:gd name="T114" fmla="*/ 2147483647 w 606"/>
                  <a:gd name="T115" fmla="*/ 2147483647 h 1194"/>
                  <a:gd name="T116" fmla="*/ 2147483647 w 606"/>
                  <a:gd name="T117" fmla="*/ 2147483647 h 1194"/>
                  <a:gd name="T118" fmla="*/ 2147483647 w 606"/>
                  <a:gd name="T119" fmla="*/ 2147483647 h 1194"/>
                  <a:gd name="T120" fmla="*/ 2147483647 w 606"/>
                  <a:gd name="T121" fmla="*/ 2147483647 h 1194"/>
                  <a:gd name="T122" fmla="*/ 2147483647 w 606"/>
                  <a:gd name="T123" fmla="*/ 2147483647 h 119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06"/>
                  <a:gd name="T187" fmla="*/ 0 h 1194"/>
                  <a:gd name="T188" fmla="*/ 606 w 606"/>
                  <a:gd name="T189" fmla="*/ 1194 h 119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06" h="1194">
                    <a:moveTo>
                      <a:pt x="6" y="48"/>
                    </a:moveTo>
                    <a:lnTo>
                      <a:pt x="0" y="60"/>
                    </a:lnTo>
                    <a:lnTo>
                      <a:pt x="0" y="72"/>
                    </a:lnTo>
                    <a:lnTo>
                      <a:pt x="12" y="96"/>
                    </a:lnTo>
                    <a:lnTo>
                      <a:pt x="18" y="102"/>
                    </a:lnTo>
                    <a:lnTo>
                      <a:pt x="24" y="114"/>
                    </a:lnTo>
                    <a:lnTo>
                      <a:pt x="36" y="120"/>
                    </a:lnTo>
                    <a:lnTo>
                      <a:pt x="42" y="132"/>
                    </a:lnTo>
                    <a:lnTo>
                      <a:pt x="48" y="126"/>
                    </a:lnTo>
                    <a:lnTo>
                      <a:pt x="54" y="126"/>
                    </a:lnTo>
                    <a:lnTo>
                      <a:pt x="54" y="156"/>
                    </a:lnTo>
                    <a:lnTo>
                      <a:pt x="66" y="180"/>
                    </a:lnTo>
                    <a:lnTo>
                      <a:pt x="84" y="198"/>
                    </a:lnTo>
                    <a:lnTo>
                      <a:pt x="90" y="210"/>
                    </a:lnTo>
                    <a:lnTo>
                      <a:pt x="108" y="210"/>
                    </a:lnTo>
                    <a:lnTo>
                      <a:pt x="108" y="216"/>
                    </a:lnTo>
                    <a:lnTo>
                      <a:pt x="120" y="228"/>
                    </a:lnTo>
                    <a:lnTo>
                      <a:pt x="126" y="222"/>
                    </a:lnTo>
                    <a:lnTo>
                      <a:pt x="132" y="210"/>
                    </a:lnTo>
                    <a:lnTo>
                      <a:pt x="132" y="204"/>
                    </a:lnTo>
                    <a:lnTo>
                      <a:pt x="138" y="192"/>
                    </a:lnTo>
                    <a:lnTo>
                      <a:pt x="150" y="192"/>
                    </a:lnTo>
                    <a:lnTo>
                      <a:pt x="162" y="198"/>
                    </a:lnTo>
                    <a:lnTo>
                      <a:pt x="186" y="222"/>
                    </a:lnTo>
                    <a:lnTo>
                      <a:pt x="180" y="222"/>
                    </a:lnTo>
                    <a:lnTo>
                      <a:pt x="174" y="228"/>
                    </a:lnTo>
                    <a:lnTo>
                      <a:pt x="174" y="234"/>
                    </a:lnTo>
                    <a:lnTo>
                      <a:pt x="198" y="246"/>
                    </a:lnTo>
                    <a:lnTo>
                      <a:pt x="216" y="252"/>
                    </a:lnTo>
                    <a:lnTo>
                      <a:pt x="228" y="258"/>
                    </a:lnTo>
                    <a:lnTo>
                      <a:pt x="228" y="270"/>
                    </a:lnTo>
                    <a:lnTo>
                      <a:pt x="222" y="282"/>
                    </a:lnTo>
                    <a:lnTo>
                      <a:pt x="210" y="288"/>
                    </a:lnTo>
                    <a:lnTo>
                      <a:pt x="204" y="300"/>
                    </a:lnTo>
                    <a:lnTo>
                      <a:pt x="198" y="306"/>
                    </a:lnTo>
                    <a:lnTo>
                      <a:pt x="180" y="306"/>
                    </a:lnTo>
                    <a:lnTo>
                      <a:pt x="174" y="300"/>
                    </a:lnTo>
                    <a:lnTo>
                      <a:pt x="150" y="300"/>
                    </a:lnTo>
                    <a:lnTo>
                      <a:pt x="156" y="306"/>
                    </a:lnTo>
                    <a:lnTo>
                      <a:pt x="156" y="324"/>
                    </a:lnTo>
                    <a:lnTo>
                      <a:pt x="168" y="330"/>
                    </a:lnTo>
                    <a:lnTo>
                      <a:pt x="174" y="336"/>
                    </a:lnTo>
                    <a:lnTo>
                      <a:pt x="210" y="354"/>
                    </a:lnTo>
                    <a:lnTo>
                      <a:pt x="222" y="366"/>
                    </a:lnTo>
                    <a:lnTo>
                      <a:pt x="234" y="372"/>
                    </a:lnTo>
                    <a:lnTo>
                      <a:pt x="240" y="378"/>
                    </a:lnTo>
                    <a:lnTo>
                      <a:pt x="252" y="378"/>
                    </a:lnTo>
                    <a:lnTo>
                      <a:pt x="252" y="408"/>
                    </a:lnTo>
                    <a:lnTo>
                      <a:pt x="258" y="414"/>
                    </a:lnTo>
                    <a:lnTo>
                      <a:pt x="270" y="414"/>
                    </a:lnTo>
                    <a:lnTo>
                      <a:pt x="282" y="420"/>
                    </a:lnTo>
                    <a:lnTo>
                      <a:pt x="288" y="426"/>
                    </a:lnTo>
                    <a:lnTo>
                      <a:pt x="294" y="426"/>
                    </a:lnTo>
                    <a:lnTo>
                      <a:pt x="294" y="450"/>
                    </a:lnTo>
                    <a:lnTo>
                      <a:pt x="306" y="474"/>
                    </a:lnTo>
                    <a:lnTo>
                      <a:pt x="324" y="486"/>
                    </a:lnTo>
                    <a:lnTo>
                      <a:pt x="342" y="504"/>
                    </a:lnTo>
                    <a:lnTo>
                      <a:pt x="348" y="522"/>
                    </a:lnTo>
                    <a:lnTo>
                      <a:pt x="366" y="522"/>
                    </a:lnTo>
                    <a:lnTo>
                      <a:pt x="366" y="528"/>
                    </a:lnTo>
                    <a:lnTo>
                      <a:pt x="372" y="534"/>
                    </a:lnTo>
                    <a:lnTo>
                      <a:pt x="384" y="558"/>
                    </a:lnTo>
                    <a:lnTo>
                      <a:pt x="396" y="570"/>
                    </a:lnTo>
                    <a:lnTo>
                      <a:pt x="408" y="570"/>
                    </a:lnTo>
                    <a:lnTo>
                      <a:pt x="414" y="576"/>
                    </a:lnTo>
                    <a:lnTo>
                      <a:pt x="426" y="582"/>
                    </a:lnTo>
                    <a:lnTo>
                      <a:pt x="432" y="588"/>
                    </a:lnTo>
                    <a:lnTo>
                      <a:pt x="432" y="600"/>
                    </a:lnTo>
                    <a:lnTo>
                      <a:pt x="426" y="606"/>
                    </a:lnTo>
                    <a:lnTo>
                      <a:pt x="420" y="606"/>
                    </a:lnTo>
                    <a:lnTo>
                      <a:pt x="414" y="612"/>
                    </a:lnTo>
                    <a:lnTo>
                      <a:pt x="408" y="612"/>
                    </a:lnTo>
                    <a:lnTo>
                      <a:pt x="432" y="636"/>
                    </a:lnTo>
                    <a:lnTo>
                      <a:pt x="456" y="648"/>
                    </a:lnTo>
                    <a:lnTo>
                      <a:pt x="462" y="654"/>
                    </a:lnTo>
                    <a:lnTo>
                      <a:pt x="468" y="654"/>
                    </a:lnTo>
                    <a:lnTo>
                      <a:pt x="450" y="690"/>
                    </a:lnTo>
                    <a:lnTo>
                      <a:pt x="456" y="690"/>
                    </a:lnTo>
                    <a:lnTo>
                      <a:pt x="468" y="702"/>
                    </a:lnTo>
                    <a:lnTo>
                      <a:pt x="468" y="708"/>
                    </a:lnTo>
                    <a:lnTo>
                      <a:pt x="456" y="720"/>
                    </a:lnTo>
                    <a:lnTo>
                      <a:pt x="450" y="720"/>
                    </a:lnTo>
                    <a:lnTo>
                      <a:pt x="450" y="762"/>
                    </a:lnTo>
                    <a:lnTo>
                      <a:pt x="456" y="762"/>
                    </a:lnTo>
                    <a:lnTo>
                      <a:pt x="468" y="774"/>
                    </a:lnTo>
                    <a:lnTo>
                      <a:pt x="480" y="798"/>
                    </a:lnTo>
                    <a:lnTo>
                      <a:pt x="480" y="804"/>
                    </a:lnTo>
                    <a:lnTo>
                      <a:pt x="468" y="816"/>
                    </a:lnTo>
                    <a:lnTo>
                      <a:pt x="462" y="816"/>
                    </a:lnTo>
                    <a:lnTo>
                      <a:pt x="462" y="828"/>
                    </a:lnTo>
                    <a:lnTo>
                      <a:pt x="468" y="834"/>
                    </a:lnTo>
                    <a:lnTo>
                      <a:pt x="468" y="864"/>
                    </a:lnTo>
                    <a:lnTo>
                      <a:pt x="474" y="870"/>
                    </a:lnTo>
                    <a:lnTo>
                      <a:pt x="474" y="900"/>
                    </a:lnTo>
                    <a:lnTo>
                      <a:pt x="462" y="894"/>
                    </a:lnTo>
                    <a:lnTo>
                      <a:pt x="444" y="894"/>
                    </a:lnTo>
                    <a:lnTo>
                      <a:pt x="438" y="900"/>
                    </a:lnTo>
                    <a:lnTo>
                      <a:pt x="438" y="918"/>
                    </a:lnTo>
                    <a:lnTo>
                      <a:pt x="408" y="918"/>
                    </a:lnTo>
                    <a:lnTo>
                      <a:pt x="408" y="942"/>
                    </a:lnTo>
                    <a:lnTo>
                      <a:pt x="366" y="942"/>
                    </a:lnTo>
                    <a:lnTo>
                      <a:pt x="366" y="966"/>
                    </a:lnTo>
                    <a:lnTo>
                      <a:pt x="378" y="990"/>
                    </a:lnTo>
                    <a:lnTo>
                      <a:pt x="396" y="1008"/>
                    </a:lnTo>
                    <a:lnTo>
                      <a:pt x="396" y="1020"/>
                    </a:lnTo>
                    <a:lnTo>
                      <a:pt x="390" y="1014"/>
                    </a:lnTo>
                    <a:lnTo>
                      <a:pt x="378" y="1008"/>
                    </a:lnTo>
                    <a:lnTo>
                      <a:pt x="372" y="1002"/>
                    </a:lnTo>
                    <a:lnTo>
                      <a:pt x="360" y="996"/>
                    </a:lnTo>
                    <a:lnTo>
                      <a:pt x="348" y="996"/>
                    </a:lnTo>
                    <a:lnTo>
                      <a:pt x="342" y="1002"/>
                    </a:lnTo>
                    <a:lnTo>
                      <a:pt x="342" y="1008"/>
                    </a:lnTo>
                    <a:lnTo>
                      <a:pt x="306" y="1008"/>
                    </a:lnTo>
                    <a:lnTo>
                      <a:pt x="312" y="1014"/>
                    </a:lnTo>
                    <a:lnTo>
                      <a:pt x="318" y="1014"/>
                    </a:lnTo>
                    <a:lnTo>
                      <a:pt x="324" y="1020"/>
                    </a:lnTo>
                    <a:lnTo>
                      <a:pt x="324" y="1026"/>
                    </a:lnTo>
                    <a:lnTo>
                      <a:pt x="312" y="1032"/>
                    </a:lnTo>
                    <a:lnTo>
                      <a:pt x="294" y="1032"/>
                    </a:lnTo>
                    <a:lnTo>
                      <a:pt x="276" y="1038"/>
                    </a:lnTo>
                    <a:lnTo>
                      <a:pt x="270" y="1050"/>
                    </a:lnTo>
                    <a:lnTo>
                      <a:pt x="270" y="1056"/>
                    </a:lnTo>
                    <a:lnTo>
                      <a:pt x="288" y="1074"/>
                    </a:lnTo>
                    <a:lnTo>
                      <a:pt x="300" y="1080"/>
                    </a:lnTo>
                    <a:lnTo>
                      <a:pt x="306" y="1086"/>
                    </a:lnTo>
                    <a:lnTo>
                      <a:pt x="312" y="1086"/>
                    </a:lnTo>
                    <a:lnTo>
                      <a:pt x="294" y="1104"/>
                    </a:lnTo>
                    <a:lnTo>
                      <a:pt x="294" y="1110"/>
                    </a:lnTo>
                    <a:lnTo>
                      <a:pt x="300" y="1116"/>
                    </a:lnTo>
                    <a:lnTo>
                      <a:pt x="300" y="1128"/>
                    </a:lnTo>
                    <a:lnTo>
                      <a:pt x="306" y="1140"/>
                    </a:lnTo>
                    <a:lnTo>
                      <a:pt x="306" y="1152"/>
                    </a:lnTo>
                    <a:lnTo>
                      <a:pt x="312" y="1158"/>
                    </a:lnTo>
                    <a:lnTo>
                      <a:pt x="294" y="1176"/>
                    </a:lnTo>
                    <a:lnTo>
                      <a:pt x="294" y="1188"/>
                    </a:lnTo>
                    <a:lnTo>
                      <a:pt x="306" y="1194"/>
                    </a:lnTo>
                    <a:lnTo>
                      <a:pt x="318" y="1194"/>
                    </a:lnTo>
                    <a:lnTo>
                      <a:pt x="330" y="1188"/>
                    </a:lnTo>
                    <a:lnTo>
                      <a:pt x="354" y="1164"/>
                    </a:lnTo>
                    <a:lnTo>
                      <a:pt x="366" y="1158"/>
                    </a:lnTo>
                    <a:lnTo>
                      <a:pt x="378" y="1158"/>
                    </a:lnTo>
                    <a:lnTo>
                      <a:pt x="384" y="1134"/>
                    </a:lnTo>
                    <a:lnTo>
                      <a:pt x="384" y="1110"/>
                    </a:lnTo>
                    <a:lnTo>
                      <a:pt x="396" y="1110"/>
                    </a:lnTo>
                    <a:lnTo>
                      <a:pt x="402" y="1116"/>
                    </a:lnTo>
                    <a:lnTo>
                      <a:pt x="414" y="1116"/>
                    </a:lnTo>
                    <a:lnTo>
                      <a:pt x="426" y="1104"/>
                    </a:lnTo>
                    <a:lnTo>
                      <a:pt x="426" y="1092"/>
                    </a:lnTo>
                    <a:lnTo>
                      <a:pt x="420" y="1086"/>
                    </a:lnTo>
                    <a:lnTo>
                      <a:pt x="414" y="1074"/>
                    </a:lnTo>
                    <a:lnTo>
                      <a:pt x="408" y="1068"/>
                    </a:lnTo>
                    <a:lnTo>
                      <a:pt x="408" y="1062"/>
                    </a:lnTo>
                    <a:lnTo>
                      <a:pt x="414" y="1056"/>
                    </a:lnTo>
                    <a:lnTo>
                      <a:pt x="426" y="1056"/>
                    </a:lnTo>
                    <a:lnTo>
                      <a:pt x="438" y="1050"/>
                    </a:lnTo>
                    <a:lnTo>
                      <a:pt x="444" y="1044"/>
                    </a:lnTo>
                    <a:lnTo>
                      <a:pt x="450" y="1044"/>
                    </a:lnTo>
                    <a:lnTo>
                      <a:pt x="456" y="1050"/>
                    </a:lnTo>
                    <a:lnTo>
                      <a:pt x="468" y="1050"/>
                    </a:lnTo>
                    <a:lnTo>
                      <a:pt x="480" y="1044"/>
                    </a:lnTo>
                    <a:lnTo>
                      <a:pt x="498" y="1038"/>
                    </a:lnTo>
                    <a:lnTo>
                      <a:pt x="546" y="1014"/>
                    </a:lnTo>
                    <a:lnTo>
                      <a:pt x="582" y="978"/>
                    </a:lnTo>
                    <a:lnTo>
                      <a:pt x="588" y="960"/>
                    </a:lnTo>
                    <a:lnTo>
                      <a:pt x="594" y="936"/>
                    </a:lnTo>
                    <a:lnTo>
                      <a:pt x="606" y="876"/>
                    </a:lnTo>
                    <a:lnTo>
                      <a:pt x="606" y="846"/>
                    </a:lnTo>
                    <a:lnTo>
                      <a:pt x="600" y="834"/>
                    </a:lnTo>
                    <a:lnTo>
                      <a:pt x="576" y="810"/>
                    </a:lnTo>
                    <a:lnTo>
                      <a:pt x="594" y="804"/>
                    </a:lnTo>
                    <a:lnTo>
                      <a:pt x="594" y="774"/>
                    </a:lnTo>
                    <a:lnTo>
                      <a:pt x="588" y="756"/>
                    </a:lnTo>
                    <a:lnTo>
                      <a:pt x="588" y="744"/>
                    </a:lnTo>
                    <a:lnTo>
                      <a:pt x="570" y="708"/>
                    </a:lnTo>
                    <a:lnTo>
                      <a:pt x="564" y="690"/>
                    </a:lnTo>
                    <a:lnTo>
                      <a:pt x="558" y="684"/>
                    </a:lnTo>
                    <a:lnTo>
                      <a:pt x="552" y="672"/>
                    </a:lnTo>
                    <a:lnTo>
                      <a:pt x="558" y="666"/>
                    </a:lnTo>
                    <a:lnTo>
                      <a:pt x="558" y="642"/>
                    </a:lnTo>
                    <a:lnTo>
                      <a:pt x="522" y="606"/>
                    </a:lnTo>
                    <a:lnTo>
                      <a:pt x="486" y="576"/>
                    </a:lnTo>
                    <a:lnTo>
                      <a:pt x="456" y="552"/>
                    </a:lnTo>
                    <a:lnTo>
                      <a:pt x="432" y="534"/>
                    </a:lnTo>
                    <a:lnTo>
                      <a:pt x="420" y="528"/>
                    </a:lnTo>
                    <a:lnTo>
                      <a:pt x="402" y="516"/>
                    </a:lnTo>
                    <a:lnTo>
                      <a:pt x="390" y="510"/>
                    </a:lnTo>
                    <a:lnTo>
                      <a:pt x="384" y="504"/>
                    </a:lnTo>
                    <a:lnTo>
                      <a:pt x="384" y="468"/>
                    </a:lnTo>
                    <a:lnTo>
                      <a:pt x="336" y="420"/>
                    </a:lnTo>
                    <a:lnTo>
                      <a:pt x="306" y="384"/>
                    </a:lnTo>
                    <a:lnTo>
                      <a:pt x="288" y="354"/>
                    </a:lnTo>
                    <a:lnTo>
                      <a:pt x="282" y="336"/>
                    </a:lnTo>
                    <a:lnTo>
                      <a:pt x="282" y="318"/>
                    </a:lnTo>
                    <a:lnTo>
                      <a:pt x="276" y="306"/>
                    </a:lnTo>
                    <a:lnTo>
                      <a:pt x="276" y="282"/>
                    </a:lnTo>
                    <a:lnTo>
                      <a:pt x="282" y="276"/>
                    </a:lnTo>
                    <a:lnTo>
                      <a:pt x="294" y="252"/>
                    </a:lnTo>
                    <a:lnTo>
                      <a:pt x="294" y="240"/>
                    </a:lnTo>
                    <a:lnTo>
                      <a:pt x="300" y="240"/>
                    </a:lnTo>
                    <a:lnTo>
                      <a:pt x="312" y="228"/>
                    </a:lnTo>
                    <a:lnTo>
                      <a:pt x="324" y="222"/>
                    </a:lnTo>
                    <a:lnTo>
                      <a:pt x="336" y="210"/>
                    </a:lnTo>
                    <a:lnTo>
                      <a:pt x="336" y="204"/>
                    </a:lnTo>
                    <a:lnTo>
                      <a:pt x="342" y="198"/>
                    </a:lnTo>
                    <a:lnTo>
                      <a:pt x="372" y="198"/>
                    </a:lnTo>
                    <a:lnTo>
                      <a:pt x="384" y="186"/>
                    </a:lnTo>
                    <a:lnTo>
                      <a:pt x="390" y="174"/>
                    </a:lnTo>
                    <a:lnTo>
                      <a:pt x="390" y="156"/>
                    </a:lnTo>
                    <a:lnTo>
                      <a:pt x="396" y="144"/>
                    </a:lnTo>
                    <a:lnTo>
                      <a:pt x="390" y="144"/>
                    </a:lnTo>
                    <a:lnTo>
                      <a:pt x="384" y="138"/>
                    </a:lnTo>
                    <a:lnTo>
                      <a:pt x="354" y="138"/>
                    </a:lnTo>
                    <a:lnTo>
                      <a:pt x="342" y="132"/>
                    </a:lnTo>
                    <a:lnTo>
                      <a:pt x="336" y="120"/>
                    </a:lnTo>
                    <a:lnTo>
                      <a:pt x="330" y="114"/>
                    </a:lnTo>
                    <a:lnTo>
                      <a:pt x="312" y="114"/>
                    </a:lnTo>
                    <a:lnTo>
                      <a:pt x="312" y="96"/>
                    </a:lnTo>
                    <a:lnTo>
                      <a:pt x="300" y="90"/>
                    </a:lnTo>
                    <a:lnTo>
                      <a:pt x="294" y="72"/>
                    </a:lnTo>
                    <a:lnTo>
                      <a:pt x="312" y="54"/>
                    </a:lnTo>
                    <a:lnTo>
                      <a:pt x="312" y="48"/>
                    </a:lnTo>
                    <a:lnTo>
                      <a:pt x="306" y="42"/>
                    </a:lnTo>
                    <a:lnTo>
                      <a:pt x="276" y="42"/>
                    </a:lnTo>
                    <a:lnTo>
                      <a:pt x="264" y="30"/>
                    </a:lnTo>
                    <a:lnTo>
                      <a:pt x="234" y="36"/>
                    </a:lnTo>
                    <a:lnTo>
                      <a:pt x="204" y="0"/>
                    </a:lnTo>
                    <a:lnTo>
                      <a:pt x="198" y="0"/>
                    </a:lnTo>
                    <a:lnTo>
                      <a:pt x="192" y="6"/>
                    </a:lnTo>
                    <a:lnTo>
                      <a:pt x="180" y="12"/>
                    </a:lnTo>
                    <a:lnTo>
                      <a:pt x="174" y="18"/>
                    </a:lnTo>
                    <a:lnTo>
                      <a:pt x="174" y="30"/>
                    </a:lnTo>
                    <a:lnTo>
                      <a:pt x="168" y="42"/>
                    </a:lnTo>
                    <a:lnTo>
                      <a:pt x="168" y="48"/>
                    </a:lnTo>
                    <a:lnTo>
                      <a:pt x="150" y="48"/>
                    </a:lnTo>
                    <a:lnTo>
                      <a:pt x="144" y="54"/>
                    </a:lnTo>
                    <a:lnTo>
                      <a:pt x="138" y="48"/>
                    </a:lnTo>
                    <a:lnTo>
                      <a:pt x="120" y="48"/>
                    </a:lnTo>
                    <a:lnTo>
                      <a:pt x="132" y="60"/>
                    </a:lnTo>
                    <a:lnTo>
                      <a:pt x="132" y="72"/>
                    </a:lnTo>
                    <a:lnTo>
                      <a:pt x="114" y="72"/>
                    </a:lnTo>
                    <a:lnTo>
                      <a:pt x="108" y="66"/>
                    </a:lnTo>
                    <a:lnTo>
                      <a:pt x="96" y="48"/>
                    </a:lnTo>
                    <a:lnTo>
                      <a:pt x="90" y="48"/>
                    </a:lnTo>
                    <a:lnTo>
                      <a:pt x="90" y="66"/>
                    </a:lnTo>
                    <a:lnTo>
                      <a:pt x="72" y="48"/>
                    </a:lnTo>
                    <a:lnTo>
                      <a:pt x="66" y="54"/>
                    </a:lnTo>
                    <a:lnTo>
                      <a:pt x="60" y="66"/>
                    </a:lnTo>
                    <a:lnTo>
                      <a:pt x="54" y="72"/>
                    </a:lnTo>
                    <a:lnTo>
                      <a:pt x="42" y="72"/>
                    </a:lnTo>
                    <a:lnTo>
                      <a:pt x="18" y="48"/>
                    </a:lnTo>
                    <a:lnTo>
                      <a:pt x="6" y="48"/>
                    </a:lnTo>
                    <a:close/>
                  </a:path>
                </a:pathLst>
              </a:custGeom>
              <a:solidFill>
                <a:srgbClr val="9D90A0">
                  <a:lumMod val="40000"/>
                  <a:lumOff val="60000"/>
                </a:srgbClr>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12" name="Thailand" descr="© INSCALE GmbH, 05.05.2010&#10;http://www.presentationload.com/">
                <a:extLst>
                  <a:ext uri="{FF2B5EF4-FFF2-40B4-BE49-F238E27FC236}">
                    <a16:creationId xmlns:a16="http://schemas.microsoft.com/office/drawing/2014/main" id="{85D8F1F1-A37D-468D-9F61-1343A9711427}"/>
                  </a:ext>
                </a:extLst>
              </p:cNvPr>
              <p:cNvSpPr>
                <a:spLocks/>
              </p:cNvSpPr>
              <p:nvPr/>
            </p:nvSpPr>
            <p:spPr bwMode="gray">
              <a:xfrm>
                <a:off x="6921149" y="3829766"/>
                <a:ext cx="244906" cy="523275"/>
              </a:xfrm>
              <a:custGeom>
                <a:avLst/>
                <a:gdLst>
                  <a:gd name="T0" fmla="*/ 2147483647 w 618"/>
                  <a:gd name="T1" fmla="*/ 2147483647 h 1188"/>
                  <a:gd name="T2" fmla="*/ 2147483647 w 618"/>
                  <a:gd name="T3" fmla="*/ 2147483647 h 1188"/>
                  <a:gd name="T4" fmla="*/ 2147483647 w 618"/>
                  <a:gd name="T5" fmla="*/ 2147483647 h 1188"/>
                  <a:gd name="T6" fmla="*/ 2147483647 w 618"/>
                  <a:gd name="T7" fmla="*/ 2147483647 h 1188"/>
                  <a:gd name="T8" fmla="*/ 2147483647 w 618"/>
                  <a:gd name="T9" fmla="*/ 2147483647 h 1188"/>
                  <a:gd name="T10" fmla="*/ 2147483647 w 618"/>
                  <a:gd name="T11" fmla="*/ 2147483647 h 1188"/>
                  <a:gd name="T12" fmla="*/ 2147483647 w 618"/>
                  <a:gd name="T13" fmla="*/ 2147483647 h 1188"/>
                  <a:gd name="T14" fmla="*/ 2147483647 w 618"/>
                  <a:gd name="T15" fmla="*/ 2147483647 h 1188"/>
                  <a:gd name="T16" fmla="*/ 2147483647 w 618"/>
                  <a:gd name="T17" fmla="*/ 2147483647 h 1188"/>
                  <a:gd name="T18" fmla="*/ 2147483647 w 618"/>
                  <a:gd name="T19" fmla="*/ 2147483647 h 1188"/>
                  <a:gd name="T20" fmla="*/ 2147483647 w 618"/>
                  <a:gd name="T21" fmla="*/ 2147483647 h 1188"/>
                  <a:gd name="T22" fmla="*/ 2147483647 w 618"/>
                  <a:gd name="T23" fmla="*/ 2147483647 h 1188"/>
                  <a:gd name="T24" fmla="*/ 2147483647 w 618"/>
                  <a:gd name="T25" fmla="*/ 0 h 1188"/>
                  <a:gd name="T26" fmla="*/ 2147483647 w 618"/>
                  <a:gd name="T27" fmla="*/ 2147483647 h 1188"/>
                  <a:gd name="T28" fmla="*/ 2147483647 w 618"/>
                  <a:gd name="T29" fmla="*/ 2147483647 h 1188"/>
                  <a:gd name="T30" fmla="*/ 2147483647 w 618"/>
                  <a:gd name="T31" fmla="*/ 2147483647 h 1188"/>
                  <a:gd name="T32" fmla="*/ 0 w 618"/>
                  <a:gd name="T33" fmla="*/ 2147483647 h 1188"/>
                  <a:gd name="T34" fmla="*/ 2147483647 w 618"/>
                  <a:gd name="T35" fmla="*/ 2147483647 h 1188"/>
                  <a:gd name="T36" fmla="*/ 2147483647 w 618"/>
                  <a:gd name="T37" fmla="*/ 2147483647 h 1188"/>
                  <a:gd name="T38" fmla="*/ 2147483647 w 618"/>
                  <a:gd name="T39" fmla="*/ 2147483647 h 1188"/>
                  <a:gd name="T40" fmla="*/ 2147483647 w 618"/>
                  <a:gd name="T41" fmla="*/ 2147483647 h 1188"/>
                  <a:gd name="T42" fmla="*/ 2147483647 w 618"/>
                  <a:gd name="T43" fmla="*/ 2147483647 h 1188"/>
                  <a:gd name="T44" fmla="*/ 2147483647 w 618"/>
                  <a:gd name="T45" fmla="*/ 2147483647 h 1188"/>
                  <a:gd name="T46" fmla="*/ 2147483647 w 618"/>
                  <a:gd name="T47" fmla="*/ 2147483647 h 1188"/>
                  <a:gd name="T48" fmla="*/ 2147483647 w 618"/>
                  <a:gd name="T49" fmla="*/ 2147483647 h 1188"/>
                  <a:gd name="T50" fmla="*/ 2147483647 w 618"/>
                  <a:gd name="T51" fmla="*/ 2147483647 h 1188"/>
                  <a:gd name="T52" fmla="*/ 2147483647 w 618"/>
                  <a:gd name="T53" fmla="*/ 2147483647 h 1188"/>
                  <a:gd name="T54" fmla="*/ 2147483647 w 618"/>
                  <a:gd name="T55" fmla="*/ 2147483647 h 1188"/>
                  <a:gd name="T56" fmla="*/ 2147483647 w 618"/>
                  <a:gd name="T57" fmla="*/ 2147483647 h 1188"/>
                  <a:gd name="T58" fmla="*/ 2147483647 w 618"/>
                  <a:gd name="T59" fmla="*/ 2147483647 h 1188"/>
                  <a:gd name="T60" fmla="*/ 2147483647 w 618"/>
                  <a:gd name="T61" fmla="*/ 2147483647 h 1188"/>
                  <a:gd name="T62" fmla="*/ 2147483647 w 618"/>
                  <a:gd name="T63" fmla="*/ 2147483647 h 1188"/>
                  <a:gd name="T64" fmla="*/ 2147483647 w 618"/>
                  <a:gd name="T65" fmla="*/ 2147483647 h 1188"/>
                  <a:gd name="T66" fmla="*/ 2147483647 w 618"/>
                  <a:gd name="T67" fmla="*/ 2147483647 h 1188"/>
                  <a:gd name="T68" fmla="*/ 2147483647 w 618"/>
                  <a:gd name="T69" fmla="*/ 2147483647 h 1188"/>
                  <a:gd name="T70" fmla="*/ 2147483647 w 618"/>
                  <a:gd name="T71" fmla="*/ 2147483647 h 1188"/>
                  <a:gd name="T72" fmla="*/ 2147483647 w 618"/>
                  <a:gd name="T73" fmla="*/ 2147483647 h 1188"/>
                  <a:gd name="T74" fmla="*/ 2147483647 w 618"/>
                  <a:gd name="T75" fmla="*/ 2147483647 h 1188"/>
                  <a:gd name="T76" fmla="*/ 2147483647 w 618"/>
                  <a:gd name="T77" fmla="*/ 2147483647 h 1188"/>
                  <a:gd name="T78" fmla="*/ 2147483647 w 618"/>
                  <a:gd name="T79" fmla="*/ 2147483647 h 1188"/>
                  <a:gd name="T80" fmla="*/ 2147483647 w 618"/>
                  <a:gd name="T81" fmla="*/ 2147483647 h 1188"/>
                  <a:gd name="T82" fmla="*/ 2147483647 w 618"/>
                  <a:gd name="T83" fmla="*/ 2147483647 h 1188"/>
                  <a:gd name="T84" fmla="*/ 2147483647 w 618"/>
                  <a:gd name="T85" fmla="*/ 2147483647 h 1188"/>
                  <a:gd name="T86" fmla="*/ 2147483647 w 618"/>
                  <a:gd name="T87" fmla="*/ 2147483647 h 1188"/>
                  <a:gd name="T88" fmla="*/ 2147483647 w 618"/>
                  <a:gd name="T89" fmla="*/ 2147483647 h 1188"/>
                  <a:gd name="T90" fmla="*/ 2147483647 w 618"/>
                  <a:gd name="T91" fmla="*/ 2147483647 h 1188"/>
                  <a:gd name="T92" fmla="*/ 2147483647 w 618"/>
                  <a:gd name="T93" fmla="*/ 2147483647 h 1188"/>
                  <a:gd name="T94" fmla="*/ 2147483647 w 618"/>
                  <a:gd name="T95" fmla="*/ 2147483647 h 1188"/>
                  <a:gd name="T96" fmla="*/ 2147483647 w 618"/>
                  <a:gd name="T97" fmla="*/ 2147483647 h 1188"/>
                  <a:gd name="T98" fmla="*/ 2147483647 w 618"/>
                  <a:gd name="T99" fmla="*/ 2147483647 h 1188"/>
                  <a:gd name="T100" fmla="*/ 2147483647 w 618"/>
                  <a:gd name="T101" fmla="*/ 2147483647 h 1188"/>
                  <a:gd name="T102" fmla="*/ 2147483647 w 618"/>
                  <a:gd name="T103" fmla="*/ 2147483647 h 1188"/>
                  <a:gd name="T104" fmla="*/ 2147483647 w 618"/>
                  <a:gd name="T105" fmla="*/ 2147483647 h 1188"/>
                  <a:gd name="T106" fmla="*/ 2147483647 w 618"/>
                  <a:gd name="T107" fmla="*/ 2147483647 h 1188"/>
                  <a:gd name="T108" fmla="*/ 2147483647 w 618"/>
                  <a:gd name="T109" fmla="*/ 2147483647 h 1188"/>
                  <a:gd name="T110" fmla="*/ 2147483647 w 618"/>
                  <a:gd name="T111" fmla="*/ 2147483647 h 1188"/>
                  <a:gd name="T112" fmla="*/ 2147483647 w 618"/>
                  <a:gd name="T113" fmla="*/ 2147483647 h 1188"/>
                  <a:gd name="T114" fmla="*/ 2147483647 w 618"/>
                  <a:gd name="T115" fmla="*/ 2147483647 h 1188"/>
                  <a:gd name="T116" fmla="*/ 2147483647 w 618"/>
                  <a:gd name="T117" fmla="*/ 2147483647 h 118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18"/>
                  <a:gd name="T178" fmla="*/ 0 h 1188"/>
                  <a:gd name="T179" fmla="*/ 618 w 618"/>
                  <a:gd name="T180" fmla="*/ 1188 h 118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18" h="1188">
                    <a:moveTo>
                      <a:pt x="588" y="426"/>
                    </a:moveTo>
                    <a:lnTo>
                      <a:pt x="588" y="420"/>
                    </a:lnTo>
                    <a:lnTo>
                      <a:pt x="594" y="414"/>
                    </a:lnTo>
                    <a:lnTo>
                      <a:pt x="606" y="390"/>
                    </a:lnTo>
                    <a:lnTo>
                      <a:pt x="594" y="378"/>
                    </a:lnTo>
                    <a:lnTo>
                      <a:pt x="594" y="372"/>
                    </a:lnTo>
                    <a:lnTo>
                      <a:pt x="588" y="378"/>
                    </a:lnTo>
                    <a:lnTo>
                      <a:pt x="588" y="366"/>
                    </a:lnTo>
                    <a:lnTo>
                      <a:pt x="582" y="360"/>
                    </a:lnTo>
                    <a:lnTo>
                      <a:pt x="582" y="354"/>
                    </a:lnTo>
                    <a:lnTo>
                      <a:pt x="546" y="318"/>
                    </a:lnTo>
                    <a:lnTo>
                      <a:pt x="534" y="294"/>
                    </a:lnTo>
                    <a:lnTo>
                      <a:pt x="534" y="282"/>
                    </a:lnTo>
                    <a:lnTo>
                      <a:pt x="528" y="240"/>
                    </a:lnTo>
                    <a:lnTo>
                      <a:pt x="510" y="222"/>
                    </a:lnTo>
                    <a:lnTo>
                      <a:pt x="498" y="216"/>
                    </a:lnTo>
                    <a:lnTo>
                      <a:pt x="480" y="204"/>
                    </a:lnTo>
                    <a:lnTo>
                      <a:pt x="468" y="192"/>
                    </a:lnTo>
                    <a:lnTo>
                      <a:pt x="468" y="180"/>
                    </a:lnTo>
                    <a:lnTo>
                      <a:pt x="462" y="174"/>
                    </a:lnTo>
                    <a:lnTo>
                      <a:pt x="438" y="174"/>
                    </a:lnTo>
                    <a:lnTo>
                      <a:pt x="426" y="168"/>
                    </a:lnTo>
                    <a:lnTo>
                      <a:pt x="420" y="162"/>
                    </a:lnTo>
                    <a:lnTo>
                      <a:pt x="402" y="162"/>
                    </a:lnTo>
                    <a:lnTo>
                      <a:pt x="396" y="168"/>
                    </a:lnTo>
                    <a:lnTo>
                      <a:pt x="396" y="180"/>
                    </a:lnTo>
                    <a:lnTo>
                      <a:pt x="378" y="198"/>
                    </a:lnTo>
                    <a:lnTo>
                      <a:pt x="360" y="198"/>
                    </a:lnTo>
                    <a:lnTo>
                      <a:pt x="336" y="186"/>
                    </a:lnTo>
                    <a:lnTo>
                      <a:pt x="330" y="180"/>
                    </a:lnTo>
                    <a:lnTo>
                      <a:pt x="318" y="180"/>
                    </a:lnTo>
                    <a:lnTo>
                      <a:pt x="312" y="186"/>
                    </a:lnTo>
                    <a:lnTo>
                      <a:pt x="306" y="198"/>
                    </a:lnTo>
                    <a:lnTo>
                      <a:pt x="294" y="210"/>
                    </a:lnTo>
                    <a:lnTo>
                      <a:pt x="294" y="216"/>
                    </a:lnTo>
                    <a:lnTo>
                      <a:pt x="288" y="222"/>
                    </a:lnTo>
                    <a:lnTo>
                      <a:pt x="264" y="234"/>
                    </a:lnTo>
                    <a:lnTo>
                      <a:pt x="246" y="234"/>
                    </a:lnTo>
                    <a:lnTo>
                      <a:pt x="246" y="222"/>
                    </a:lnTo>
                    <a:lnTo>
                      <a:pt x="270" y="174"/>
                    </a:lnTo>
                    <a:lnTo>
                      <a:pt x="270" y="162"/>
                    </a:lnTo>
                    <a:lnTo>
                      <a:pt x="264" y="156"/>
                    </a:lnTo>
                    <a:lnTo>
                      <a:pt x="252" y="156"/>
                    </a:lnTo>
                    <a:lnTo>
                      <a:pt x="264" y="144"/>
                    </a:lnTo>
                    <a:lnTo>
                      <a:pt x="270" y="132"/>
                    </a:lnTo>
                    <a:lnTo>
                      <a:pt x="270" y="120"/>
                    </a:lnTo>
                    <a:lnTo>
                      <a:pt x="264" y="108"/>
                    </a:lnTo>
                    <a:lnTo>
                      <a:pt x="258" y="102"/>
                    </a:lnTo>
                    <a:lnTo>
                      <a:pt x="264" y="96"/>
                    </a:lnTo>
                    <a:lnTo>
                      <a:pt x="264" y="66"/>
                    </a:lnTo>
                    <a:lnTo>
                      <a:pt x="252" y="60"/>
                    </a:lnTo>
                    <a:lnTo>
                      <a:pt x="246" y="60"/>
                    </a:lnTo>
                    <a:lnTo>
                      <a:pt x="240" y="66"/>
                    </a:lnTo>
                    <a:lnTo>
                      <a:pt x="228" y="66"/>
                    </a:lnTo>
                    <a:lnTo>
                      <a:pt x="228" y="78"/>
                    </a:lnTo>
                    <a:lnTo>
                      <a:pt x="210" y="78"/>
                    </a:lnTo>
                    <a:lnTo>
                      <a:pt x="204" y="72"/>
                    </a:lnTo>
                    <a:lnTo>
                      <a:pt x="198" y="60"/>
                    </a:lnTo>
                    <a:lnTo>
                      <a:pt x="198" y="36"/>
                    </a:lnTo>
                    <a:lnTo>
                      <a:pt x="204" y="30"/>
                    </a:lnTo>
                    <a:lnTo>
                      <a:pt x="204" y="18"/>
                    </a:lnTo>
                    <a:lnTo>
                      <a:pt x="198" y="12"/>
                    </a:lnTo>
                    <a:lnTo>
                      <a:pt x="186" y="12"/>
                    </a:lnTo>
                    <a:lnTo>
                      <a:pt x="174" y="6"/>
                    </a:lnTo>
                    <a:lnTo>
                      <a:pt x="168" y="0"/>
                    </a:lnTo>
                    <a:lnTo>
                      <a:pt x="138" y="0"/>
                    </a:lnTo>
                    <a:lnTo>
                      <a:pt x="132" y="6"/>
                    </a:lnTo>
                    <a:lnTo>
                      <a:pt x="126" y="6"/>
                    </a:lnTo>
                    <a:lnTo>
                      <a:pt x="120" y="30"/>
                    </a:lnTo>
                    <a:lnTo>
                      <a:pt x="96" y="30"/>
                    </a:lnTo>
                    <a:lnTo>
                      <a:pt x="96" y="36"/>
                    </a:lnTo>
                    <a:lnTo>
                      <a:pt x="90" y="42"/>
                    </a:lnTo>
                    <a:lnTo>
                      <a:pt x="84" y="54"/>
                    </a:lnTo>
                    <a:lnTo>
                      <a:pt x="78" y="60"/>
                    </a:lnTo>
                    <a:lnTo>
                      <a:pt x="66" y="60"/>
                    </a:lnTo>
                    <a:lnTo>
                      <a:pt x="54" y="54"/>
                    </a:lnTo>
                    <a:lnTo>
                      <a:pt x="24" y="54"/>
                    </a:lnTo>
                    <a:lnTo>
                      <a:pt x="24" y="102"/>
                    </a:lnTo>
                    <a:lnTo>
                      <a:pt x="18" y="108"/>
                    </a:lnTo>
                    <a:lnTo>
                      <a:pt x="12" y="108"/>
                    </a:lnTo>
                    <a:lnTo>
                      <a:pt x="6" y="114"/>
                    </a:lnTo>
                    <a:lnTo>
                      <a:pt x="6" y="120"/>
                    </a:lnTo>
                    <a:lnTo>
                      <a:pt x="24" y="138"/>
                    </a:lnTo>
                    <a:lnTo>
                      <a:pt x="24" y="156"/>
                    </a:lnTo>
                    <a:lnTo>
                      <a:pt x="0" y="156"/>
                    </a:lnTo>
                    <a:lnTo>
                      <a:pt x="0" y="162"/>
                    </a:lnTo>
                    <a:lnTo>
                      <a:pt x="24" y="186"/>
                    </a:lnTo>
                    <a:lnTo>
                      <a:pt x="36" y="192"/>
                    </a:lnTo>
                    <a:lnTo>
                      <a:pt x="30" y="216"/>
                    </a:lnTo>
                    <a:lnTo>
                      <a:pt x="36" y="216"/>
                    </a:lnTo>
                    <a:lnTo>
                      <a:pt x="36" y="222"/>
                    </a:lnTo>
                    <a:lnTo>
                      <a:pt x="42" y="234"/>
                    </a:lnTo>
                    <a:lnTo>
                      <a:pt x="60" y="252"/>
                    </a:lnTo>
                    <a:lnTo>
                      <a:pt x="72" y="258"/>
                    </a:lnTo>
                    <a:lnTo>
                      <a:pt x="84" y="270"/>
                    </a:lnTo>
                    <a:lnTo>
                      <a:pt x="96" y="276"/>
                    </a:lnTo>
                    <a:lnTo>
                      <a:pt x="102" y="282"/>
                    </a:lnTo>
                    <a:lnTo>
                      <a:pt x="102" y="288"/>
                    </a:lnTo>
                    <a:lnTo>
                      <a:pt x="96" y="288"/>
                    </a:lnTo>
                    <a:lnTo>
                      <a:pt x="96" y="306"/>
                    </a:lnTo>
                    <a:lnTo>
                      <a:pt x="102" y="318"/>
                    </a:lnTo>
                    <a:lnTo>
                      <a:pt x="108" y="324"/>
                    </a:lnTo>
                    <a:lnTo>
                      <a:pt x="114" y="324"/>
                    </a:lnTo>
                    <a:lnTo>
                      <a:pt x="120" y="318"/>
                    </a:lnTo>
                    <a:lnTo>
                      <a:pt x="126" y="324"/>
                    </a:lnTo>
                    <a:lnTo>
                      <a:pt x="126" y="342"/>
                    </a:lnTo>
                    <a:lnTo>
                      <a:pt x="120" y="348"/>
                    </a:lnTo>
                    <a:lnTo>
                      <a:pt x="108" y="348"/>
                    </a:lnTo>
                    <a:lnTo>
                      <a:pt x="114" y="360"/>
                    </a:lnTo>
                    <a:lnTo>
                      <a:pt x="114" y="384"/>
                    </a:lnTo>
                    <a:lnTo>
                      <a:pt x="108" y="396"/>
                    </a:lnTo>
                    <a:lnTo>
                      <a:pt x="102" y="402"/>
                    </a:lnTo>
                    <a:lnTo>
                      <a:pt x="84" y="438"/>
                    </a:lnTo>
                    <a:lnTo>
                      <a:pt x="90" y="444"/>
                    </a:lnTo>
                    <a:lnTo>
                      <a:pt x="90" y="450"/>
                    </a:lnTo>
                    <a:lnTo>
                      <a:pt x="96" y="456"/>
                    </a:lnTo>
                    <a:lnTo>
                      <a:pt x="102" y="468"/>
                    </a:lnTo>
                    <a:lnTo>
                      <a:pt x="108" y="474"/>
                    </a:lnTo>
                    <a:lnTo>
                      <a:pt x="114" y="486"/>
                    </a:lnTo>
                    <a:lnTo>
                      <a:pt x="156" y="528"/>
                    </a:lnTo>
                    <a:lnTo>
                      <a:pt x="162" y="540"/>
                    </a:lnTo>
                    <a:lnTo>
                      <a:pt x="162" y="570"/>
                    </a:lnTo>
                    <a:lnTo>
                      <a:pt x="168" y="588"/>
                    </a:lnTo>
                    <a:lnTo>
                      <a:pt x="168" y="612"/>
                    </a:lnTo>
                    <a:lnTo>
                      <a:pt x="192" y="636"/>
                    </a:lnTo>
                    <a:lnTo>
                      <a:pt x="192" y="660"/>
                    </a:lnTo>
                    <a:lnTo>
                      <a:pt x="198" y="672"/>
                    </a:lnTo>
                    <a:lnTo>
                      <a:pt x="198" y="702"/>
                    </a:lnTo>
                    <a:lnTo>
                      <a:pt x="192" y="714"/>
                    </a:lnTo>
                    <a:lnTo>
                      <a:pt x="192" y="732"/>
                    </a:lnTo>
                    <a:lnTo>
                      <a:pt x="174" y="768"/>
                    </a:lnTo>
                    <a:lnTo>
                      <a:pt x="156" y="786"/>
                    </a:lnTo>
                    <a:lnTo>
                      <a:pt x="156" y="798"/>
                    </a:lnTo>
                    <a:lnTo>
                      <a:pt x="162" y="804"/>
                    </a:lnTo>
                    <a:lnTo>
                      <a:pt x="162" y="816"/>
                    </a:lnTo>
                    <a:lnTo>
                      <a:pt x="156" y="828"/>
                    </a:lnTo>
                    <a:lnTo>
                      <a:pt x="150" y="834"/>
                    </a:lnTo>
                    <a:lnTo>
                      <a:pt x="144" y="846"/>
                    </a:lnTo>
                    <a:lnTo>
                      <a:pt x="144" y="852"/>
                    </a:lnTo>
                    <a:lnTo>
                      <a:pt x="138" y="858"/>
                    </a:lnTo>
                    <a:lnTo>
                      <a:pt x="132" y="876"/>
                    </a:lnTo>
                    <a:lnTo>
                      <a:pt x="126" y="888"/>
                    </a:lnTo>
                    <a:lnTo>
                      <a:pt x="126" y="906"/>
                    </a:lnTo>
                    <a:lnTo>
                      <a:pt x="120" y="918"/>
                    </a:lnTo>
                    <a:lnTo>
                      <a:pt x="120" y="966"/>
                    </a:lnTo>
                    <a:lnTo>
                      <a:pt x="126" y="978"/>
                    </a:lnTo>
                    <a:lnTo>
                      <a:pt x="126" y="1008"/>
                    </a:lnTo>
                    <a:lnTo>
                      <a:pt x="132" y="1014"/>
                    </a:lnTo>
                    <a:lnTo>
                      <a:pt x="132" y="1020"/>
                    </a:lnTo>
                    <a:lnTo>
                      <a:pt x="138" y="1020"/>
                    </a:lnTo>
                    <a:lnTo>
                      <a:pt x="138" y="1002"/>
                    </a:lnTo>
                    <a:lnTo>
                      <a:pt x="144" y="990"/>
                    </a:lnTo>
                    <a:lnTo>
                      <a:pt x="144" y="978"/>
                    </a:lnTo>
                    <a:lnTo>
                      <a:pt x="150" y="972"/>
                    </a:lnTo>
                    <a:lnTo>
                      <a:pt x="150" y="996"/>
                    </a:lnTo>
                    <a:lnTo>
                      <a:pt x="162" y="996"/>
                    </a:lnTo>
                    <a:lnTo>
                      <a:pt x="186" y="1020"/>
                    </a:lnTo>
                    <a:lnTo>
                      <a:pt x="192" y="1032"/>
                    </a:lnTo>
                    <a:lnTo>
                      <a:pt x="198" y="1038"/>
                    </a:lnTo>
                    <a:lnTo>
                      <a:pt x="198" y="1044"/>
                    </a:lnTo>
                    <a:lnTo>
                      <a:pt x="228" y="1074"/>
                    </a:lnTo>
                    <a:lnTo>
                      <a:pt x="228" y="1098"/>
                    </a:lnTo>
                    <a:lnTo>
                      <a:pt x="234" y="1110"/>
                    </a:lnTo>
                    <a:lnTo>
                      <a:pt x="246" y="1128"/>
                    </a:lnTo>
                    <a:lnTo>
                      <a:pt x="264" y="1146"/>
                    </a:lnTo>
                    <a:lnTo>
                      <a:pt x="270" y="1140"/>
                    </a:lnTo>
                    <a:lnTo>
                      <a:pt x="276" y="1128"/>
                    </a:lnTo>
                    <a:lnTo>
                      <a:pt x="270" y="1122"/>
                    </a:lnTo>
                    <a:lnTo>
                      <a:pt x="270" y="1110"/>
                    </a:lnTo>
                    <a:lnTo>
                      <a:pt x="276" y="1104"/>
                    </a:lnTo>
                    <a:lnTo>
                      <a:pt x="288" y="1104"/>
                    </a:lnTo>
                    <a:lnTo>
                      <a:pt x="294" y="1116"/>
                    </a:lnTo>
                    <a:lnTo>
                      <a:pt x="294" y="1122"/>
                    </a:lnTo>
                    <a:lnTo>
                      <a:pt x="312" y="1122"/>
                    </a:lnTo>
                    <a:lnTo>
                      <a:pt x="324" y="1128"/>
                    </a:lnTo>
                    <a:lnTo>
                      <a:pt x="330" y="1134"/>
                    </a:lnTo>
                    <a:lnTo>
                      <a:pt x="330" y="1146"/>
                    </a:lnTo>
                    <a:lnTo>
                      <a:pt x="342" y="1146"/>
                    </a:lnTo>
                    <a:lnTo>
                      <a:pt x="342" y="1158"/>
                    </a:lnTo>
                    <a:lnTo>
                      <a:pt x="330" y="1170"/>
                    </a:lnTo>
                    <a:lnTo>
                      <a:pt x="330" y="1176"/>
                    </a:lnTo>
                    <a:lnTo>
                      <a:pt x="336" y="1182"/>
                    </a:lnTo>
                    <a:lnTo>
                      <a:pt x="354" y="1182"/>
                    </a:lnTo>
                    <a:lnTo>
                      <a:pt x="354" y="1176"/>
                    </a:lnTo>
                    <a:lnTo>
                      <a:pt x="366" y="1176"/>
                    </a:lnTo>
                    <a:lnTo>
                      <a:pt x="372" y="1170"/>
                    </a:lnTo>
                    <a:lnTo>
                      <a:pt x="378" y="1170"/>
                    </a:lnTo>
                    <a:lnTo>
                      <a:pt x="396" y="1188"/>
                    </a:lnTo>
                    <a:lnTo>
                      <a:pt x="402" y="1182"/>
                    </a:lnTo>
                    <a:lnTo>
                      <a:pt x="402" y="1176"/>
                    </a:lnTo>
                    <a:lnTo>
                      <a:pt x="408" y="1164"/>
                    </a:lnTo>
                    <a:lnTo>
                      <a:pt x="414" y="1158"/>
                    </a:lnTo>
                    <a:lnTo>
                      <a:pt x="420" y="1146"/>
                    </a:lnTo>
                    <a:lnTo>
                      <a:pt x="396" y="1134"/>
                    </a:lnTo>
                    <a:lnTo>
                      <a:pt x="390" y="1128"/>
                    </a:lnTo>
                    <a:lnTo>
                      <a:pt x="390" y="1116"/>
                    </a:lnTo>
                    <a:lnTo>
                      <a:pt x="384" y="1104"/>
                    </a:lnTo>
                    <a:lnTo>
                      <a:pt x="384" y="1092"/>
                    </a:lnTo>
                    <a:lnTo>
                      <a:pt x="378" y="1080"/>
                    </a:lnTo>
                    <a:lnTo>
                      <a:pt x="372" y="1074"/>
                    </a:lnTo>
                    <a:lnTo>
                      <a:pt x="354" y="1074"/>
                    </a:lnTo>
                    <a:lnTo>
                      <a:pt x="342" y="1080"/>
                    </a:lnTo>
                    <a:lnTo>
                      <a:pt x="336" y="1086"/>
                    </a:lnTo>
                    <a:lnTo>
                      <a:pt x="318" y="1086"/>
                    </a:lnTo>
                    <a:lnTo>
                      <a:pt x="312" y="1080"/>
                    </a:lnTo>
                    <a:lnTo>
                      <a:pt x="306" y="1068"/>
                    </a:lnTo>
                    <a:lnTo>
                      <a:pt x="306" y="1056"/>
                    </a:lnTo>
                    <a:lnTo>
                      <a:pt x="294" y="1032"/>
                    </a:lnTo>
                    <a:lnTo>
                      <a:pt x="288" y="1032"/>
                    </a:lnTo>
                    <a:lnTo>
                      <a:pt x="288" y="1050"/>
                    </a:lnTo>
                    <a:lnTo>
                      <a:pt x="282" y="1056"/>
                    </a:lnTo>
                    <a:lnTo>
                      <a:pt x="276" y="1056"/>
                    </a:lnTo>
                    <a:lnTo>
                      <a:pt x="270" y="1044"/>
                    </a:lnTo>
                    <a:lnTo>
                      <a:pt x="264" y="1038"/>
                    </a:lnTo>
                    <a:lnTo>
                      <a:pt x="258" y="1026"/>
                    </a:lnTo>
                    <a:lnTo>
                      <a:pt x="258" y="1014"/>
                    </a:lnTo>
                    <a:lnTo>
                      <a:pt x="270" y="1002"/>
                    </a:lnTo>
                    <a:lnTo>
                      <a:pt x="270" y="1008"/>
                    </a:lnTo>
                    <a:lnTo>
                      <a:pt x="276" y="1008"/>
                    </a:lnTo>
                    <a:lnTo>
                      <a:pt x="276" y="1014"/>
                    </a:lnTo>
                    <a:lnTo>
                      <a:pt x="282" y="1014"/>
                    </a:lnTo>
                    <a:lnTo>
                      <a:pt x="288" y="1008"/>
                    </a:lnTo>
                    <a:lnTo>
                      <a:pt x="282" y="1002"/>
                    </a:lnTo>
                    <a:lnTo>
                      <a:pt x="282" y="990"/>
                    </a:lnTo>
                    <a:lnTo>
                      <a:pt x="276" y="978"/>
                    </a:lnTo>
                    <a:lnTo>
                      <a:pt x="270" y="972"/>
                    </a:lnTo>
                    <a:lnTo>
                      <a:pt x="270" y="960"/>
                    </a:lnTo>
                    <a:lnTo>
                      <a:pt x="258" y="948"/>
                    </a:lnTo>
                    <a:lnTo>
                      <a:pt x="246" y="948"/>
                    </a:lnTo>
                    <a:lnTo>
                      <a:pt x="246" y="894"/>
                    </a:lnTo>
                    <a:lnTo>
                      <a:pt x="192" y="906"/>
                    </a:lnTo>
                    <a:lnTo>
                      <a:pt x="192" y="864"/>
                    </a:lnTo>
                    <a:lnTo>
                      <a:pt x="186" y="828"/>
                    </a:lnTo>
                    <a:lnTo>
                      <a:pt x="186" y="804"/>
                    </a:lnTo>
                    <a:lnTo>
                      <a:pt x="180" y="792"/>
                    </a:lnTo>
                    <a:lnTo>
                      <a:pt x="174" y="786"/>
                    </a:lnTo>
                    <a:lnTo>
                      <a:pt x="180" y="786"/>
                    </a:lnTo>
                    <a:lnTo>
                      <a:pt x="192" y="774"/>
                    </a:lnTo>
                    <a:lnTo>
                      <a:pt x="198" y="762"/>
                    </a:lnTo>
                    <a:lnTo>
                      <a:pt x="204" y="744"/>
                    </a:lnTo>
                    <a:lnTo>
                      <a:pt x="204" y="678"/>
                    </a:lnTo>
                    <a:lnTo>
                      <a:pt x="210" y="678"/>
                    </a:lnTo>
                    <a:lnTo>
                      <a:pt x="216" y="672"/>
                    </a:lnTo>
                    <a:lnTo>
                      <a:pt x="222" y="660"/>
                    </a:lnTo>
                    <a:lnTo>
                      <a:pt x="228" y="654"/>
                    </a:lnTo>
                    <a:lnTo>
                      <a:pt x="228" y="612"/>
                    </a:lnTo>
                    <a:lnTo>
                      <a:pt x="222" y="600"/>
                    </a:lnTo>
                    <a:lnTo>
                      <a:pt x="222" y="594"/>
                    </a:lnTo>
                    <a:lnTo>
                      <a:pt x="216" y="588"/>
                    </a:lnTo>
                    <a:lnTo>
                      <a:pt x="222" y="558"/>
                    </a:lnTo>
                    <a:lnTo>
                      <a:pt x="234" y="558"/>
                    </a:lnTo>
                    <a:lnTo>
                      <a:pt x="234" y="552"/>
                    </a:lnTo>
                    <a:lnTo>
                      <a:pt x="240" y="546"/>
                    </a:lnTo>
                    <a:lnTo>
                      <a:pt x="264" y="546"/>
                    </a:lnTo>
                    <a:lnTo>
                      <a:pt x="270" y="552"/>
                    </a:lnTo>
                    <a:lnTo>
                      <a:pt x="294" y="564"/>
                    </a:lnTo>
                    <a:lnTo>
                      <a:pt x="300" y="570"/>
                    </a:lnTo>
                    <a:lnTo>
                      <a:pt x="288" y="576"/>
                    </a:lnTo>
                    <a:lnTo>
                      <a:pt x="288" y="588"/>
                    </a:lnTo>
                    <a:lnTo>
                      <a:pt x="282" y="594"/>
                    </a:lnTo>
                    <a:lnTo>
                      <a:pt x="282" y="612"/>
                    </a:lnTo>
                    <a:lnTo>
                      <a:pt x="288" y="624"/>
                    </a:lnTo>
                    <a:lnTo>
                      <a:pt x="306" y="624"/>
                    </a:lnTo>
                    <a:lnTo>
                      <a:pt x="330" y="612"/>
                    </a:lnTo>
                    <a:lnTo>
                      <a:pt x="342" y="612"/>
                    </a:lnTo>
                    <a:lnTo>
                      <a:pt x="354" y="606"/>
                    </a:lnTo>
                    <a:lnTo>
                      <a:pt x="360" y="600"/>
                    </a:lnTo>
                    <a:lnTo>
                      <a:pt x="366" y="600"/>
                    </a:lnTo>
                    <a:lnTo>
                      <a:pt x="396" y="684"/>
                    </a:lnTo>
                    <a:lnTo>
                      <a:pt x="402" y="678"/>
                    </a:lnTo>
                    <a:lnTo>
                      <a:pt x="414" y="672"/>
                    </a:lnTo>
                    <a:lnTo>
                      <a:pt x="426" y="672"/>
                    </a:lnTo>
                    <a:lnTo>
                      <a:pt x="426" y="642"/>
                    </a:lnTo>
                    <a:lnTo>
                      <a:pt x="414" y="630"/>
                    </a:lnTo>
                    <a:lnTo>
                      <a:pt x="414" y="600"/>
                    </a:lnTo>
                    <a:lnTo>
                      <a:pt x="402" y="588"/>
                    </a:lnTo>
                    <a:lnTo>
                      <a:pt x="396" y="552"/>
                    </a:lnTo>
                    <a:lnTo>
                      <a:pt x="426" y="522"/>
                    </a:lnTo>
                    <a:lnTo>
                      <a:pt x="426" y="516"/>
                    </a:lnTo>
                    <a:lnTo>
                      <a:pt x="432" y="504"/>
                    </a:lnTo>
                    <a:lnTo>
                      <a:pt x="438" y="498"/>
                    </a:lnTo>
                    <a:lnTo>
                      <a:pt x="450" y="492"/>
                    </a:lnTo>
                    <a:lnTo>
                      <a:pt x="468" y="486"/>
                    </a:lnTo>
                    <a:lnTo>
                      <a:pt x="504" y="486"/>
                    </a:lnTo>
                    <a:lnTo>
                      <a:pt x="510" y="492"/>
                    </a:lnTo>
                    <a:lnTo>
                      <a:pt x="522" y="492"/>
                    </a:lnTo>
                    <a:lnTo>
                      <a:pt x="534" y="486"/>
                    </a:lnTo>
                    <a:lnTo>
                      <a:pt x="564" y="486"/>
                    </a:lnTo>
                    <a:lnTo>
                      <a:pt x="576" y="492"/>
                    </a:lnTo>
                    <a:lnTo>
                      <a:pt x="582" y="498"/>
                    </a:lnTo>
                    <a:lnTo>
                      <a:pt x="588" y="498"/>
                    </a:lnTo>
                    <a:lnTo>
                      <a:pt x="594" y="492"/>
                    </a:lnTo>
                    <a:lnTo>
                      <a:pt x="600" y="480"/>
                    </a:lnTo>
                    <a:lnTo>
                      <a:pt x="618" y="462"/>
                    </a:lnTo>
                    <a:lnTo>
                      <a:pt x="618" y="450"/>
                    </a:lnTo>
                    <a:lnTo>
                      <a:pt x="612" y="444"/>
                    </a:lnTo>
                    <a:lnTo>
                      <a:pt x="600" y="438"/>
                    </a:lnTo>
                    <a:lnTo>
                      <a:pt x="588" y="426"/>
                    </a:lnTo>
                    <a:close/>
                  </a:path>
                </a:pathLst>
              </a:custGeom>
              <a:solidFill>
                <a:srgbClr val="9D90A0">
                  <a:lumMod val="40000"/>
                  <a:lumOff val="60000"/>
                </a:srgbClr>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13" name="Taiwan" descr="© INSCALE GmbH, 05.05.2010&#10;http://www.presentationload.com/">
                <a:extLst>
                  <a:ext uri="{FF2B5EF4-FFF2-40B4-BE49-F238E27FC236}">
                    <a16:creationId xmlns:a16="http://schemas.microsoft.com/office/drawing/2014/main" id="{6DFCB70A-0752-4824-8435-053BBBB52780}"/>
                  </a:ext>
                </a:extLst>
              </p:cNvPr>
              <p:cNvSpPr>
                <a:spLocks/>
              </p:cNvSpPr>
              <p:nvPr/>
            </p:nvSpPr>
            <p:spPr bwMode="gray">
              <a:xfrm>
                <a:off x="7518595" y="3656496"/>
                <a:ext cx="48357" cy="117824"/>
              </a:xfrm>
              <a:custGeom>
                <a:avLst/>
                <a:gdLst>
                  <a:gd name="T0" fmla="*/ 2147483647 w 120"/>
                  <a:gd name="T1" fmla="*/ 2147483647 h 270"/>
                  <a:gd name="T2" fmla="*/ 2147483647 w 120"/>
                  <a:gd name="T3" fmla="*/ 2147483647 h 270"/>
                  <a:gd name="T4" fmla="*/ 2147483647 w 120"/>
                  <a:gd name="T5" fmla="*/ 2147483647 h 270"/>
                  <a:gd name="T6" fmla="*/ 2147483647 w 120"/>
                  <a:gd name="T7" fmla="*/ 2147483647 h 270"/>
                  <a:gd name="T8" fmla="*/ 2147483647 w 120"/>
                  <a:gd name="T9" fmla="*/ 2147483647 h 270"/>
                  <a:gd name="T10" fmla="*/ 2147483647 w 120"/>
                  <a:gd name="T11" fmla="*/ 2147483647 h 270"/>
                  <a:gd name="T12" fmla="*/ 2147483647 w 120"/>
                  <a:gd name="T13" fmla="*/ 2147483647 h 270"/>
                  <a:gd name="T14" fmla="*/ 2147483647 w 120"/>
                  <a:gd name="T15" fmla="*/ 2147483647 h 270"/>
                  <a:gd name="T16" fmla="*/ 2147483647 w 120"/>
                  <a:gd name="T17" fmla="*/ 2147483647 h 270"/>
                  <a:gd name="T18" fmla="*/ 2147483647 w 120"/>
                  <a:gd name="T19" fmla="*/ 2147483647 h 270"/>
                  <a:gd name="T20" fmla="*/ 2147483647 w 120"/>
                  <a:gd name="T21" fmla="*/ 0 h 270"/>
                  <a:gd name="T22" fmla="*/ 2147483647 w 120"/>
                  <a:gd name="T23" fmla="*/ 2147483647 h 270"/>
                  <a:gd name="T24" fmla="*/ 2147483647 w 120"/>
                  <a:gd name="T25" fmla="*/ 2147483647 h 270"/>
                  <a:gd name="T26" fmla="*/ 2147483647 w 120"/>
                  <a:gd name="T27" fmla="*/ 2147483647 h 270"/>
                  <a:gd name="T28" fmla="*/ 2147483647 w 120"/>
                  <a:gd name="T29" fmla="*/ 2147483647 h 270"/>
                  <a:gd name="T30" fmla="*/ 0 w 120"/>
                  <a:gd name="T31" fmla="*/ 2147483647 h 270"/>
                  <a:gd name="T32" fmla="*/ 0 w 120"/>
                  <a:gd name="T33" fmla="*/ 2147483647 h 270"/>
                  <a:gd name="T34" fmla="*/ 2147483647 w 120"/>
                  <a:gd name="T35" fmla="*/ 2147483647 h 270"/>
                  <a:gd name="T36" fmla="*/ 2147483647 w 120"/>
                  <a:gd name="T37" fmla="*/ 2147483647 h 270"/>
                  <a:gd name="T38" fmla="*/ 2147483647 w 120"/>
                  <a:gd name="T39" fmla="*/ 2147483647 h 270"/>
                  <a:gd name="T40" fmla="*/ 2147483647 w 120"/>
                  <a:gd name="T41" fmla="*/ 2147483647 h 270"/>
                  <a:gd name="T42" fmla="*/ 2147483647 w 120"/>
                  <a:gd name="T43" fmla="*/ 2147483647 h 270"/>
                  <a:gd name="T44" fmla="*/ 2147483647 w 120"/>
                  <a:gd name="T45" fmla="*/ 2147483647 h 270"/>
                  <a:gd name="T46" fmla="*/ 2147483647 w 120"/>
                  <a:gd name="T47" fmla="*/ 2147483647 h 270"/>
                  <a:gd name="T48" fmla="*/ 2147483647 w 120"/>
                  <a:gd name="T49" fmla="*/ 2147483647 h 270"/>
                  <a:gd name="T50" fmla="*/ 2147483647 w 120"/>
                  <a:gd name="T51" fmla="*/ 2147483647 h 27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20"/>
                  <a:gd name="T79" fmla="*/ 0 h 270"/>
                  <a:gd name="T80" fmla="*/ 120 w 120"/>
                  <a:gd name="T81" fmla="*/ 270 h 27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20" h="270">
                    <a:moveTo>
                      <a:pt x="84" y="270"/>
                    </a:moveTo>
                    <a:lnTo>
                      <a:pt x="84" y="222"/>
                    </a:lnTo>
                    <a:lnTo>
                      <a:pt x="90" y="216"/>
                    </a:lnTo>
                    <a:lnTo>
                      <a:pt x="102" y="192"/>
                    </a:lnTo>
                    <a:lnTo>
                      <a:pt x="102" y="102"/>
                    </a:lnTo>
                    <a:lnTo>
                      <a:pt x="108" y="96"/>
                    </a:lnTo>
                    <a:lnTo>
                      <a:pt x="114" y="84"/>
                    </a:lnTo>
                    <a:lnTo>
                      <a:pt x="114" y="54"/>
                    </a:lnTo>
                    <a:lnTo>
                      <a:pt x="120" y="36"/>
                    </a:lnTo>
                    <a:lnTo>
                      <a:pt x="120" y="24"/>
                    </a:lnTo>
                    <a:lnTo>
                      <a:pt x="72" y="0"/>
                    </a:lnTo>
                    <a:lnTo>
                      <a:pt x="48" y="30"/>
                    </a:lnTo>
                    <a:lnTo>
                      <a:pt x="42" y="42"/>
                    </a:lnTo>
                    <a:lnTo>
                      <a:pt x="30" y="78"/>
                    </a:lnTo>
                    <a:lnTo>
                      <a:pt x="12" y="114"/>
                    </a:lnTo>
                    <a:lnTo>
                      <a:pt x="0" y="150"/>
                    </a:lnTo>
                    <a:lnTo>
                      <a:pt x="0" y="168"/>
                    </a:lnTo>
                    <a:lnTo>
                      <a:pt x="6" y="180"/>
                    </a:lnTo>
                    <a:lnTo>
                      <a:pt x="18" y="192"/>
                    </a:lnTo>
                    <a:lnTo>
                      <a:pt x="24" y="204"/>
                    </a:lnTo>
                    <a:lnTo>
                      <a:pt x="36" y="210"/>
                    </a:lnTo>
                    <a:lnTo>
                      <a:pt x="42" y="222"/>
                    </a:lnTo>
                    <a:lnTo>
                      <a:pt x="42" y="228"/>
                    </a:lnTo>
                    <a:lnTo>
                      <a:pt x="48" y="234"/>
                    </a:lnTo>
                    <a:lnTo>
                      <a:pt x="60" y="258"/>
                    </a:lnTo>
                    <a:lnTo>
                      <a:pt x="84" y="270"/>
                    </a:lnTo>
                    <a:close/>
                  </a:path>
                </a:pathLst>
              </a:custGeom>
              <a:solidFill>
                <a:schemeClr val="accent1">
                  <a:lumMod val="75000"/>
                </a:schemeClr>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14" name="Solomon Islands" descr="© INSCALE GmbH, 05.05.2010&#10;http://www.presentationload.com/">
                <a:extLst>
                  <a:ext uri="{FF2B5EF4-FFF2-40B4-BE49-F238E27FC236}">
                    <a16:creationId xmlns:a16="http://schemas.microsoft.com/office/drawing/2014/main" id="{12068B12-95B9-462A-A3EC-AFEB4123559F}"/>
                  </a:ext>
                </a:extLst>
              </p:cNvPr>
              <p:cNvSpPr>
                <a:spLocks noEditPoints="1"/>
              </p:cNvSpPr>
              <p:nvPr/>
            </p:nvSpPr>
            <p:spPr bwMode="gray">
              <a:xfrm>
                <a:off x="8615212" y="4789682"/>
                <a:ext cx="146632" cy="154210"/>
              </a:xfrm>
              <a:custGeom>
                <a:avLst/>
                <a:gdLst>
                  <a:gd name="T0" fmla="*/ 2147483647 w 372"/>
                  <a:gd name="T1" fmla="*/ 0 h 348"/>
                  <a:gd name="T2" fmla="*/ 2147483647 w 372"/>
                  <a:gd name="T3" fmla="*/ 2147483647 h 348"/>
                  <a:gd name="T4" fmla="*/ 0 w 372"/>
                  <a:gd name="T5" fmla="*/ 2147483647 h 348"/>
                  <a:gd name="T6" fmla="*/ 2147483647 w 372"/>
                  <a:gd name="T7" fmla="*/ 2147483647 h 348"/>
                  <a:gd name="T8" fmla="*/ 0 w 372"/>
                  <a:gd name="T9" fmla="*/ 2147483647 h 348"/>
                  <a:gd name="T10" fmla="*/ 2147483647 w 372"/>
                  <a:gd name="T11" fmla="*/ 2147483647 h 348"/>
                  <a:gd name="T12" fmla="*/ 2147483647 w 372"/>
                  <a:gd name="T13" fmla="*/ 2147483647 h 348"/>
                  <a:gd name="T14" fmla="*/ 2147483647 w 372"/>
                  <a:gd name="T15" fmla="*/ 2147483647 h 348"/>
                  <a:gd name="T16" fmla="*/ 2147483647 w 372"/>
                  <a:gd name="T17" fmla="*/ 2147483647 h 348"/>
                  <a:gd name="T18" fmla="*/ 2147483647 w 372"/>
                  <a:gd name="T19" fmla="*/ 2147483647 h 348"/>
                  <a:gd name="T20" fmla="*/ 2147483647 w 372"/>
                  <a:gd name="T21" fmla="*/ 2147483647 h 348"/>
                  <a:gd name="T22" fmla="*/ 2147483647 w 372"/>
                  <a:gd name="T23" fmla="*/ 2147483647 h 348"/>
                  <a:gd name="T24" fmla="*/ 2147483647 w 372"/>
                  <a:gd name="T25" fmla="*/ 2147483647 h 348"/>
                  <a:gd name="T26" fmla="*/ 2147483647 w 372"/>
                  <a:gd name="T27" fmla="*/ 2147483647 h 348"/>
                  <a:gd name="T28" fmla="*/ 2147483647 w 372"/>
                  <a:gd name="T29" fmla="*/ 2147483647 h 348"/>
                  <a:gd name="T30" fmla="*/ 2147483647 w 372"/>
                  <a:gd name="T31" fmla="*/ 2147483647 h 348"/>
                  <a:gd name="T32" fmla="*/ 2147483647 w 372"/>
                  <a:gd name="T33" fmla="*/ 2147483647 h 348"/>
                  <a:gd name="T34" fmla="*/ 2147483647 w 372"/>
                  <a:gd name="T35" fmla="*/ 2147483647 h 348"/>
                  <a:gd name="T36" fmla="*/ 2147483647 w 372"/>
                  <a:gd name="T37" fmla="*/ 2147483647 h 348"/>
                  <a:gd name="T38" fmla="*/ 2147483647 w 372"/>
                  <a:gd name="T39" fmla="*/ 2147483647 h 348"/>
                  <a:gd name="T40" fmla="*/ 2147483647 w 372"/>
                  <a:gd name="T41" fmla="*/ 2147483647 h 348"/>
                  <a:gd name="T42" fmla="*/ 2147483647 w 372"/>
                  <a:gd name="T43" fmla="*/ 2147483647 h 348"/>
                  <a:gd name="T44" fmla="*/ 2147483647 w 372"/>
                  <a:gd name="T45" fmla="*/ 2147483647 h 348"/>
                  <a:gd name="T46" fmla="*/ 2147483647 w 372"/>
                  <a:gd name="T47" fmla="*/ 2147483647 h 348"/>
                  <a:gd name="T48" fmla="*/ 2147483647 w 372"/>
                  <a:gd name="T49" fmla="*/ 2147483647 h 348"/>
                  <a:gd name="T50" fmla="*/ 2147483647 w 372"/>
                  <a:gd name="T51" fmla="*/ 2147483647 h 348"/>
                  <a:gd name="T52" fmla="*/ 2147483647 w 372"/>
                  <a:gd name="T53" fmla="*/ 2147483647 h 348"/>
                  <a:gd name="T54" fmla="*/ 2147483647 w 372"/>
                  <a:gd name="T55" fmla="*/ 2147483647 h 348"/>
                  <a:gd name="T56" fmla="*/ 2147483647 w 372"/>
                  <a:gd name="T57" fmla="*/ 2147483647 h 348"/>
                  <a:gd name="T58" fmla="*/ 2147483647 w 372"/>
                  <a:gd name="T59" fmla="*/ 2147483647 h 348"/>
                  <a:gd name="T60" fmla="*/ 2147483647 w 372"/>
                  <a:gd name="T61" fmla="*/ 2147483647 h 348"/>
                  <a:gd name="T62" fmla="*/ 2147483647 w 372"/>
                  <a:gd name="T63" fmla="*/ 2147483647 h 34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72"/>
                  <a:gd name="T97" fmla="*/ 0 h 348"/>
                  <a:gd name="T98" fmla="*/ 372 w 372"/>
                  <a:gd name="T99" fmla="*/ 348 h 34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72" h="348">
                    <a:moveTo>
                      <a:pt x="30" y="18"/>
                    </a:moveTo>
                    <a:lnTo>
                      <a:pt x="12" y="0"/>
                    </a:lnTo>
                    <a:lnTo>
                      <a:pt x="6" y="24"/>
                    </a:lnTo>
                    <a:lnTo>
                      <a:pt x="24" y="48"/>
                    </a:lnTo>
                    <a:lnTo>
                      <a:pt x="30" y="18"/>
                    </a:lnTo>
                    <a:close/>
                    <a:moveTo>
                      <a:pt x="0" y="126"/>
                    </a:moveTo>
                    <a:lnTo>
                      <a:pt x="18" y="132"/>
                    </a:lnTo>
                    <a:lnTo>
                      <a:pt x="36" y="102"/>
                    </a:lnTo>
                    <a:lnTo>
                      <a:pt x="0" y="102"/>
                    </a:lnTo>
                    <a:lnTo>
                      <a:pt x="0" y="126"/>
                    </a:lnTo>
                    <a:close/>
                    <a:moveTo>
                      <a:pt x="78" y="120"/>
                    </a:moveTo>
                    <a:lnTo>
                      <a:pt x="36" y="120"/>
                    </a:lnTo>
                    <a:lnTo>
                      <a:pt x="42" y="144"/>
                    </a:lnTo>
                    <a:lnTo>
                      <a:pt x="78" y="132"/>
                    </a:lnTo>
                    <a:lnTo>
                      <a:pt x="78" y="120"/>
                    </a:lnTo>
                    <a:close/>
                    <a:moveTo>
                      <a:pt x="60" y="186"/>
                    </a:moveTo>
                    <a:lnTo>
                      <a:pt x="96" y="186"/>
                    </a:lnTo>
                    <a:lnTo>
                      <a:pt x="48" y="150"/>
                    </a:lnTo>
                    <a:lnTo>
                      <a:pt x="60" y="186"/>
                    </a:lnTo>
                    <a:close/>
                    <a:moveTo>
                      <a:pt x="246" y="222"/>
                    </a:moveTo>
                    <a:lnTo>
                      <a:pt x="222" y="210"/>
                    </a:lnTo>
                    <a:lnTo>
                      <a:pt x="192" y="210"/>
                    </a:lnTo>
                    <a:lnTo>
                      <a:pt x="192" y="228"/>
                    </a:lnTo>
                    <a:lnTo>
                      <a:pt x="198" y="234"/>
                    </a:lnTo>
                    <a:lnTo>
                      <a:pt x="204" y="246"/>
                    </a:lnTo>
                    <a:lnTo>
                      <a:pt x="216" y="252"/>
                    </a:lnTo>
                    <a:lnTo>
                      <a:pt x="252" y="264"/>
                    </a:lnTo>
                    <a:lnTo>
                      <a:pt x="264" y="264"/>
                    </a:lnTo>
                    <a:lnTo>
                      <a:pt x="276" y="258"/>
                    </a:lnTo>
                    <a:lnTo>
                      <a:pt x="276" y="252"/>
                    </a:lnTo>
                    <a:lnTo>
                      <a:pt x="270" y="246"/>
                    </a:lnTo>
                    <a:lnTo>
                      <a:pt x="264" y="234"/>
                    </a:lnTo>
                    <a:lnTo>
                      <a:pt x="246" y="222"/>
                    </a:lnTo>
                    <a:close/>
                    <a:moveTo>
                      <a:pt x="312" y="288"/>
                    </a:moveTo>
                    <a:lnTo>
                      <a:pt x="360" y="348"/>
                    </a:lnTo>
                    <a:lnTo>
                      <a:pt x="372" y="318"/>
                    </a:lnTo>
                    <a:lnTo>
                      <a:pt x="312" y="288"/>
                    </a:lnTo>
                    <a:close/>
                    <a:moveTo>
                      <a:pt x="288" y="126"/>
                    </a:moveTo>
                    <a:lnTo>
                      <a:pt x="288" y="132"/>
                    </a:lnTo>
                    <a:lnTo>
                      <a:pt x="282" y="138"/>
                    </a:lnTo>
                    <a:lnTo>
                      <a:pt x="282" y="150"/>
                    </a:lnTo>
                    <a:lnTo>
                      <a:pt x="276" y="162"/>
                    </a:lnTo>
                    <a:lnTo>
                      <a:pt x="276" y="192"/>
                    </a:lnTo>
                    <a:lnTo>
                      <a:pt x="312" y="228"/>
                    </a:lnTo>
                    <a:lnTo>
                      <a:pt x="324" y="234"/>
                    </a:lnTo>
                    <a:lnTo>
                      <a:pt x="330" y="240"/>
                    </a:lnTo>
                    <a:lnTo>
                      <a:pt x="288" y="126"/>
                    </a:lnTo>
                    <a:close/>
                    <a:moveTo>
                      <a:pt x="120" y="60"/>
                    </a:moveTo>
                    <a:lnTo>
                      <a:pt x="120" y="66"/>
                    </a:lnTo>
                    <a:lnTo>
                      <a:pt x="126" y="78"/>
                    </a:lnTo>
                    <a:lnTo>
                      <a:pt x="138" y="90"/>
                    </a:lnTo>
                    <a:lnTo>
                      <a:pt x="150" y="108"/>
                    </a:lnTo>
                    <a:lnTo>
                      <a:pt x="168" y="120"/>
                    </a:lnTo>
                    <a:lnTo>
                      <a:pt x="192" y="144"/>
                    </a:lnTo>
                    <a:lnTo>
                      <a:pt x="204" y="150"/>
                    </a:lnTo>
                    <a:lnTo>
                      <a:pt x="216" y="150"/>
                    </a:lnTo>
                    <a:lnTo>
                      <a:pt x="210" y="138"/>
                    </a:lnTo>
                    <a:lnTo>
                      <a:pt x="204" y="132"/>
                    </a:lnTo>
                    <a:lnTo>
                      <a:pt x="198" y="120"/>
                    </a:lnTo>
                    <a:lnTo>
                      <a:pt x="186" y="108"/>
                    </a:lnTo>
                    <a:lnTo>
                      <a:pt x="174" y="90"/>
                    </a:lnTo>
                    <a:lnTo>
                      <a:pt x="156" y="78"/>
                    </a:lnTo>
                    <a:lnTo>
                      <a:pt x="144" y="66"/>
                    </a:lnTo>
                    <a:lnTo>
                      <a:pt x="132" y="60"/>
                    </a:lnTo>
                    <a:lnTo>
                      <a:pt x="120" y="60"/>
                    </a:lnTo>
                    <a:close/>
                  </a:path>
                </a:pathLst>
              </a:custGeom>
              <a:solidFill>
                <a:srgbClr val="9D90A0">
                  <a:lumMod val="40000"/>
                  <a:lumOff val="60000"/>
                </a:srgbClr>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15" name="Papua New Guinea" descr="© INSCALE GmbH, 05.05.2010&#10;http://www.presentationload.com/">
                <a:extLst>
                  <a:ext uri="{FF2B5EF4-FFF2-40B4-BE49-F238E27FC236}">
                    <a16:creationId xmlns:a16="http://schemas.microsoft.com/office/drawing/2014/main" id="{6D7495CB-8703-4FC4-9E41-B2CE8AF7A17D}"/>
                  </a:ext>
                </a:extLst>
              </p:cNvPr>
              <p:cNvSpPr>
                <a:spLocks noEditPoints="1"/>
              </p:cNvSpPr>
              <p:nvPr/>
            </p:nvSpPr>
            <p:spPr bwMode="gray">
              <a:xfrm>
                <a:off x="8165958" y="4618145"/>
                <a:ext cx="430535" cy="320549"/>
              </a:xfrm>
              <a:custGeom>
                <a:avLst/>
                <a:gdLst>
                  <a:gd name="T0" fmla="*/ 2147483647 w 1086"/>
                  <a:gd name="T1" fmla="*/ 2147483647 h 726"/>
                  <a:gd name="T2" fmla="*/ 2147483647 w 1086"/>
                  <a:gd name="T3" fmla="*/ 2147483647 h 726"/>
                  <a:gd name="T4" fmla="*/ 2147483647 w 1086"/>
                  <a:gd name="T5" fmla="*/ 2147483647 h 726"/>
                  <a:gd name="T6" fmla="*/ 2147483647 w 1086"/>
                  <a:gd name="T7" fmla="*/ 2147483647 h 726"/>
                  <a:gd name="T8" fmla="*/ 2147483647 w 1086"/>
                  <a:gd name="T9" fmla="*/ 2147483647 h 726"/>
                  <a:gd name="T10" fmla="*/ 2147483647 w 1086"/>
                  <a:gd name="T11" fmla="*/ 2147483647 h 726"/>
                  <a:gd name="T12" fmla="*/ 2147483647 w 1086"/>
                  <a:gd name="T13" fmla="*/ 2147483647 h 726"/>
                  <a:gd name="T14" fmla="*/ 2147483647 w 1086"/>
                  <a:gd name="T15" fmla="*/ 2147483647 h 726"/>
                  <a:gd name="T16" fmla="*/ 2147483647 w 1086"/>
                  <a:gd name="T17" fmla="*/ 2147483647 h 726"/>
                  <a:gd name="T18" fmla="*/ 2147483647 w 1086"/>
                  <a:gd name="T19" fmla="*/ 2147483647 h 726"/>
                  <a:gd name="T20" fmla="*/ 2147483647 w 1086"/>
                  <a:gd name="T21" fmla="*/ 2147483647 h 726"/>
                  <a:gd name="T22" fmla="*/ 2147483647 w 1086"/>
                  <a:gd name="T23" fmla="*/ 2147483647 h 726"/>
                  <a:gd name="T24" fmla="*/ 2147483647 w 1086"/>
                  <a:gd name="T25" fmla="*/ 2147483647 h 726"/>
                  <a:gd name="T26" fmla="*/ 2147483647 w 1086"/>
                  <a:gd name="T27" fmla="*/ 2147483647 h 726"/>
                  <a:gd name="T28" fmla="*/ 2147483647 w 1086"/>
                  <a:gd name="T29" fmla="*/ 2147483647 h 726"/>
                  <a:gd name="T30" fmla="*/ 2147483647 w 1086"/>
                  <a:gd name="T31" fmla="*/ 2147483647 h 726"/>
                  <a:gd name="T32" fmla="*/ 2147483647 w 1086"/>
                  <a:gd name="T33" fmla="*/ 2147483647 h 726"/>
                  <a:gd name="T34" fmla="*/ 2147483647 w 1086"/>
                  <a:gd name="T35" fmla="*/ 2147483647 h 726"/>
                  <a:gd name="T36" fmla="*/ 2147483647 w 1086"/>
                  <a:gd name="T37" fmla="*/ 2147483647 h 726"/>
                  <a:gd name="T38" fmla="*/ 2147483647 w 1086"/>
                  <a:gd name="T39" fmla="*/ 2147483647 h 726"/>
                  <a:gd name="T40" fmla="*/ 2147483647 w 1086"/>
                  <a:gd name="T41" fmla="*/ 2147483647 h 726"/>
                  <a:gd name="T42" fmla="*/ 2147483647 w 1086"/>
                  <a:gd name="T43" fmla="*/ 2147483647 h 726"/>
                  <a:gd name="T44" fmla="*/ 2147483647 w 1086"/>
                  <a:gd name="T45" fmla="*/ 2147483647 h 726"/>
                  <a:gd name="T46" fmla="*/ 2147483647 w 1086"/>
                  <a:gd name="T47" fmla="*/ 2147483647 h 726"/>
                  <a:gd name="T48" fmla="*/ 2147483647 w 1086"/>
                  <a:gd name="T49" fmla="*/ 2147483647 h 726"/>
                  <a:gd name="T50" fmla="*/ 2147483647 w 1086"/>
                  <a:gd name="T51" fmla="*/ 2147483647 h 726"/>
                  <a:gd name="T52" fmla="*/ 2147483647 w 1086"/>
                  <a:gd name="T53" fmla="*/ 2147483647 h 726"/>
                  <a:gd name="T54" fmla="*/ 2147483647 w 1086"/>
                  <a:gd name="T55" fmla="*/ 2147483647 h 726"/>
                  <a:gd name="T56" fmla="*/ 2147483647 w 1086"/>
                  <a:gd name="T57" fmla="*/ 2147483647 h 726"/>
                  <a:gd name="T58" fmla="*/ 2147483647 w 1086"/>
                  <a:gd name="T59" fmla="*/ 2147483647 h 726"/>
                  <a:gd name="T60" fmla="*/ 2147483647 w 1086"/>
                  <a:gd name="T61" fmla="*/ 2147483647 h 726"/>
                  <a:gd name="T62" fmla="*/ 2147483647 w 1086"/>
                  <a:gd name="T63" fmla="*/ 2147483647 h 726"/>
                  <a:gd name="T64" fmla="*/ 2147483647 w 1086"/>
                  <a:gd name="T65" fmla="*/ 2147483647 h 726"/>
                  <a:gd name="T66" fmla="*/ 2147483647 w 1086"/>
                  <a:gd name="T67" fmla="*/ 2147483647 h 726"/>
                  <a:gd name="T68" fmla="*/ 2147483647 w 1086"/>
                  <a:gd name="T69" fmla="*/ 2147483647 h 726"/>
                  <a:gd name="T70" fmla="*/ 2147483647 w 1086"/>
                  <a:gd name="T71" fmla="*/ 2147483647 h 726"/>
                  <a:gd name="T72" fmla="*/ 2147483647 w 1086"/>
                  <a:gd name="T73" fmla="*/ 2147483647 h 726"/>
                  <a:gd name="T74" fmla="*/ 2147483647 w 1086"/>
                  <a:gd name="T75" fmla="*/ 2147483647 h 726"/>
                  <a:gd name="T76" fmla="*/ 2147483647 w 1086"/>
                  <a:gd name="T77" fmla="*/ 2147483647 h 726"/>
                  <a:gd name="T78" fmla="*/ 2147483647 w 1086"/>
                  <a:gd name="T79" fmla="*/ 2147483647 h 726"/>
                  <a:gd name="T80" fmla="*/ 2147483647 w 1086"/>
                  <a:gd name="T81" fmla="*/ 2147483647 h 726"/>
                  <a:gd name="T82" fmla="*/ 2147483647 w 1086"/>
                  <a:gd name="T83" fmla="*/ 2147483647 h 726"/>
                  <a:gd name="T84" fmla="*/ 2147483647 w 1086"/>
                  <a:gd name="T85" fmla="*/ 2147483647 h 726"/>
                  <a:gd name="T86" fmla="*/ 2147483647 w 1086"/>
                  <a:gd name="T87" fmla="*/ 2147483647 h 726"/>
                  <a:gd name="T88" fmla="*/ 2147483647 w 1086"/>
                  <a:gd name="T89" fmla="*/ 2147483647 h 726"/>
                  <a:gd name="T90" fmla="*/ 2147483647 w 1086"/>
                  <a:gd name="T91" fmla="*/ 2147483647 h 726"/>
                  <a:gd name="T92" fmla="*/ 2147483647 w 1086"/>
                  <a:gd name="T93" fmla="*/ 2147483647 h 726"/>
                  <a:gd name="T94" fmla="*/ 2147483647 w 1086"/>
                  <a:gd name="T95" fmla="*/ 2147483647 h 726"/>
                  <a:gd name="T96" fmla="*/ 2147483647 w 1086"/>
                  <a:gd name="T97" fmla="*/ 2147483647 h 726"/>
                  <a:gd name="T98" fmla="*/ 2147483647 w 1086"/>
                  <a:gd name="T99" fmla="*/ 2147483647 h 726"/>
                  <a:gd name="T100" fmla="*/ 2147483647 w 1086"/>
                  <a:gd name="T101" fmla="*/ 2147483647 h 726"/>
                  <a:gd name="T102" fmla="*/ 2147483647 w 1086"/>
                  <a:gd name="T103" fmla="*/ 2147483647 h 726"/>
                  <a:gd name="T104" fmla="*/ 2147483647 w 1086"/>
                  <a:gd name="T105" fmla="*/ 2147483647 h 726"/>
                  <a:gd name="T106" fmla="*/ 2147483647 w 1086"/>
                  <a:gd name="T107" fmla="*/ 2147483647 h 726"/>
                  <a:gd name="T108" fmla="*/ 2147483647 w 1086"/>
                  <a:gd name="T109" fmla="*/ 2147483647 h 726"/>
                  <a:gd name="T110" fmla="*/ 2147483647 w 1086"/>
                  <a:gd name="T111" fmla="*/ 2147483647 h 726"/>
                  <a:gd name="T112" fmla="*/ 2147483647 w 1086"/>
                  <a:gd name="T113" fmla="*/ 2147483647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086"/>
                  <a:gd name="T172" fmla="*/ 0 h 726"/>
                  <a:gd name="T173" fmla="*/ 1086 w 1086"/>
                  <a:gd name="T174" fmla="*/ 726 h 72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086" h="726">
                    <a:moveTo>
                      <a:pt x="486" y="0"/>
                    </a:moveTo>
                    <a:lnTo>
                      <a:pt x="462" y="0"/>
                    </a:lnTo>
                    <a:lnTo>
                      <a:pt x="450" y="6"/>
                    </a:lnTo>
                    <a:lnTo>
                      <a:pt x="444" y="12"/>
                    </a:lnTo>
                    <a:lnTo>
                      <a:pt x="432" y="18"/>
                    </a:lnTo>
                    <a:lnTo>
                      <a:pt x="462" y="36"/>
                    </a:lnTo>
                    <a:lnTo>
                      <a:pt x="474" y="36"/>
                    </a:lnTo>
                    <a:lnTo>
                      <a:pt x="486" y="30"/>
                    </a:lnTo>
                    <a:lnTo>
                      <a:pt x="498" y="18"/>
                    </a:lnTo>
                    <a:lnTo>
                      <a:pt x="492" y="6"/>
                    </a:lnTo>
                    <a:lnTo>
                      <a:pt x="486" y="0"/>
                    </a:lnTo>
                    <a:close/>
                    <a:moveTo>
                      <a:pt x="756" y="216"/>
                    </a:moveTo>
                    <a:lnTo>
                      <a:pt x="750" y="222"/>
                    </a:lnTo>
                    <a:lnTo>
                      <a:pt x="750" y="228"/>
                    </a:lnTo>
                    <a:lnTo>
                      <a:pt x="756" y="234"/>
                    </a:lnTo>
                    <a:lnTo>
                      <a:pt x="768" y="240"/>
                    </a:lnTo>
                    <a:lnTo>
                      <a:pt x="774" y="246"/>
                    </a:lnTo>
                    <a:lnTo>
                      <a:pt x="774" y="264"/>
                    </a:lnTo>
                    <a:lnTo>
                      <a:pt x="702" y="300"/>
                    </a:lnTo>
                    <a:lnTo>
                      <a:pt x="666" y="300"/>
                    </a:lnTo>
                    <a:lnTo>
                      <a:pt x="630" y="312"/>
                    </a:lnTo>
                    <a:lnTo>
                      <a:pt x="594" y="330"/>
                    </a:lnTo>
                    <a:lnTo>
                      <a:pt x="588" y="336"/>
                    </a:lnTo>
                    <a:lnTo>
                      <a:pt x="570" y="336"/>
                    </a:lnTo>
                    <a:lnTo>
                      <a:pt x="564" y="342"/>
                    </a:lnTo>
                    <a:lnTo>
                      <a:pt x="588" y="378"/>
                    </a:lnTo>
                    <a:lnTo>
                      <a:pt x="684" y="378"/>
                    </a:lnTo>
                    <a:lnTo>
                      <a:pt x="702" y="366"/>
                    </a:lnTo>
                    <a:lnTo>
                      <a:pt x="738" y="366"/>
                    </a:lnTo>
                    <a:lnTo>
                      <a:pt x="750" y="360"/>
                    </a:lnTo>
                    <a:lnTo>
                      <a:pt x="774" y="336"/>
                    </a:lnTo>
                    <a:lnTo>
                      <a:pt x="774" y="330"/>
                    </a:lnTo>
                    <a:lnTo>
                      <a:pt x="804" y="324"/>
                    </a:lnTo>
                    <a:lnTo>
                      <a:pt x="798" y="300"/>
                    </a:lnTo>
                    <a:lnTo>
                      <a:pt x="822" y="300"/>
                    </a:lnTo>
                    <a:lnTo>
                      <a:pt x="822" y="288"/>
                    </a:lnTo>
                    <a:lnTo>
                      <a:pt x="828" y="258"/>
                    </a:lnTo>
                    <a:lnTo>
                      <a:pt x="828" y="228"/>
                    </a:lnTo>
                    <a:lnTo>
                      <a:pt x="822" y="198"/>
                    </a:lnTo>
                    <a:lnTo>
                      <a:pt x="816" y="192"/>
                    </a:lnTo>
                    <a:lnTo>
                      <a:pt x="804" y="186"/>
                    </a:lnTo>
                    <a:lnTo>
                      <a:pt x="792" y="192"/>
                    </a:lnTo>
                    <a:lnTo>
                      <a:pt x="786" y="198"/>
                    </a:lnTo>
                    <a:lnTo>
                      <a:pt x="762" y="210"/>
                    </a:lnTo>
                    <a:lnTo>
                      <a:pt x="756" y="216"/>
                    </a:lnTo>
                    <a:close/>
                    <a:moveTo>
                      <a:pt x="834" y="132"/>
                    </a:moveTo>
                    <a:lnTo>
                      <a:pt x="822" y="132"/>
                    </a:lnTo>
                    <a:lnTo>
                      <a:pt x="816" y="120"/>
                    </a:lnTo>
                    <a:lnTo>
                      <a:pt x="804" y="108"/>
                    </a:lnTo>
                    <a:lnTo>
                      <a:pt x="792" y="102"/>
                    </a:lnTo>
                    <a:lnTo>
                      <a:pt x="786" y="90"/>
                    </a:lnTo>
                    <a:lnTo>
                      <a:pt x="774" y="78"/>
                    </a:lnTo>
                    <a:lnTo>
                      <a:pt x="768" y="78"/>
                    </a:lnTo>
                    <a:lnTo>
                      <a:pt x="762" y="72"/>
                    </a:lnTo>
                    <a:lnTo>
                      <a:pt x="756" y="72"/>
                    </a:lnTo>
                    <a:lnTo>
                      <a:pt x="732" y="36"/>
                    </a:lnTo>
                    <a:lnTo>
                      <a:pt x="720" y="84"/>
                    </a:lnTo>
                    <a:lnTo>
                      <a:pt x="762" y="96"/>
                    </a:lnTo>
                    <a:lnTo>
                      <a:pt x="816" y="150"/>
                    </a:lnTo>
                    <a:lnTo>
                      <a:pt x="828" y="150"/>
                    </a:lnTo>
                    <a:lnTo>
                      <a:pt x="834" y="156"/>
                    </a:lnTo>
                    <a:lnTo>
                      <a:pt x="846" y="162"/>
                    </a:lnTo>
                    <a:lnTo>
                      <a:pt x="852" y="174"/>
                    </a:lnTo>
                    <a:lnTo>
                      <a:pt x="852" y="180"/>
                    </a:lnTo>
                    <a:lnTo>
                      <a:pt x="858" y="192"/>
                    </a:lnTo>
                    <a:lnTo>
                      <a:pt x="852" y="204"/>
                    </a:lnTo>
                    <a:lnTo>
                      <a:pt x="852" y="240"/>
                    </a:lnTo>
                    <a:lnTo>
                      <a:pt x="858" y="252"/>
                    </a:lnTo>
                    <a:lnTo>
                      <a:pt x="864" y="258"/>
                    </a:lnTo>
                    <a:lnTo>
                      <a:pt x="882" y="258"/>
                    </a:lnTo>
                    <a:lnTo>
                      <a:pt x="894" y="246"/>
                    </a:lnTo>
                    <a:lnTo>
                      <a:pt x="900" y="234"/>
                    </a:lnTo>
                    <a:lnTo>
                      <a:pt x="900" y="222"/>
                    </a:lnTo>
                    <a:lnTo>
                      <a:pt x="888" y="186"/>
                    </a:lnTo>
                    <a:lnTo>
                      <a:pt x="876" y="174"/>
                    </a:lnTo>
                    <a:lnTo>
                      <a:pt x="864" y="156"/>
                    </a:lnTo>
                    <a:lnTo>
                      <a:pt x="852" y="150"/>
                    </a:lnTo>
                    <a:lnTo>
                      <a:pt x="846" y="138"/>
                    </a:lnTo>
                    <a:lnTo>
                      <a:pt x="834" y="132"/>
                    </a:lnTo>
                    <a:close/>
                    <a:moveTo>
                      <a:pt x="1086" y="360"/>
                    </a:moveTo>
                    <a:lnTo>
                      <a:pt x="1020" y="294"/>
                    </a:lnTo>
                    <a:lnTo>
                      <a:pt x="1020" y="288"/>
                    </a:lnTo>
                    <a:lnTo>
                      <a:pt x="1002" y="270"/>
                    </a:lnTo>
                    <a:lnTo>
                      <a:pt x="984" y="270"/>
                    </a:lnTo>
                    <a:lnTo>
                      <a:pt x="978" y="276"/>
                    </a:lnTo>
                    <a:lnTo>
                      <a:pt x="978" y="300"/>
                    </a:lnTo>
                    <a:lnTo>
                      <a:pt x="996" y="330"/>
                    </a:lnTo>
                    <a:lnTo>
                      <a:pt x="1020" y="378"/>
                    </a:lnTo>
                    <a:lnTo>
                      <a:pt x="1086" y="438"/>
                    </a:lnTo>
                    <a:lnTo>
                      <a:pt x="1086" y="360"/>
                    </a:lnTo>
                    <a:close/>
                    <a:moveTo>
                      <a:pt x="672" y="672"/>
                    </a:moveTo>
                    <a:lnTo>
                      <a:pt x="630" y="642"/>
                    </a:lnTo>
                    <a:lnTo>
                      <a:pt x="648" y="630"/>
                    </a:lnTo>
                    <a:lnTo>
                      <a:pt x="636" y="630"/>
                    </a:lnTo>
                    <a:lnTo>
                      <a:pt x="624" y="624"/>
                    </a:lnTo>
                    <a:lnTo>
                      <a:pt x="612" y="624"/>
                    </a:lnTo>
                    <a:lnTo>
                      <a:pt x="600" y="618"/>
                    </a:lnTo>
                    <a:lnTo>
                      <a:pt x="594" y="606"/>
                    </a:lnTo>
                    <a:lnTo>
                      <a:pt x="594" y="594"/>
                    </a:lnTo>
                    <a:lnTo>
                      <a:pt x="600" y="582"/>
                    </a:lnTo>
                    <a:lnTo>
                      <a:pt x="600" y="564"/>
                    </a:lnTo>
                    <a:lnTo>
                      <a:pt x="588" y="570"/>
                    </a:lnTo>
                    <a:lnTo>
                      <a:pt x="582" y="570"/>
                    </a:lnTo>
                    <a:lnTo>
                      <a:pt x="570" y="576"/>
                    </a:lnTo>
                    <a:lnTo>
                      <a:pt x="564" y="576"/>
                    </a:lnTo>
                    <a:lnTo>
                      <a:pt x="552" y="582"/>
                    </a:lnTo>
                    <a:lnTo>
                      <a:pt x="552" y="552"/>
                    </a:lnTo>
                    <a:lnTo>
                      <a:pt x="528" y="540"/>
                    </a:lnTo>
                    <a:lnTo>
                      <a:pt x="528" y="492"/>
                    </a:lnTo>
                    <a:lnTo>
                      <a:pt x="474" y="456"/>
                    </a:lnTo>
                    <a:lnTo>
                      <a:pt x="450" y="402"/>
                    </a:lnTo>
                    <a:lnTo>
                      <a:pt x="474" y="390"/>
                    </a:lnTo>
                    <a:lnTo>
                      <a:pt x="480" y="384"/>
                    </a:lnTo>
                    <a:lnTo>
                      <a:pt x="492" y="378"/>
                    </a:lnTo>
                    <a:lnTo>
                      <a:pt x="504" y="366"/>
                    </a:lnTo>
                    <a:lnTo>
                      <a:pt x="504" y="360"/>
                    </a:lnTo>
                    <a:lnTo>
                      <a:pt x="492" y="336"/>
                    </a:lnTo>
                    <a:lnTo>
                      <a:pt x="468" y="324"/>
                    </a:lnTo>
                    <a:lnTo>
                      <a:pt x="462" y="318"/>
                    </a:lnTo>
                    <a:lnTo>
                      <a:pt x="456" y="318"/>
                    </a:lnTo>
                    <a:lnTo>
                      <a:pt x="450" y="312"/>
                    </a:lnTo>
                    <a:lnTo>
                      <a:pt x="438" y="312"/>
                    </a:lnTo>
                    <a:lnTo>
                      <a:pt x="402" y="300"/>
                    </a:lnTo>
                    <a:lnTo>
                      <a:pt x="390" y="300"/>
                    </a:lnTo>
                    <a:lnTo>
                      <a:pt x="378" y="294"/>
                    </a:lnTo>
                    <a:lnTo>
                      <a:pt x="372" y="294"/>
                    </a:lnTo>
                    <a:lnTo>
                      <a:pt x="372" y="234"/>
                    </a:lnTo>
                    <a:lnTo>
                      <a:pt x="366" y="222"/>
                    </a:lnTo>
                    <a:lnTo>
                      <a:pt x="354" y="210"/>
                    </a:lnTo>
                    <a:lnTo>
                      <a:pt x="342" y="210"/>
                    </a:lnTo>
                    <a:lnTo>
                      <a:pt x="288" y="156"/>
                    </a:lnTo>
                    <a:lnTo>
                      <a:pt x="252" y="162"/>
                    </a:lnTo>
                    <a:lnTo>
                      <a:pt x="216" y="126"/>
                    </a:lnTo>
                    <a:lnTo>
                      <a:pt x="186" y="120"/>
                    </a:lnTo>
                    <a:lnTo>
                      <a:pt x="66" y="60"/>
                    </a:lnTo>
                    <a:lnTo>
                      <a:pt x="42" y="72"/>
                    </a:lnTo>
                    <a:lnTo>
                      <a:pt x="0" y="42"/>
                    </a:lnTo>
                    <a:lnTo>
                      <a:pt x="42" y="72"/>
                    </a:lnTo>
                    <a:lnTo>
                      <a:pt x="36" y="102"/>
                    </a:lnTo>
                    <a:lnTo>
                      <a:pt x="36" y="240"/>
                    </a:lnTo>
                    <a:lnTo>
                      <a:pt x="30" y="258"/>
                    </a:lnTo>
                    <a:lnTo>
                      <a:pt x="30" y="372"/>
                    </a:lnTo>
                    <a:lnTo>
                      <a:pt x="24" y="378"/>
                    </a:lnTo>
                    <a:lnTo>
                      <a:pt x="12" y="384"/>
                    </a:lnTo>
                    <a:lnTo>
                      <a:pt x="0" y="396"/>
                    </a:lnTo>
                    <a:lnTo>
                      <a:pt x="0" y="402"/>
                    </a:lnTo>
                    <a:lnTo>
                      <a:pt x="6" y="408"/>
                    </a:lnTo>
                    <a:lnTo>
                      <a:pt x="18" y="414"/>
                    </a:lnTo>
                    <a:lnTo>
                      <a:pt x="30" y="414"/>
                    </a:lnTo>
                    <a:lnTo>
                      <a:pt x="30" y="444"/>
                    </a:lnTo>
                    <a:lnTo>
                      <a:pt x="24" y="456"/>
                    </a:lnTo>
                    <a:lnTo>
                      <a:pt x="24" y="480"/>
                    </a:lnTo>
                    <a:lnTo>
                      <a:pt x="18" y="492"/>
                    </a:lnTo>
                    <a:lnTo>
                      <a:pt x="18" y="504"/>
                    </a:lnTo>
                    <a:lnTo>
                      <a:pt x="12" y="510"/>
                    </a:lnTo>
                    <a:lnTo>
                      <a:pt x="12" y="516"/>
                    </a:lnTo>
                    <a:lnTo>
                      <a:pt x="18" y="540"/>
                    </a:lnTo>
                    <a:lnTo>
                      <a:pt x="18" y="588"/>
                    </a:lnTo>
                    <a:lnTo>
                      <a:pt x="30" y="594"/>
                    </a:lnTo>
                    <a:lnTo>
                      <a:pt x="48" y="594"/>
                    </a:lnTo>
                    <a:lnTo>
                      <a:pt x="60" y="588"/>
                    </a:lnTo>
                    <a:lnTo>
                      <a:pt x="90" y="588"/>
                    </a:lnTo>
                    <a:lnTo>
                      <a:pt x="96" y="582"/>
                    </a:lnTo>
                    <a:lnTo>
                      <a:pt x="102" y="582"/>
                    </a:lnTo>
                    <a:lnTo>
                      <a:pt x="126" y="600"/>
                    </a:lnTo>
                    <a:lnTo>
                      <a:pt x="132" y="600"/>
                    </a:lnTo>
                    <a:lnTo>
                      <a:pt x="138" y="594"/>
                    </a:lnTo>
                    <a:lnTo>
                      <a:pt x="156" y="588"/>
                    </a:lnTo>
                    <a:lnTo>
                      <a:pt x="168" y="582"/>
                    </a:lnTo>
                    <a:lnTo>
                      <a:pt x="180" y="570"/>
                    </a:lnTo>
                    <a:lnTo>
                      <a:pt x="180" y="564"/>
                    </a:lnTo>
                    <a:lnTo>
                      <a:pt x="168" y="552"/>
                    </a:lnTo>
                    <a:lnTo>
                      <a:pt x="150" y="540"/>
                    </a:lnTo>
                    <a:lnTo>
                      <a:pt x="138" y="534"/>
                    </a:lnTo>
                    <a:lnTo>
                      <a:pt x="120" y="522"/>
                    </a:lnTo>
                    <a:lnTo>
                      <a:pt x="108" y="516"/>
                    </a:lnTo>
                    <a:lnTo>
                      <a:pt x="102" y="510"/>
                    </a:lnTo>
                    <a:lnTo>
                      <a:pt x="96" y="510"/>
                    </a:lnTo>
                    <a:lnTo>
                      <a:pt x="108" y="510"/>
                    </a:lnTo>
                    <a:lnTo>
                      <a:pt x="138" y="516"/>
                    </a:lnTo>
                    <a:lnTo>
                      <a:pt x="204" y="516"/>
                    </a:lnTo>
                    <a:lnTo>
                      <a:pt x="204" y="510"/>
                    </a:lnTo>
                    <a:lnTo>
                      <a:pt x="198" y="504"/>
                    </a:lnTo>
                    <a:lnTo>
                      <a:pt x="198" y="498"/>
                    </a:lnTo>
                    <a:lnTo>
                      <a:pt x="186" y="486"/>
                    </a:lnTo>
                    <a:lnTo>
                      <a:pt x="192" y="492"/>
                    </a:lnTo>
                    <a:lnTo>
                      <a:pt x="204" y="492"/>
                    </a:lnTo>
                    <a:lnTo>
                      <a:pt x="210" y="498"/>
                    </a:lnTo>
                    <a:lnTo>
                      <a:pt x="216" y="498"/>
                    </a:lnTo>
                    <a:lnTo>
                      <a:pt x="222" y="492"/>
                    </a:lnTo>
                    <a:lnTo>
                      <a:pt x="222" y="486"/>
                    </a:lnTo>
                    <a:lnTo>
                      <a:pt x="216" y="480"/>
                    </a:lnTo>
                    <a:lnTo>
                      <a:pt x="216" y="468"/>
                    </a:lnTo>
                    <a:lnTo>
                      <a:pt x="210" y="462"/>
                    </a:lnTo>
                    <a:lnTo>
                      <a:pt x="222" y="468"/>
                    </a:lnTo>
                    <a:lnTo>
                      <a:pt x="228" y="474"/>
                    </a:lnTo>
                    <a:lnTo>
                      <a:pt x="246" y="474"/>
                    </a:lnTo>
                    <a:lnTo>
                      <a:pt x="252" y="468"/>
                    </a:lnTo>
                    <a:lnTo>
                      <a:pt x="264" y="462"/>
                    </a:lnTo>
                    <a:lnTo>
                      <a:pt x="270" y="456"/>
                    </a:lnTo>
                    <a:lnTo>
                      <a:pt x="288" y="474"/>
                    </a:lnTo>
                    <a:lnTo>
                      <a:pt x="300" y="480"/>
                    </a:lnTo>
                    <a:lnTo>
                      <a:pt x="306" y="486"/>
                    </a:lnTo>
                    <a:lnTo>
                      <a:pt x="312" y="486"/>
                    </a:lnTo>
                    <a:lnTo>
                      <a:pt x="330" y="492"/>
                    </a:lnTo>
                    <a:lnTo>
                      <a:pt x="342" y="492"/>
                    </a:lnTo>
                    <a:lnTo>
                      <a:pt x="378" y="504"/>
                    </a:lnTo>
                    <a:lnTo>
                      <a:pt x="390" y="510"/>
                    </a:lnTo>
                    <a:lnTo>
                      <a:pt x="402" y="534"/>
                    </a:lnTo>
                    <a:lnTo>
                      <a:pt x="402" y="558"/>
                    </a:lnTo>
                    <a:lnTo>
                      <a:pt x="408" y="570"/>
                    </a:lnTo>
                    <a:lnTo>
                      <a:pt x="420" y="582"/>
                    </a:lnTo>
                    <a:lnTo>
                      <a:pt x="438" y="582"/>
                    </a:lnTo>
                    <a:lnTo>
                      <a:pt x="450" y="594"/>
                    </a:lnTo>
                    <a:lnTo>
                      <a:pt x="450" y="606"/>
                    </a:lnTo>
                    <a:lnTo>
                      <a:pt x="456" y="618"/>
                    </a:lnTo>
                    <a:lnTo>
                      <a:pt x="468" y="654"/>
                    </a:lnTo>
                    <a:lnTo>
                      <a:pt x="486" y="672"/>
                    </a:lnTo>
                    <a:lnTo>
                      <a:pt x="516" y="678"/>
                    </a:lnTo>
                    <a:lnTo>
                      <a:pt x="558" y="684"/>
                    </a:lnTo>
                    <a:lnTo>
                      <a:pt x="618" y="684"/>
                    </a:lnTo>
                    <a:lnTo>
                      <a:pt x="630" y="690"/>
                    </a:lnTo>
                    <a:lnTo>
                      <a:pt x="654" y="714"/>
                    </a:lnTo>
                    <a:lnTo>
                      <a:pt x="678" y="726"/>
                    </a:lnTo>
                    <a:lnTo>
                      <a:pt x="684" y="726"/>
                    </a:lnTo>
                    <a:lnTo>
                      <a:pt x="684" y="720"/>
                    </a:lnTo>
                    <a:lnTo>
                      <a:pt x="678" y="708"/>
                    </a:lnTo>
                    <a:lnTo>
                      <a:pt x="678" y="702"/>
                    </a:lnTo>
                    <a:lnTo>
                      <a:pt x="672" y="690"/>
                    </a:lnTo>
                    <a:lnTo>
                      <a:pt x="666" y="684"/>
                    </a:lnTo>
                    <a:lnTo>
                      <a:pt x="672" y="672"/>
                    </a:lnTo>
                    <a:close/>
                  </a:path>
                </a:pathLst>
              </a:custGeom>
              <a:solidFill>
                <a:srgbClr val="9D90A0">
                  <a:lumMod val="40000"/>
                  <a:lumOff val="60000"/>
                </a:srgbClr>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16" name="Parcel Islands" descr="© INSCALE GmbH, 05.05.2010&#10;http://www.presentationload.com/">
                <a:extLst>
                  <a:ext uri="{FF2B5EF4-FFF2-40B4-BE49-F238E27FC236}">
                    <a16:creationId xmlns:a16="http://schemas.microsoft.com/office/drawing/2014/main" id="{01864E4A-7D0D-4AA7-B13A-CF79D4945A0A}"/>
                  </a:ext>
                </a:extLst>
              </p:cNvPr>
              <p:cNvSpPr>
                <a:spLocks noEditPoints="1"/>
              </p:cNvSpPr>
              <p:nvPr/>
            </p:nvSpPr>
            <p:spPr bwMode="gray">
              <a:xfrm>
                <a:off x="7312686" y="3942392"/>
                <a:ext cx="37438" cy="25990"/>
              </a:xfrm>
              <a:custGeom>
                <a:avLst/>
                <a:gdLst>
                  <a:gd name="T0" fmla="*/ 2147483647 w 96"/>
                  <a:gd name="T1" fmla="*/ 2147483647 h 66"/>
                  <a:gd name="T2" fmla="*/ 2147483647 w 96"/>
                  <a:gd name="T3" fmla="*/ 2147483647 h 66"/>
                  <a:gd name="T4" fmla="*/ 0 w 96"/>
                  <a:gd name="T5" fmla="*/ 2147483647 h 66"/>
                  <a:gd name="T6" fmla="*/ 0 w 96"/>
                  <a:gd name="T7" fmla="*/ 2147483647 h 66"/>
                  <a:gd name="T8" fmla="*/ 2147483647 w 96"/>
                  <a:gd name="T9" fmla="*/ 2147483647 h 66"/>
                  <a:gd name="T10" fmla="*/ 2147483647 w 96"/>
                  <a:gd name="T11" fmla="*/ 2147483647 h 66"/>
                  <a:gd name="T12" fmla="*/ 2147483647 w 96"/>
                  <a:gd name="T13" fmla="*/ 2147483647 h 66"/>
                  <a:gd name="T14" fmla="*/ 2147483647 w 96"/>
                  <a:gd name="T15" fmla="*/ 2147483647 h 66"/>
                  <a:gd name="T16" fmla="*/ 2147483647 w 96"/>
                  <a:gd name="T17" fmla="*/ 2147483647 h 66"/>
                  <a:gd name="T18" fmla="*/ 2147483647 w 96"/>
                  <a:gd name="T19" fmla="*/ 0 h 66"/>
                  <a:gd name="T20" fmla="*/ 2147483647 w 96"/>
                  <a:gd name="T21" fmla="*/ 2147483647 h 66"/>
                  <a:gd name="T22" fmla="*/ 2147483647 w 96"/>
                  <a:gd name="T23" fmla="*/ 2147483647 h 66"/>
                  <a:gd name="T24" fmla="*/ 2147483647 w 96"/>
                  <a:gd name="T25" fmla="*/ 2147483647 h 66"/>
                  <a:gd name="T26" fmla="*/ 2147483647 w 96"/>
                  <a:gd name="T27" fmla="*/ 2147483647 h 66"/>
                  <a:gd name="T28" fmla="*/ 2147483647 w 96"/>
                  <a:gd name="T29" fmla="*/ 0 h 66"/>
                  <a:gd name="T30" fmla="*/ 2147483647 w 96"/>
                  <a:gd name="T31" fmla="*/ 0 h 66"/>
                  <a:gd name="T32" fmla="*/ 2147483647 w 96"/>
                  <a:gd name="T33" fmla="*/ 2147483647 h 66"/>
                  <a:gd name="T34" fmla="*/ 2147483647 w 96"/>
                  <a:gd name="T35" fmla="*/ 2147483647 h 66"/>
                  <a:gd name="T36" fmla="*/ 2147483647 w 96"/>
                  <a:gd name="T37" fmla="*/ 2147483647 h 66"/>
                  <a:gd name="T38" fmla="*/ 2147483647 w 96"/>
                  <a:gd name="T39" fmla="*/ 2147483647 h 66"/>
                  <a:gd name="T40" fmla="*/ 2147483647 w 96"/>
                  <a:gd name="T41" fmla="*/ 2147483647 h 66"/>
                  <a:gd name="T42" fmla="*/ 2147483647 w 96"/>
                  <a:gd name="T43" fmla="*/ 2147483647 h 66"/>
                  <a:gd name="T44" fmla="*/ 2147483647 w 96"/>
                  <a:gd name="T45" fmla="*/ 2147483647 h 6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96"/>
                  <a:gd name="T70" fmla="*/ 0 h 66"/>
                  <a:gd name="T71" fmla="*/ 96 w 96"/>
                  <a:gd name="T72" fmla="*/ 66 h 6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96" h="66">
                    <a:moveTo>
                      <a:pt x="12" y="42"/>
                    </a:moveTo>
                    <a:lnTo>
                      <a:pt x="6" y="42"/>
                    </a:lnTo>
                    <a:lnTo>
                      <a:pt x="0" y="48"/>
                    </a:lnTo>
                    <a:lnTo>
                      <a:pt x="0" y="60"/>
                    </a:lnTo>
                    <a:lnTo>
                      <a:pt x="6" y="66"/>
                    </a:lnTo>
                    <a:lnTo>
                      <a:pt x="12" y="66"/>
                    </a:lnTo>
                    <a:lnTo>
                      <a:pt x="24" y="54"/>
                    </a:lnTo>
                    <a:lnTo>
                      <a:pt x="24" y="42"/>
                    </a:lnTo>
                    <a:lnTo>
                      <a:pt x="12" y="42"/>
                    </a:lnTo>
                    <a:close/>
                    <a:moveTo>
                      <a:pt x="42" y="0"/>
                    </a:moveTo>
                    <a:lnTo>
                      <a:pt x="42" y="18"/>
                    </a:lnTo>
                    <a:lnTo>
                      <a:pt x="54" y="30"/>
                    </a:lnTo>
                    <a:lnTo>
                      <a:pt x="60" y="30"/>
                    </a:lnTo>
                    <a:lnTo>
                      <a:pt x="72" y="24"/>
                    </a:lnTo>
                    <a:lnTo>
                      <a:pt x="48" y="0"/>
                    </a:lnTo>
                    <a:lnTo>
                      <a:pt x="42" y="0"/>
                    </a:lnTo>
                    <a:close/>
                    <a:moveTo>
                      <a:pt x="96" y="36"/>
                    </a:moveTo>
                    <a:lnTo>
                      <a:pt x="78" y="36"/>
                    </a:lnTo>
                    <a:lnTo>
                      <a:pt x="72" y="42"/>
                    </a:lnTo>
                    <a:lnTo>
                      <a:pt x="72" y="54"/>
                    </a:lnTo>
                    <a:lnTo>
                      <a:pt x="84" y="60"/>
                    </a:lnTo>
                    <a:lnTo>
                      <a:pt x="96" y="48"/>
                    </a:lnTo>
                    <a:lnTo>
                      <a:pt x="96" y="36"/>
                    </a:lnTo>
                    <a:close/>
                  </a:path>
                </a:pathLst>
              </a:custGeom>
              <a:solidFill>
                <a:srgbClr val="9D90A0">
                  <a:lumMod val="40000"/>
                  <a:lumOff val="60000"/>
                </a:srgbClr>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17" name="Nicaragua" descr="© INSCALE GmbH, 05.05.2010&#10;http://www.presentationload.com/">
                <a:extLst>
                  <a:ext uri="{FF2B5EF4-FFF2-40B4-BE49-F238E27FC236}">
                    <a16:creationId xmlns:a16="http://schemas.microsoft.com/office/drawing/2014/main" id="{15C8B8D4-0E02-48BE-B80D-C380962A13DA}"/>
                  </a:ext>
                </a:extLst>
              </p:cNvPr>
              <p:cNvSpPr>
                <a:spLocks/>
              </p:cNvSpPr>
              <p:nvPr/>
            </p:nvSpPr>
            <p:spPr bwMode="gray">
              <a:xfrm>
                <a:off x="1767202" y="4027294"/>
                <a:ext cx="129473" cy="145547"/>
              </a:xfrm>
              <a:custGeom>
                <a:avLst/>
                <a:gdLst>
                  <a:gd name="T0" fmla="*/ 2147483647 w 324"/>
                  <a:gd name="T1" fmla="*/ 2147483647 h 330"/>
                  <a:gd name="T2" fmla="*/ 2147483647 w 324"/>
                  <a:gd name="T3" fmla="*/ 0 h 330"/>
                  <a:gd name="T4" fmla="*/ 2147483647 w 324"/>
                  <a:gd name="T5" fmla="*/ 2147483647 h 330"/>
                  <a:gd name="T6" fmla="*/ 2147483647 w 324"/>
                  <a:gd name="T7" fmla="*/ 2147483647 h 330"/>
                  <a:gd name="T8" fmla="*/ 2147483647 w 324"/>
                  <a:gd name="T9" fmla="*/ 0 h 330"/>
                  <a:gd name="T10" fmla="*/ 2147483647 w 324"/>
                  <a:gd name="T11" fmla="*/ 2147483647 h 330"/>
                  <a:gd name="T12" fmla="*/ 2147483647 w 324"/>
                  <a:gd name="T13" fmla="*/ 2147483647 h 330"/>
                  <a:gd name="T14" fmla="*/ 2147483647 w 324"/>
                  <a:gd name="T15" fmla="*/ 2147483647 h 330"/>
                  <a:gd name="T16" fmla="*/ 2147483647 w 324"/>
                  <a:gd name="T17" fmla="*/ 2147483647 h 330"/>
                  <a:gd name="T18" fmla="*/ 2147483647 w 324"/>
                  <a:gd name="T19" fmla="*/ 2147483647 h 330"/>
                  <a:gd name="T20" fmla="*/ 2147483647 w 324"/>
                  <a:gd name="T21" fmla="*/ 2147483647 h 330"/>
                  <a:gd name="T22" fmla="*/ 2147483647 w 324"/>
                  <a:gd name="T23" fmla="*/ 2147483647 h 330"/>
                  <a:gd name="T24" fmla="*/ 2147483647 w 324"/>
                  <a:gd name="T25" fmla="*/ 2147483647 h 330"/>
                  <a:gd name="T26" fmla="*/ 2147483647 w 324"/>
                  <a:gd name="T27" fmla="*/ 2147483647 h 330"/>
                  <a:gd name="T28" fmla="*/ 2147483647 w 324"/>
                  <a:gd name="T29" fmla="*/ 2147483647 h 330"/>
                  <a:gd name="T30" fmla="*/ 2147483647 w 324"/>
                  <a:gd name="T31" fmla="*/ 2147483647 h 330"/>
                  <a:gd name="T32" fmla="*/ 2147483647 w 324"/>
                  <a:gd name="T33" fmla="*/ 2147483647 h 330"/>
                  <a:gd name="T34" fmla="*/ 2147483647 w 324"/>
                  <a:gd name="T35" fmla="*/ 2147483647 h 330"/>
                  <a:gd name="T36" fmla="*/ 2147483647 w 324"/>
                  <a:gd name="T37" fmla="*/ 2147483647 h 330"/>
                  <a:gd name="T38" fmla="*/ 2147483647 w 324"/>
                  <a:gd name="T39" fmla="*/ 2147483647 h 330"/>
                  <a:gd name="T40" fmla="*/ 2147483647 w 324"/>
                  <a:gd name="T41" fmla="*/ 2147483647 h 330"/>
                  <a:gd name="T42" fmla="*/ 2147483647 w 324"/>
                  <a:gd name="T43" fmla="*/ 2147483647 h 330"/>
                  <a:gd name="T44" fmla="*/ 2147483647 w 324"/>
                  <a:gd name="T45" fmla="*/ 2147483647 h 330"/>
                  <a:gd name="T46" fmla="*/ 2147483647 w 324"/>
                  <a:gd name="T47" fmla="*/ 2147483647 h 330"/>
                  <a:gd name="T48" fmla="*/ 2147483647 w 324"/>
                  <a:gd name="T49" fmla="*/ 2147483647 h 330"/>
                  <a:gd name="T50" fmla="*/ 2147483647 w 324"/>
                  <a:gd name="T51" fmla="*/ 2147483647 h 330"/>
                  <a:gd name="T52" fmla="*/ 2147483647 w 324"/>
                  <a:gd name="T53" fmla="*/ 2147483647 h 330"/>
                  <a:gd name="T54" fmla="*/ 2147483647 w 324"/>
                  <a:gd name="T55" fmla="*/ 2147483647 h 330"/>
                  <a:gd name="T56" fmla="*/ 2147483647 w 324"/>
                  <a:gd name="T57" fmla="*/ 2147483647 h 330"/>
                  <a:gd name="T58" fmla="*/ 2147483647 w 324"/>
                  <a:gd name="T59" fmla="*/ 2147483647 h 330"/>
                  <a:gd name="T60" fmla="*/ 2147483647 w 324"/>
                  <a:gd name="T61" fmla="*/ 2147483647 h 330"/>
                  <a:gd name="T62" fmla="*/ 2147483647 w 324"/>
                  <a:gd name="T63" fmla="*/ 2147483647 h 330"/>
                  <a:gd name="T64" fmla="*/ 2147483647 w 324"/>
                  <a:gd name="T65" fmla="*/ 2147483647 h 330"/>
                  <a:gd name="T66" fmla="*/ 2147483647 w 324"/>
                  <a:gd name="T67" fmla="*/ 2147483647 h 330"/>
                  <a:gd name="T68" fmla="*/ 2147483647 w 324"/>
                  <a:gd name="T69" fmla="*/ 2147483647 h 330"/>
                  <a:gd name="T70" fmla="*/ 2147483647 w 324"/>
                  <a:gd name="T71" fmla="*/ 2147483647 h 330"/>
                  <a:gd name="T72" fmla="*/ 2147483647 w 324"/>
                  <a:gd name="T73" fmla="*/ 2147483647 h 330"/>
                  <a:gd name="T74" fmla="*/ 2147483647 w 324"/>
                  <a:gd name="T75" fmla="*/ 2147483647 h 330"/>
                  <a:gd name="T76" fmla="*/ 2147483647 w 324"/>
                  <a:gd name="T77" fmla="*/ 2147483647 h 330"/>
                  <a:gd name="T78" fmla="*/ 2147483647 w 324"/>
                  <a:gd name="T79" fmla="*/ 2147483647 h 330"/>
                  <a:gd name="T80" fmla="*/ 2147483647 w 324"/>
                  <a:gd name="T81" fmla="*/ 2147483647 h 33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24"/>
                  <a:gd name="T124" fmla="*/ 0 h 330"/>
                  <a:gd name="T125" fmla="*/ 324 w 324"/>
                  <a:gd name="T126" fmla="*/ 330 h 330"/>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24" h="330">
                    <a:moveTo>
                      <a:pt x="324" y="18"/>
                    </a:moveTo>
                    <a:lnTo>
                      <a:pt x="318" y="12"/>
                    </a:lnTo>
                    <a:lnTo>
                      <a:pt x="318" y="6"/>
                    </a:lnTo>
                    <a:lnTo>
                      <a:pt x="312" y="0"/>
                    </a:lnTo>
                    <a:lnTo>
                      <a:pt x="264" y="0"/>
                    </a:lnTo>
                    <a:lnTo>
                      <a:pt x="264" y="6"/>
                    </a:lnTo>
                    <a:lnTo>
                      <a:pt x="252" y="18"/>
                    </a:lnTo>
                    <a:lnTo>
                      <a:pt x="240" y="18"/>
                    </a:lnTo>
                    <a:lnTo>
                      <a:pt x="222" y="0"/>
                    </a:lnTo>
                    <a:lnTo>
                      <a:pt x="210" y="0"/>
                    </a:lnTo>
                    <a:lnTo>
                      <a:pt x="198" y="12"/>
                    </a:lnTo>
                    <a:lnTo>
                      <a:pt x="198" y="30"/>
                    </a:lnTo>
                    <a:lnTo>
                      <a:pt x="180" y="30"/>
                    </a:lnTo>
                    <a:lnTo>
                      <a:pt x="168" y="54"/>
                    </a:lnTo>
                    <a:lnTo>
                      <a:pt x="144" y="78"/>
                    </a:lnTo>
                    <a:lnTo>
                      <a:pt x="126" y="78"/>
                    </a:lnTo>
                    <a:lnTo>
                      <a:pt x="120" y="72"/>
                    </a:lnTo>
                    <a:lnTo>
                      <a:pt x="120" y="66"/>
                    </a:lnTo>
                    <a:lnTo>
                      <a:pt x="108" y="66"/>
                    </a:lnTo>
                    <a:lnTo>
                      <a:pt x="102" y="72"/>
                    </a:lnTo>
                    <a:lnTo>
                      <a:pt x="96" y="84"/>
                    </a:lnTo>
                    <a:lnTo>
                      <a:pt x="60" y="84"/>
                    </a:lnTo>
                    <a:lnTo>
                      <a:pt x="54" y="90"/>
                    </a:lnTo>
                    <a:lnTo>
                      <a:pt x="54" y="102"/>
                    </a:lnTo>
                    <a:lnTo>
                      <a:pt x="60" y="108"/>
                    </a:lnTo>
                    <a:lnTo>
                      <a:pt x="60" y="120"/>
                    </a:lnTo>
                    <a:lnTo>
                      <a:pt x="66" y="126"/>
                    </a:lnTo>
                    <a:lnTo>
                      <a:pt x="48" y="126"/>
                    </a:lnTo>
                    <a:lnTo>
                      <a:pt x="48" y="144"/>
                    </a:lnTo>
                    <a:lnTo>
                      <a:pt x="36" y="150"/>
                    </a:lnTo>
                    <a:lnTo>
                      <a:pt x="0" y="150"/>
                    </a:lnTo>
                    <a:lnTo>
                      <a:pt x="48" y="204"/>
                    </a:lnTo>
                    <a:lnTo>
                      <a:pt x="48" y="210"/>
                    </a:lnTo>
                    <a:lnTo>
                      <a:pt x="54" y="216"/>
                    </a:lnTo>
                    <a:lnTo>
                      <a:pt x="54" y="228"/>
                    </a:lnTo>
                    <a:lnTo>
                      <a:pt x="66" y="252"/>
                    </a:lnTo>
                    <a:lnTo>
                      <a:pt x="72" y="258"/>
                    </a:lnTo>
                    <a:lnTo>
                      <a:pt x="96" y="270"/>
                    </a:lnTo>
                    <a:lnTo>
                      <a:pt x="108" y="282"/>
                    </a:lnTo>
                    <a:lnTo>
                      <a:pt x="114" y="294"/>
                    </a:lnTo>
                    <a:lnTo>
                      <a:pt x="138" y="294"/>
                    </a:lnTo>
                    <a:lnTo>
                      <a:pt x="132" y="294"/>
                    </a:lnTo>
                    <a:lnTo>
                      <a:pt x="120" y="282"/>
                    </a:lnTo>
                    <a:lnTo>
                      <a:pt x="120" y="276"/>
                    </a:lnTo>
                    <a:lnTo>
                      <a:pt x="126" y="270"/>
                    </a:lnTo>
                    <a:lnTo>
                      <a:pt x="138" y="270"/>
                    </a:lnTo>
                    <a:lnTo>
                      <a:pt x="138" y="264"/>
                    </a:lnTo>
                    <a:lnTo>
                      <a:pt x="132" y="258"/>
                    </a:lnTo>
                    <a:lnTo>
                      <a:pt x="126" y="258"/>
                    </a:lnTo>
                    <a:lnTo>
                      <a:pt x="120" y="264"/>
                    </a:lnTo>
                    <a:lnTo>
                      <a:pt x="114" y="264"/>
                    </a:lnTo>
                    <a:lnTo>
                      <a:pt x="114" y="222"/>
                    </a:lnTo>
                    <a:lnTo>
                      <a:pt x="120" y="222"/>
                    </a:lnTo>
                    <a:lnTo>
                      <a:pt x="132" y="228"/>
                    </a:lnTo>
                    <a:lnTo>
                      <a:pt x="144" y="240"/>
                    </a:lnTo>
                    <a:lnTo>
                      <a:pt x="156" y="246"/>
                    </a:lnTo>
                    <a:lnTo>
                      <a:pt x="180" y="270"/>
                    </a:lnTo>
                    <a:lnTo>
                      <a:pt x="192" y="306"/>
                    </a:lnTo>
                    <a:lnTo>
                      <a:pt x="210" y="306"/>
                    </a:lnTo>
                    <a:lnTo>
                      <a:pt x="216" y="312"/>
                    </a:lnTo>
                    <a:lnTo>
                      <a:pt x="222" y="312"/>
                    </a:lnTo>
                    <a:lnTo>
                      <a:pt x="222" y="318"/>
                    </a:lnTo>
                    <a:lnTo>
                      <a:pt x="234" y="330"/>
                    </a:lnTo>
                    <a:lnTo>
                      <a:pt x="270" y="330"/>
                    </a:lnTo>
                    <a:lnTo>
                      <a:pt x="270" y="324"/>
                    </a:lnTo>
                    <a:lnTo>
                      <a:pt x="258" y="312"/>
                    </a:lnTo>
                    <a:lnTo>
                      <a:pt x="252" y="300"/>
                    </a:lnTo>
                    <a:lnTo>
                      <a:pt x="252" y="276"/>
                    </a:lnTo>
                    <a:lnTo>
                      <a:pt x="264" y="264"/>
                    </a:lnTo>
                    <a:lnTo>
                      <a:pt x="270" y="264"/>
                    </a:lnTo>
                    <a:lnTo>
                      <a:pt x="270" y="246"/>
                    </a:lnTo>
                    <a:lnTo>
                      <a:pt x="264" y="234"/>
                    </a:lnTo>
                    <a:lnTo>
                      <a:pt x="264" y="222"/>
                    </a:lnTo>
                    <a:lnTo>
                      <a:pt x="270" y="174"/>
                    </a:lnTo>
                    <a:lnTo>
                      <a:pt x="282" y="192"/>
                    </a:lnTo>
                    <a:lnTo>
                      <a:pt x="288" y="108"/>
                    </a:lnTo>
                    <a:lnTo>
                      <a:pt x="288" y="102"/>
                    </a:lnTo>
                    <a:lnTo>
                      <a:pt x="294" y="96"/>
                    </a:lnTo>
                    <a:lnTo>
                      <a:pt x="306" y="72"/>
                    </a:lnTo>
                    <a:lnTo>
                      <a:pt x="312" y="66"/>
                    </a:lnTo>
                    <a:lnTo>
                      <a:pt x="324" y="42"/>
                    </a:lnTo>
                    <a:lnTo>
                      <a:pt x="324" y="18"/>
                    </a:lnTo>
                    <a:close/>
                  </a:path>
                </a:pathLst>
              </a:custGeom>
              <a:solidFill>
                <a:srgbClr val="9D90A0">
                  <a:lumMod val="40000"/>
                  <a:lumOff val="60000"/>
                </a:srgbClr>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18" name="New Zealand" descr="© INSCALE GmbH, 05.05.2010&#10;http://www.presentationload.com/">
                <a:extLst>
                  <a:ext uri="{FF2B5EF4-FFF2-40B4-BE49-F238E27FC236}">
                    <a16:creationId xmlns:a16="http://schemas.microsoft.com/office/drawing/2014/main" id="{2694E432-DDFF-45ED-B8C8-816FDAEE0C3B}"/>
                  </a:ext>
                </a:extLst>
              </p:cNvPr>
              <p:cNvSpPr>
                <a:spLocks noEditPoints="1"/>
              </p:cNvSpPr>
              <p:nvPr/>
            </p:nvSpPr>
            <p:spPr bwMode="gray">
              <a:xfrm>
                <a:off x="8413984" y="5768657"/>
                <a:ext cx="502291" cy="431442"/>
              </a:xfrm>
              <a:custGeom>
                <a:avLst/>
                <a:gdLst>
                  <a:gd name="T0" fmla="*/ 2147483647 w 1272"/>
                  <a:gd name="T1" fmla="*/ 2147483647 h 984"/>
                  <a:gd name="T2" fmla="*/ 2147483647 w 1272"/>
                  <a:gd name="T3" fmla="*/ 2147483647 h 984"/>
                  <a:gd name="T4" fmla="*/ 2147483647 w 1272"/>
                  <a:gd name="T5" fmla="*/ 2147483647 h 984"/>
                  <a:gd name="T6" fmla="*/ 2147483647 w 1272"/>
                  <a:gd name="T7" fmla="*/ 2147483647 h 984"/>
                  <a:gd name="T8" fmla="*/ 2147483647 w 1272"/>
                  <a:gd name="T9" fmla="*/ 2147483647 h 984"/>
                  <a:gd name="T10" fmla="*/ 2147483647 w 1272"/>
                  <a:gd name="T11" fmla="*/ 2147483647 h 984"/>
                  <a:gd name="T12" fmla="*/ 2147483647 w 1272"/>
                  <a:gd name="T13" fmla="*/ 2147483647 h 984"/>
                  <a:gd name="T14" fmla="*/ 2147483647 w 1272"/>
                  <a:gd name="T15" fmla="*/ 2147483647 h 984"/>
                  <a:gd name="T16" fmla="*/ 2147483647 w 1272"/>
                  <a:gd name="T17" fmla="*/ 2147483647 h 984"/>
                  <a:gd name="T18" fmla="*/ 2147483647 w 1272"/>
                  <a:gd name="T19" fmla="*/ 2147483647 h 984"/>
                  <a:gd name="T20" fmla="*/ 2147483647 w 1272"/>
                  <a:gd name="T21" fmla="*/ 2147483647 h 984"/>
                  <a:gd name="T22" fmla="*/ 2147483647 w 1272"/>
                  <a:gd name="T23" fmla="*/ 2147483647 h 984"/>
                  <a:gd name="T24" fmla="*/ 2147483647 w 1272"/>
                  <a:gd name="T25" fmla="*/ 2147483647 h 984"/>
                  <a:gd name="T26" fmla="*/ 2147483647 w 1272"/>
                  <a:gd name="T27" fmla="*/ 2147483647 h 984"/>
                  <a:gd name="T28" fmla="*/ 2147483647 w 1272"/>
                  <a:gd name="T29" fmla="*/ 2147483647 h 984"/>
                  <a:gd name="T30" fmla="*/ 2147483647 w 1272"/>
                  <a:gd name="T31" fmla="*/ 2147483647 h 984"/>
                  <a:gd name="T32" fmla="*/ 2147483647 w 1272"/>
                  <a:gd name="T33" fmla="*/ 2147483647 h 984"/>
                  <a:gd name="T34" fmla="*/ 2147483647 w 1272"/>
                  <a:gd name="T35" fmla="*/ 2147483647 h 984"/>
                  <a:gd name="T36" fmla="*/ 2147483647 w 1272"/>
                  <a:gd name="T37" fmla="*/ 2147483647 h 984"/>
                  <a:gd name="T38" fmla="*/ 2147483647 w 1272"/>
                  <a:gd name="T39" fmla="*/ 2147483647 h 984"/>
                  <a:gd name="T40" fmla="*/ 2147483647 w 1272"/>
                  <a:gd name="T41" fmla="*/ 2147483647 h 984"/>
                  <a:gd name="T42" fmla="*/ 2147483647 w 1272"/>
                  <a:gd name="T43" fmla="*/ 2147483647 h 984"/>
                  <a:gd name="T44" fmla="*/ 2147483647 w 1272"/>
                  <a:gd name="T45" fmla="*/ 2147483647 h 984"/>
                  <a:gd name="T46" fmla="*/ 2147483647 w 1272"/>
                  <a:gd name="T47" fmla="*/ 2147483647 h 984"/>
                  <a:gd name="T48" fmla="*/ 2147483647 w 1272"/>
                  <a:gd name="T49" fmla="*/ 2147483647 h 984"/>
                  <a:gd name="T50" fmla="*/ 2147483647 w 1272"/>
                  <a:gd name="T51" fmla="*/ 2147483647 h 984"/>
                  <a:gd name="T52" fmla="*/ 2147483647 w 1272"/>
                  <a:gd name="T53" fmla="*/ 2147483647 h 984"/>
                  <a:gd name="T54" fmla="*/ 2147483647 w 1272"/>
                  <a:gd name="T55" fmla="*/ 2147483647 h 984"/>
                  <a:gd name="T56" fmla="*/ 2147483647 w 1272"/>
                  <a:gd name="T57" fmla="*/ 2147483647 h 984"/>
                  <a:gd name="T58" fmla="*/ 2147483647 w 1272"/>
                  <a:gd name="T59" fmla="*/ 2147483647 h 984"/>
                  <a:gd name="T60" fmla="*/ 2147483647 w 1272"/>
                  <a:gd name="T61" fmla="*/ 2147483647 h 984"/>
                  <a:gd name="T62" fmla="*/ 2147483647 w 1272"/>
                  <a:gd name="T63" fmla="*/ 2147483647 h 984"/>
                  <a:gd name="T64" fmla="*/ 2147483647 w 1272"/>
                  <a:gd name="T65" fmla="*/ 2147483647 h 984"/>
                  <a:gd name="T66" fmla="*/ 2147483647 w 1272"/>
                  <a:gd name="T67" fmla="*/ 2147483647 h 984"/>
                  <a:gd name="T68" fmla="*/ 2147483647 w 1272"/>
                  <a:gd name="T69" fmla="*/ 2147483647 h 984"/>
                  <a:gd name="T70" fmla="*/ 2147483647 w 1272"/>
                  <a:gd name="T71" fmla="*/ 2147483647 h 984"/>
                  <a:gd name="T72" fmla="*/ 2147483647 w 1272"/>
                  <a:gd name="T73" fmla="*/ 2147483647 h 984"/>
                  <a:gd name="T74" fmla="*/ 2147483647 w 1272"/>
                  <a:gd name="T75" fmla="*/ 2147483647 h 984"/>
                  <a:gd name="T76" fmla="*/ 2147483647 w 1272"/>
                  <a:gd name="T77" fmla="*/ 2147483647 h 984"/>
                  <a:gd name="T78" fmla="*/ 2147483647 w 1272"/>
                  <a:gd name="T79" fmla="*/ 2147483647 h 984"/>
                  <a:gd name="T80" fmla="*/ 2147483647 w 1272"/>
                  <a:gd name="T81" fmla="*/ 2147483647 h 984"/>
                  <a:gd name="T82" fmla="*/ 2147483647 w 1272"/>
                  <a:gd name="T83" fmla="*/ 2147483647 h 984"/>
                  <a:gd name="T84" fmla="*/ 2147483647 w 1272"/>
                  <a:gd name="T85" fmla="*/ 2147483647 h 984"/>
                  <a:gd name="T86" fmla="*/ 2147483647 w 1272"/>
                  <a:gd name="T87" fmla="*/ 2147483647 h 984"/>
                  <a:gd name="T88" fmla="*/ 2147483647 w 1272"/>
                  <a:gd name="T89" fmla="*/ 2147483647 h 984"/>
                  <a:gd name="T90" fmla="*/ 2147483647 w 1272"/>
                  <a:gd name="T91" fmla="*/ 2147483647 h 984"/>
                  <a:gd name="T92" fmla="*/ 2147483647 w 1272"/>
                  <a:gd name="T93" fmla="*/ 2147483647 h 984"/>
                  <a:gd name="T94" fmla="*/ 2147483647 w 1272"/>
                  <a:gd name="T95" fmla="*/ 2147483647 h 984"/>
                  <a:gd name="T96" fmla="*/ 2147483647 w 1272"/>
                  <a:gd name="T97" fmla="*/ 2147483647 h 984"/>
                  <a:gd name="T98" fmla="*/ 2147483647 w 1272"/>
                  <a:gd name="T99" fmla="*/ 2147483647 h 984"/>
                  <a:gd name="T100" fmla="*/ 2147483647 w 1272"/>
                  <a:gd name="T101" fmla="*/ 2147483647 h 984"/>
                  <a:gd name="T102" fmla="*/ 2147483647 w 1272"/>
                  <a:gd name="T103" fmla="*/ 2147483647 h 984"/>
                  <a:gd name="T104" fmla="*/ 2147483647 w 1272"/>
                  <a:gd name="T105" fmla="*/ 2147483647 h 984"/>
                  <a:gd name="T106" fmla="*/ 2147483647 w 1272"/>
                  <a:gd name="T107" fmla="*/ 2147483647 h 984"/>
                  <a:gd name="T108" fmla="*/ 2147483647 w 1272"/>
                  <a:gd name="T109" fmla="*/ 2147483647 h 984"/>
                  <a:gd name="T110" fmla="*/ 2147483647 w 1272"/>
                  <a:gd name="T111" fmla="*/ 2147483647 h 984"/>
                  <a:gd name="T112" fmla="*/ 2147483647 w 1272"/>
                  <a:gd name="T113" fmla="*/ 2147483647 h 984"/>
                  <a:gd name="T114" fmla="*/ 2147483647 w 1272"/>
                  <a:gd name="T115" fmla="*/ 2147483647 h 984"/>
                  <a:gd name="T116" fmla="*/ 2147483647 w 1272"/>
                  <a:gd name="T117" fmla="*/ 2147483647 h 984"/>
                  <a:gd name="T118" fmla="*/ 2147483647 w 1272"/>
                  <a:gd name="T119" fmla="*/ 2147483647 h 984"/>
                  <a:gd name="T120" fmla="*/ 2147483647 w 1272"/>
                  <a:gd name="T121" fmla="*/ 2147483647 h 98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272"/>
                  <a:gd name="T184" fmla="*/ 0 h 984"/>
                  <a:gd name="T185" fmla="*/ 1272 w 1272"/>
                  <a:gd name="T186" fmla="*/ 984 h 98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272" h="984">
                    <a:moveTo>
                      <a:pt x="750" y="564"/>
                    </a:moveTo>
                    <a:lnTo>
                      <a:pt x="738" y="564"/>
                    </a:lnTo>
                    <a:lnTo>
                      <a:pt x="744" y="528"/>
                    </a:lnTo>
                    <a:lnTo>
                      <a:pt x="720" y="546"/>
                    </a:lnTo>
                    <a:lnTo>
                      <a:pt x="726" y="540"/>
                    </a:lnTo>
                    <a:lnTo>
                      <a:pt x="726" y="504"/>
                    </a:lnTo>
                    <a:lnTo>
                      <a:pt x="708" y="504"/>
                    </a:lnTo>
                    <a:lnTo>
                      <a:pt x="702" y="510"/>
                    </a:lnTo>
                    <a:lnTo>
                      <a:pt x="696" y="522"/>
                    </a:lnTo>
                    <a:lnTo>
                      <a:pt x="690" y="528"/>
                    </a:lnTo>
                    <a:lnTo>
                      <a:pt x="672" y="540"/>
                    </a:lnTo>
                    <a:lnTo>
                      <a:pt x="660" y="546"/>
                    </a:lnTo>
                    <a:lnTo>
                      <a:pt x="654" y="558"/>
                    </a:lnTo>
                    <a:lnTo>
                      <a:pt x="642" y="570"/>
                    </a:lnTo>
                    <a:lnTo>
                      <a:pt x="630" y="576"/>
                    </a:lnTo>
                    <a:lnTo>
                      <a:pt x="618" y="588"/>
                    </a:lnTo>
                    <a:lnTo>
                      <a:pt x="606" y="588"/>
                    </a:lnTo>
                    <a:lnTo>
                      <a:pt x="588" y="600"/>
                    </a:lnTo>
                    <a:lnTo>
                      <a:pt x="576" y="606"/>
                    </a:lnTo>
                    <a:lnTo>
                      <a:pt x="546" y="636"/>
                    </a:lnTo>
                    <a:lnTo>
                      <a:pt x="540" y="648"/>
                    </a:lnTo>
                    <a:lnTo>
                      <a:pt x="534" y="648"/>
                    </a:lnTo>
                    <a:lnTo>
                      <a:pt x="528" y="654"/>
                    </a:lnTo>
                    <a:lnTo>
                      <a:pt x="510" y="660"/>
                    </a:lnTo>
                    <a:lnTo>
                      <a:pt x="498" y="666"/>
                    </a:lnTo>
                    <a:lnTo>
                      <a:pt x="462" y="678"/>
                    </a:lnTo>
                    <a:lnTo>
                      <a:pt x="438" y="690"/>
                    </a:lnTo>
                    <a:lnTo>
                      <a:pt x="426" y="702"/>
                    </a:lnTo>
                    <a:lnTo>
                      <a:pt x="414" y="708"/>
                    </a:lnTo>
                    <a:lnTo>
                      <a:pt x="408" y="720"/>
                    </a:lnTo>
                    <a:lnTo>
                      <a:pt x="396" y="726"/>
                    </a:lnTo>
                    <a:lnTo>
                      <a:pt x="378" y="726"/>
                    </a:lnTo>
                    <a:lnTo>
                      <a:pt x="366" y="732"/>
                    </a:lnTo>
                    <a:lnTo>
                      <a:pt x="312" y="750"/>
                    </a:lnTo>
                    <a:lnTo>
                      <a:pt x="288" y="762"/>
                    </a:lnTo>
                    <a:lnTo>
                      <a:pt x="270" y="774"/>
                    </a:lnTo>
                    <a:lnTo>
                      <a:pt x="246" y="786"/>
                    </a:lnTo>
                    <a:lnTo>
                      <a:pt x="222" y="792"/>
                    </a:lnTo>
                    <a:lnTo>
                      <a:pt x="198" y="804"/>
                    </a:lnTo>
                    <a:lnTo>
                      <a:pt x="180" y="810"/>
                    </a:lnTo>
                    <a:lnTo>
                      <a:pt x="174" y="816"/>
                    </a:lnTo>
                    <a:lnTo>
                      <a:pt x="168" y="828"/>
                    </a:lnTo>
                    <a:lnTo>
                      <a:pt x="168" y="846"/>
                    </a:lnTo>
                    <a:lnTo>
                      <a:pt x="156" y="834"/>
                    </a:lnTo>
                    <a:lnTo>
                      <a:pt x="150" y="834"/>
                    </a:lnTo>
                    <a:lnTo>
                      <a:pt x="144" y="840"/>
                    </a:lnTo>
                    <a:lnTo>
                      <a:pt x="120" y="852"/>
                    </a:lnTo>
                    <a:lnTo>
                      <a:pt x="108" y="864"/>
                    </a:lnTo>
                    <a:lnTo>
                      <a:pt x="72" y="882"/>
                    </a:lnTo>
                    <a:lnTo>
                      <a:pt x="66" y="882"/>
                    </a:lnTo>
                    <a:lnTo>
                      <a:pt x="54" y="888"/>
                    </a:lnTo>
                    <a:lnTo>
                      <a:pt x="36" y="888"/>
                    </a:lnTo>
                    <a:lnTo>
                      <a:pt x="18" y="894"/>
                    </a:lnTo>
                    <a:lnTo>
                      <a:pt x="12" y="906"/>
                    </a:lnTo>
                    <a:lnTo>
                      <a:pt x="0" y="912"/>
                    </a:lnTo>
                    <a:lnTo>
                      <a:pt x="18" y="912"/>
                    </a:lnTo>
                    <a:lnTo>
                      <a:pt x="24" y="918"/>
                    </a:lnTo>
                    <a:lnTo>
                      <a:pt x="30" y="918"/>
                    </a:lnTo>
                    <a:lnTo>
                      <a:pt x="24" y="924"/>
                    </a:lnTo>
                    <a:lnTo>
                      <a:pt x="24" y="942"/>
                    </a:lnTo>
                    <a:lnTo>
                      <a:pt x="30" y="948"/>
                    </a:lnTo>
                    <a:lnTo>
                      <a:pt x="42" y="948"/>
                    </a:lnTo>
                    <a:lnTo>
                      <a:pt x="54" y="942"/>
                    </a:lnTo>
                    <a:lnTo>
                      <a:pt x="60" y="936"/>
                    </a:lnTo>
                    <a:lnTo>
                      <a:pt x="72" y="948"/>
                    </a:lnTo>
                    <a:lnTo>
                      <a:pt x="96" y="948"/>
                    </a:lnTo>
                    <a:lnTo>
                      <a:pt x="102" y="954"/>
                    </a:lnTo>
                    <a:lnTo>
                      <a:pt x="132" y="954"/>
                    </a:lnTo>
                    <a:lnTo>
                      <a:pt x="150" y="972"/>
                    </a:lnTo>
                    <a:lnTo>
                      <a:pt x="180" y="966"/>
                    </a:lnTo>
                    <a:lnTo>
                      <a:pt x="192" y="972"/>
                    </a:lnTo>
                    <a:lnTo>
                      <a:pt x="198" y="978"/>
                    </a:lnTo>
                    <a:lnTo>
                      <a:pt x="216" y="984"/>
                    </a:lnTo>
                    <a:lnTo>
                      <a:pt x="228" y="984"/>
                    </a:lnTo>
                    <a:lnTo>
                      <a:pt x="252" y="972"/>
                    </a:lnTo>
                    <a:lnTo>
                      <a:pt x="264" y="948"/>
                    </a:lnTo>
                    <a:lnTo>
                      <a:pt x="288" y="936"/>
                    </a:lnTo>
                    <a:lnTo>
                      <a:pt x="312" y="936"/>
                    </a:lnTo>
                    <a:lnTo>
                      <a:pt x="336" y="924"/>
                    </a:lnTo>
                    <a:lnTo>
                      <a:pt x="342" y="912"/>
                    </a:lnTo>
                    <a:lnTo>
                      <a:pt x="342" y="894"/>
                    </a:lnTo>
                    <a:lnTo>
                      <a:pt x="348" y="882"/>
                    </a:lnTo>
                    <a:lnTo>
                      <a:pt x="372" y="870"/>
                    </a:lnTo>
                    <a:lnTo>
                      <a:pt x="396" y="870"/>
                    </a:lnTo>
                    <a:lnTo>
                      <a:pt x="408" y="858"/>
                    </a:lnTo>
                    <a:lnTo>
                      <a:pt x="408" y="846"/>
                    </a:lnTo>
                    <a:lnTo>
                      <a:pt x="402" y="840"/>
                    </a:lnTo>
                    <a:lnTo>
                      <a:pt x="420" y="840"/>
                    </a:lnTo>
                    <a:lnTo>
                      <a:pt x="480" y="792"/>
                    </a:lnTo>
                    <a:lnTo>
                      <a:pt x="462" y="774"/>
                    </a:lnTo>
                    <a:lnTo>
                      <a:pt x="504" y="792"/>
                    </a:lnTo>
                    <a:lnTo>
                      <a:pt x="504" y="774"/>
                    </a:lnTo>
                    <a:lnTo>
                      <a:pt x="510" y="768"/>
                    </a:lnTo>
                    <a:lnTo>
                      <a:pt x="540" y="768"/>
                    </a:lnTo>
                    <a:lnTo>
                      <a:pt x="546" y="774"/>
                    </a:lnTo>
                    <a:lnTo>
                      <a:pt x="558" y="780"/>
                    </a:lnTo>
                    <a:lnTo>
                      <a:pt x="570" y="780"/>
                    </a:lnTo>
                    <a:lnTo>
                      <a:pt x="576" y="774"/>
                    </a:lnTo>
                    <a:lnTo>
                      <a:pt x="576" y="768"/>
                    </a:lnTo>
                    <a:lnTo>
                      <a:pt x="582" y="762"/>
                    </a:lnTo>
                    <a:lnTo>
                      <a:pt x="582" y="756"/>
                    </a:lnTo>
                    <a:lnTo>
                      <a:pt x="570" y="744"/>
                    </a:lnTo>
                    <a:lnTo>
                      <a:pt x="612" y="702"/>
                    </a:lnTo>
                    <a:lnTo>
                      <a:pt x="618" y="702"/>
                    </a:lnTo>
                    <a:lnTo>
                      <a:pt x="624" y="696"/>
                    </a:lnTo>
                    <a:lnTo>
                      <a:pt x="660" y="678"/>
                    </a:lnTo>
                    <a:lnTo>
                      <a:pt x="666" y="666"/>
                    </a:lnTo>
                    <a:lnTo>
                      <a:pt x="672" y="660"/>
                    </a:lnTo>
                    <a:lnTo>
                      <a:pt x="672" y="654"/>
                    </a:lnTo>
                    <a:lnTo>
                      <a:pt x="696" y="654"/>
                    </a:lnTo>
                    <a:lnTo>
                      <a:pt x="708" y="648"/>
                    </a:lnTo>
                    <a:lnTo>
                      <a:pt x="738" y="618"/>
                    </a:lnTo>
                    <a:lnTo>
                      <a:pt x="738" y="612"/>
                    </a:lnTo>
                    <a:lnTo>
                      <a:pt x="744" y="612"/>
                    </a:lnTo>
                    <a:lnTo>
                      <a:pt x="750" y="606"/>
                    </a:lnTo>
                    <a:lnTo>
                      <a:pt x="768" y="594"/>
                    </a:lnTo>
                    <a:lnTo>
                      <a:pt x="780" y="582"/>
                    </a:lnTo>
                    <a:lnTo>
                      <a:pt x="786" y="570"/>
                    </a:lnTo>
                    <a:lnTo>
                      <a:pt x="786" y="546"/>
                    </a:lnTo>
                    <a:lnTo>
                      <a:pt x="780" y="540"/>
                    </a:lnTo>
                    <a:lnTo>
                      <a:pt x="780" y="534"/>
                    </a:lnTo>
                    <a:lnTo>
                      <a:pt x="750" y="564"/>
                    </a:lnTo>
                    <a:close/>
                    <a:moveTo>
                      <a:pt x="1224" y="324"/>
                    </a:moveTo>
                    <a:lnTo>
                      <a:pt x="1236" y="318"/>
                    </a:lnTo>
                    <a:lnTo>
                      <a:pt x="1242" y="318"/>
                    </a:lnTo>
                    <a:lnTo>
                      <a:pt x="1266" y="306"/>
                    </a:lnTo>
                    <a:lnTo>
                      <a:pt x="1272" y="300"/>
                    </a:lnTo>
                    <a:lnTo>
                      <a:pt x="1272" y="282"/>
                    </a:lnTo>
                    <a:lnTo>
                      <a:pt x="1266" y="270"/>
                    </a:lnTo>
                    <a:lnTo>
                      <a:pt x="1260" y="264"/>
                    </a:lnTo>
                    <a:lnTo>
                      <a:pt x="1248" y="264"/>
                    </a:lnTo>
                    <a:lnTo>
                      <a:pt x="1236" y="276"/>
                    </a:lnTo>
                    <a:lnTo>
                      <a:pt x="1236" y="282"/>
                    </a:lnTo>
                    <a:lnTo>
                      <a:pt x="1224" y="282"/>
                    </a:lnTo>
                    <a:lnTo>
                      <a:pt x="1212" y="276"/>
                    </a:lnTo>
                    <a:lnTo>
                      <a:pt x="1200" y="276"/>
                    </a:lnTo>
                    <a:lnTo>
                      <a:pt x="1194" y="282"/>
                    </a:lnTo>
                    <a:lnTo>
                      <a:pt x="1176" y="288"/>
                    </a:lnTo>
                    <a:lnTo>
                      <a:pt x="1158" y="288"/>
                    </a:lnTo>
                    <a:lnTo>
                      <a:pt x="1146" y="276"/>
                    </a:lnTo>
                    <a:lnTo>
                      <a:pt x="1146" y="222"/>
                    </a:lnTo>
                    <a:lnTo>
                      <a:pt x="1170" y="180"/>
                    </a:lnTo>
                    <a:lnTo>
                      <a:pt x="1170" y="174"/>
                    </a:lnTo>
                    <a:lnTo>
                      <a:pt x="1164" y="162"/>
                    </a:lnTo>
                    <a:lnTo>
                      <a:pt x="1158" y="156"/>
                    </a:lnTo>
                    <a:lnTo>
                      <a:pt x="1146" y="156"/>
                    </a:lnTo>
                    <a:lnTo>
                      <a:pt x="1140" y="168"/>
                    </a:lnTo>
                    <a:lnTo>
                      <a:pt x="1134" y="174"/>
                    </a:lnTo>
                    <a:lnTo>
                      <a:pt x="1134" y="204"/>
                    </a:lnTo>
                    <a:lnTo>
                      <a:pt x="1128" y="216"/>
                    </a:lnTo>
                    <a:lnTo>
                      <a:pt x="1116" y="222"/>
                    </a:lnTo>
                    <a:lnTo>
                      <a:pt x="1116" y="192"/>
                    </a:lnTo>
                    <a:lnTo>
                      <a:pt x="1092" y="174"/>
                    </a:lnTo>
                    <a:lnTo>
                      <a:pt x="1104" y="150"/>
                    </a:lnTo>
                    <a:lnTo>
                      <a:pt x="1116" y="138"/>
                    </a:lnTo>
                    <a:lnTo>
                      <a:pt x="1122" y="126"/>
                    </a:lnTo>
                    <a:lnTo>
                      <a:pt x="1128" y="108"/>
                    </a:lnTo>
                    <a:lnTo>
                      <a:pt x="1128" y="84"/>
                    </a:lnTo>
                    <a:lnTo>
                      <a:pt x="1116" y="78"/>
                    </a:lnTo>
                    <a:lnTo>
                      <a:pt x="1110" y="72"/>
                    </a:lnTo>
                    <a:lnTo>
                      <a:pt x="1098" y="66"/>
                    </a:lnTo>
                    <a:lnTo>
                      <a:pt x="1092" y="60"/>
                    </a:lnTo>
                    <a:lnTo>
                      <a:pt x="1080" y="60"/>
                    </a:lnTo>
                    <a:lnTo>
                      <a:pt x="1086" y="42"/>
                    </a:lnTo>
                    <a:lnTo>
                      <a:pt x="1062" y="42"/>
                    </a:lnTo>
                    <a:lnTo>
                      <a:pt x="1044" y="18"/>
                    </a:lnTo>
                    <a:lnTo>
                      <a:pt x="1050" y="0"/>
                    </a:lnTo>
                    <a:lnTo>
                      <a:pt x="1020" y="18"/>
                    </a:lnTo>
                    <a:lnTo>
                      <a:pt x="1044" y="54"/>
                    </a:lnTo>
                    <a:lnTo>
                      <a:pt x="1032" y="90"/>
                    </a:lnTo>
                    <a:lnTo>
                      <a:pt x="1056" y="102"/>
                    </a:lnTo>
                    <a:lnTo>
                      <a:pt x="1044" y="108"/>
                    </a:lnTo>
                    <a:lnTo>
                      <a:pt x="1044" y="126"/>
                    </a:lnTo>
                    <a:lnTo>
                      <a:pt x="1068" y="132"/>
                    </a:lnTo>
                    <a:lnTo>
                      <a:pt x="1044" y="150"/>
                    </a:lnTo>
                    <a:lnTo>
                      <a:pt x="1062" y="156"/>
                    </a:lnTo>
                    <a:lnTo>
                      <a:pt x="1062" y="168"/>
                    </a:lnTo>
                    <a:lnTo>
                      <a:pt x="1056" y="174"/>
                    </a:lnTo>
                    <a:lnTo>
                      <a:pt x="1056" y="192"/>
                    </a:lnTo>
                    <a:lnTo>
                      <a:pt x="1068" y="198"/>
                    </a:lnTo>
                    <a:lnTo>
                      <a:pt x="1074" y="204"/>
                    </a:lnTo>
                    <a:lnTo>
                      <a:pt x="1056" y="210"/>
                    </a:lnTo>
                    <a:lnTo>
                      <a:pt x="1044" y="222"/>
                    </a:lnTo>
                    <a:lnTo>
                      <a:pt x="1062" y="234"/>
                    </a:lnTo>
                    <a:lnTo>
                      <a:pt x="1038" y="258"/>
                    </a:lnTo>
                    <a:lnTo>
                      <a:pt x="1032" y="270"/>
                    </a:lnTo>
                    <a:lnTo>
                      <a:pt x="1026" y="276"/>
                    </a:lnTo>
                    <a:lnTo>
                      <a:pt x="1026" y="288"/>
                    </a:lnTo>
                    <a:lnTo>
                      <a:pt x="1038" y="300"/>
                    </a:lnTo>
                    <a:lnTo>
                      <a:pt x="1026" y="300"/>
                    </a:lnTo>
                    <a:lnTo>
                      <a:pt x="1014" y="306"/>
                    </a:lnTo>
                    <a:lnTo>
                      <a:pt x="1002" y="306"/>
                    </a:lnTo>
                    <a:lnTo>
                      <a:pt x="978" y="318"/>
                    </a:lnTo>
                    <a:lnTo>
                      <a:pt x="948" y="348"/>
                    </a:lnTo>
                    <a:lnTo>
                      <a:pt x="930" y="360"/>
                    </a:lnTo>
                    <a:lnTo>
                      <a:pt x="894" y="372"/>
                    </a:lnTo>
                    <a:lnTo>
                      <a:pt x="870" y="384"/>
                    </a:lnTo>
                    <a:lnTo>
                      <a:pt x="858" y="396"/>
                    </a:lnTo>
                    <a:lnTo>
                      <a:pt x="858" y="432"/>
                    </a:lnTo>
                    <a:lnTo>
                      <a:pt x="864" y="444"/>
                    </a:lnTo>
                    <a:lnTo>
                      <a:pt x="870" y="450"/>
                    </a:lnTo>
                    <a:lnTo>
                      <a:pt x="870" y="456"/>
                    </a:lnTo>
                    <a:lnTo>
                      <a:pt x="924" y="456"/>
                    </a:lnTo>
                    <a:lnTo>
                      <a:pt x="924" y="474"/>
                    </a:lnTo>
                    <a:lnTo>
                      <a:pt x="918" y="486"/>
                    </a:lnTo>
                    <a:lnTo>
                      <a:pt x="918" y="522"/>
                    </a:lnTo>
                    <a:lnTo>
                      <a:pt x="894" y="534"/>
                    </a:lnTo>
                    <a:lnTo>
                      <a:pt x="882" y="534"/>
                    </a:lnTo>
                    <a:lnTo>
                      <a:pt x="864" y="540"/>
                    </a:lnTo>
                    <a:lnTo>
                      <a:pt x="852" y="546"/>
                    </a:lnTo>
                    <a:lnTo>
                      <a:pt x="852" y="558"/>
                    </a:lnTo>
                    <a:lnTo>
                      <a:pt x="840" y="570"/>
                    </a:lnTo>
                    <a:lnTo>
                      <a:pt x="852" y="576"/>
                    </a:lnTo>
                    <a:lnTo>
                      <a:pt x="858" y="582"/>
                    </a:lnTo>
                    <a:lnTo>
                      <a:pt x="876" y="588"/>
                    </a:lnTo>
                    <a:lnTo>
                      <a:pt x="888" y="588"/>
                    </a:lnTo>
                    <a:lnTo>
                      <a:pt x="912" y="576"/>
                    </a:lnTo>
                    <a:lnTo>
                      <a:pt x="924" y="558"/>
                    </a:lnTo>
                    <a:lnTo>
                      <a:pt x="972" y="510"/>
                    </a:lnTo>
                    <a:lnTo>
                      <a:pt x="996" y="498"/>
                    </a:lnTo>
                    <a:lnTo>
                      <a:pt x="1014" y="492"/>
                    </a:lnTo>
                    <a:lnTo>
                      <a:pt x="1026" y="486"/>
                    </a:lnTo>
                    <a:lnTo>
                      <a:pt x="1032" y="480"/>
                    </a:lnTo>
                    <a:lnTo>
                      <a:pt x="1038" y="480"/>
                    </a:lnTo>
                    <a:lnTo>
                      <a:pt x="1044" y="474"/>
                    </a:lnTo>
                    <a:lnTo>
                      <a:pt x="1050" y="462"/>
                    </a:lnTo>
                    <a:lnTo>
                      <a:pt x="1056" y="462"/>
                    </a:lnTo>
                    <a:lnTo>
                      <a:pt x="1062" y="456"/>
                    </a:lnTo>
                    <a:lnTo>
                      <a:pt x="1074" y="450"/>
                    </a:lnTo>
                    <a:lnTo>
                      <a:pt x="1080" y="444"/>
                    </a:lnTo>
                    <a:lnTo>
                      <a:pt x="1080" y="420"/>
                    </a:lnTo>
                    <a:lnTo>
                      <a:pt x="1074" y="414"/>
                    </a:lnTo>
                    <a:lnTo>
                      <a:pt x="1080" y="414"/>
                    </a:lnTo>
                    <a:lnTo>
                      <a:pt x="1086" y="408"/>
                    </a:lnTo>
                    <a:lnTo>
                      <a:pt x="1110" y="396"/>
                    </a:lnTo>
                    <a:lnTo>
                      <a:pt x="1140" y="396"/>
                    </a:lnTo>
                    <a:lnTo>
                      <a:pt x="1152" y="402"/>
                    </a:lnTo>
                    <a:lnTo>
                      <a:pt x="1164" y="402"/>
                    </a:lnTo>
                    <a:lnTo>
                      <a:pt x="1176" y="390"/>
                    </a:lnTo>
                    <a:lnTo>
                      <a:pt x="1176" y="360"/>
                    </a:lnTo>
                    <a:lnTo>
                      <a:pt x="1200" y="360"/>
                    </a:lnTo>
                    <a:lnTo>
                      <a:pt x="1212" y="354"/>
                    </a:lnTo>
                    <a:lnTo>
                      <a:pt x="1218" y="354"/>
                    </a:lnTo>
                    <a:lnTo>
                      <a:pt x="1224" y="348"/>
                    </a:lnTo>
                    <a:lnTo>
                      <a:pt x="1224" y="324"/>
                    </a:lnTo>
                    <a:close/>
                  </a:path>
                </a:pathLst>
              </a:custGeom>
              <a:solidFill>
                <a:srgbClr val="9D90A0">
                  <a:lumMod val="40000"/>
                  <a:lumOff val="60000"/>
                </a:srgbClr>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19" name="Myanmar" descr="© INSCALE GmbH, 05.05.2010&#10;http://www.presentationload.com/">
                <a:extLst>
                  <a:ext uri="{FF2B5EF4-FFF2-40B4-BE49-F238E27FC236}">
                    <a16:creationId xmlns:a16="http://schemas.microsoft.com/office/drawing/2014/main" id="{170BF297-3EB1-4E88-AD62-BA5BE87A5560}"/>
                  </a:ext>
                </a:extLst>
              </p:cNvPr>
              <p:cNvSpPr>
                <a:spLocks/>
              </p:cNvSpPr>
              <p:nvPr/>
            </p:nvSpPr>
            <p:spPr bwMode="gray">
              <a:xfrm>
                <a:off x="6762038" y="3542138"/>
                <a:ext cx="252706" cy="658426"/>
              </a:xfrm>
              <a:custGeom>
                <a:avLst/>
                <a:gdLst>
                  <a:gd name="T0" fmla="*/ 2147483647 w 636"/>
                  <a:gd name="T1" fmla="*/ 2147483647 h 1500"/>
                  <a:gd name="T2" fmla="*/ 2147483647 w 636"/>
                  <a:gd name="T3" fmla="*/ 2147483647 h 1500"/>
                  <a:gd name="T4" fmla="*/ 2147483647 w 636"/>
                  <a:gd name="T5" fmla="*/ 2147483647 h 1500"/>
                  <a:gd name="T6" fmla="*/ 2147483647 w 636"/>
                  <a:gd name="T7" fmla="*/ 2147483647 h 1500"/>
                  <a:gd name="T8" fmla="*/ 2147483647 w 636"/>
                  <a:gd name="T9" fmla="*/ 2147483647 h 1500"/>
                  <a:gd name="T10" fmla="*/ 2147483647 w 636"/>
                  <a:gd name="T11" fmla="*/ 2147483647 h 1500"/>
                  <a:gd name="T12" fmla="*/ 2147483647 w 636"/>
                  <a:gd name="T13" fmla="*/ 2147483647 h 1500"/>
                  <a:gd name="T14" fmla="*/ 2147483647 w 636"/>
                  <a:gd name="T15" fmla="*/ 2147483647 h 1500"/>
                  <a:gd name="T16" fmla="*/ 2147483647 w 636"/>
                  <a:gd name="T17" fmla="*/ 2147483647 h 1500"/>
                  <a:gd name="T18" fmla="*/ 2147483647 w 636"/>
                  <a:gd name="T19" fmla="*/ 2147483647 h 1500"/>
                  <a:gd name="T20" fmla="*/ 2147483647 w 636"/>
                  <a:gd name="T21" fmla="*/ 2147483647 h 1500"/>
                  <a:gd name="T22" fmla="*/ 2147483647 w 636"/>
                  <a:gd name="T23" fmla="*/ 2147483647 h 1500"/>
                  <a:gd name="T24" fmla="*/ 2147483647 w 636"/>
                  <a:gd name="T25" fmla="*/ 2147483647 h 1500"/>
                  <a:gd name="T26" fmla="*/ 2147483647 w 636"/>
                  <a:gd name="T27" fmla="*/ 2147483647 h 1500"/>
                  <a:gd name="T28" fmla="*/ 2147483647 w 636"/>
                  <a:gd name="T29" fmla="*/ 2147483647 h 1500"/>
                  <a:gd name="T30" fmla="*/ 2147483647 w 636"/>
                  <a:gd name="T31" fmla="*/ 2147483647 h 1500"/>
                  <a:gd name="T32" fmla="*/ 2147483647 w 636"/>
                  <a:gd name="T33" fmla="*/ 2147483647 h 1500"/>
                  <a:gd name="T34" fmla="*/ 2147483647 w 636"/>
                  <a:gd name="T35" fmla="*/ 2147483647 h 1500"/>
                  <a:gd name="T36" fmla="*/ 2147483647 w 636"/>
                  <a:gd name="T37" fmla="*/ 2147483647 h 1500"/>
                  <a:gd name="T38" fmla="*/ 2147483647 w 636"/>
                  <a:gd name="T39" fmla="*/ 2147483647 h 1500"/>
                  <a:gd name="T40" fmla="*/ 2147483647 w 636"/>
                  <a:gd name="T41" fmla="*/ 2147483647 h 1500"/>
                  <a:gd name="T42" fmla="*/ 2147483647 w 636"/>
                  <a:gd name="T43" fmla="*/ 2147483647 h 1500"/>
                  <a:gd name="T44" fmla="*/ 2147483647 w 636"/>
                  <a:gd name="T45" fmla="*/ 2147483647 h 1500"/>
                  <a:gd name="T46" fmla="*/ 2147483647 w 636"/>
                  <a:gd name="T47" fmla="*/ 2147483647 h 1500"/>
                  <a:gd name="T48" fmla="*/ 2147483647 w 636"/>
                  <a:gd name="T49" fmla="*/ 2147483647 h 1500"/>
                  <a:gd name="T50" fmla="*/ 2147483647 w 636"/>
                  <a:gd name="T51" fmla="*/ 2147483647 h 1500"/>
                  <a:gd name="T52" fmla="*/ 2147483647 w 636"/>
                  <a:gd name="T53" fmla="*/ 2147483647 h 1500"/>
                  <a:gd name="T54" fmla="*/ 2147483647 w 636"/>
                  <a:gd name="T55" fmla="*/ 2147483647 h 1500"/>
                  <a:gd name="T56" fmla="*/ 2147483647 w 636"/>
                  <a:gd name="T57" fmla="*/ 2147483647 h 1500"/>
                  <a:gd name="T58" fmla="*/ 2147483647 w 636"/>
                  <a:gd name="T59" fmla="*/ 2147483647 h 1500"/>
                  <a:gd name="T60" fmla="*/ 2147483647 w 636"/>
                  <a:gd name="T61" fmla="*/ 2147483647 h 1500"/>
                  <a:gd name="T62" fmla="*/ 2147483647 w 636"/>
                  <a:gd name="T63" fmla="*/ 2147483647 h 1500"/>
                  <a:gd name="T64" fmla="*/ 2147483647 w 636"/>
                  <a:gd name="T65" fmla="*/ 2147483647 h 1500"/>
                  <a:gd name="T66" fmla="*/ 2147483647 w 636"/>
                  <a:gd name="T67" fmla="*/ 2147483647 h 1500"/>
                  <a:gd name="T68" fmla="*/ 2147483647 w 636"/>
                  <a:gd name="T69" fmla="*/ 2147483647 h 1500"/>
                  <a:gd name="T70" fmla="*/ 2147483647 w 636"/>
                  <a:gd name="T71" fmla="*/ 2147483647 h 1500"/>
                  <a:gd name="T72" fmla="*/ 2147483647 w 636"/>
                  <a:gd name="T73" fmla="*/ 2147483647 h 1500"/>
                  <a:gd name="T74" fmla="*/ 2147483647 w 636"/>
                  <a:gd name="T75" fmla="*/ 2147483647 h 1500"/>
                  <a:gd name="T76" fmla="*/ 2147483647 w 636"/>
                  <a:gd name="T77" fmla="*/ 2147483647 h 1500"/>
                  <a:gd name="T78" fmla="*/ 2147483647 w 636"/>
                  <a:gd name="T79" fmla="*/ 2147483647 h 1500"/>
                  <a:gd name="T80" fmla="*/ 2147483647 w 636"/>
                  <a:gd name="T81" fmla="*/ 2147483647 h 1500"/>
                  <a:gd name="T82" fmla="*/ 2147483647 w 636"/>
                  <a:gd name="T83" fmla="*/ 2147483647 h 1500"/>
                  <a:gd name="T84" fmla="*/ 2147483647 w 636"/>
                  <a:gd name="T85" fmla="*/ 2147483647 h 1500"/>
                  <a:gd name="T86" fmla="*/ 2147483647 w 636"/>
                  <a:gd name="T87" fmla="*/ 0 h 1500"/>
                  <a:gd name="T88" fmla="*/ 2147483647 w 636"/>
                  <a:gd name="T89" fmla="*/ 2147483647 h 1500"/>
                  <a:gd name="T90" fmla="*/ 2147483647 w 636"/>
                  <a:gd name="T91" fmla="*/ 2147483647 h 1500"/>
                  <a:gd name="T92" fmla="*/ 2147483647 w 636"/>
                  <a:gd name="T93" fmla="*/ 2147483647 h 1500"/>
                  <a:gd name="T94" fmla="*/ 2147483647 w 636"/>
                  <a:gd name="T95" fmla="*/ 2147483647 h 1500"/>
                  <a:gd name="T96" fmla="*/ 2147483647 w 636"/>
                  <a:gd name="T97" fmla="*/ 2147483647 h 1500"/>
                  <a:gd name="T98" fmla="*/ 2147483647 w 636"/>
                  <a:gd name="T99" fmla="*/ 2147483647 h 1500"/>
                  <a:gd name="T100" fmla="*/ 2147483647 w 636"/>
                  <a:gd name="T101" fmla="*/ 2147483647 h 1500"/>
                  <a:gd name="T102" fmla="*/ 2147483647 w 636"/>
                  <a:gd name="T103" fmla="*/ 2147483647 h 1500"/>
                  <a:gd name="T104" fmla="*/ 2147483647 w 636"/>
                  <a:gd name="T105" fmla="*/ 2147483647 h 1500"/>
                  <a:gd name="T106" fmla="*/ 2147483647 w 636"/>
                  <a:gd name="T107" fmla="*/ 2147483647 h 1500"/>
                  <a:gd name="T108" fmla="*/ 2147483647 w 636"/>
                  <a:gd name="T109" fmla="*/ 2147483647 h 15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636"/>
                  <a:gd name="T166" fmla="*/ 0 h 1500"/>
                  <a:gd name="T167" fmla="*/ 636 w 636"/>
                  <a:gd name="T168" fmla="*/ 1500 h 150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636" h="1500">
                    <a:moveTo>
                      <a:pt x="0" y="588"/>
                    </a:moveTo>
                    <a:lnTo>
                      <a:pt x="18" y="588"/>
                    </a:lnTo>
                    <a:lnTo>
                      <a:pt x="12" y="630"/>
                    </a:lnTo>
                    <a:lnTo>
                      <a:pt x="18" y="630"/>
                    </a:lnTo>
                    <a:lnTo>
                      <a:pt x="24" y="636"/>
                    </a:lnTo>
                    <a:lnTo>
                      <a:pt x="42" y="642"/>
                    </a:lnTo>
                    <a:lnTo>
                      <a:pt x="54" y="648"/>
                    </a:lnTo>
                    <a:lnTo>
                      <a:pt x="72" y="666"/>
                    </a:lnTo>
                    <a:lnTo>
                      <a:pt x="84" y="690"/>
                    </a:lnTo>
                    <a:lnTo>
                      <a:pt x="90" y="696"/>
                    </a:lnTo>
                    <a:lnTo>
                      <a:pt x="90" y="702"/>
                    </a:lnTo>
                    <a:lnTo>
                      <a:pt x="126" y="696"/>
                    </a:lnTo>
                    <a:lnTo>
                      <a:pt x="102" y="738"/>
                    </a:lnTo>
                    <a:lnTo>
                      <a:pt x="108" y="738"/>
                    </a:lnTo>
                    <a:lnTo>
                      <a:pt x="114" y="744"/>
                    </a:lnTo>
                    <a:lnTo>
                      <a:pt x="126" y="744"/>
                    </a:lnTo>
                    <a:lnTo>
                      <a:pt x="144" y="750"/>
                    </a:lnTo>
                    <a:lnTo>
                      <a:pt x="156" y="762"/>
                    </a:lnTo>
                    <a:lnTo>
                      <a:pt x="168" y="768"/>
                    </a:lnTo>
                    <a:lnTo>
                      <a:pt x="174" y="780"/>
                    </a:lnTo>
                    <a:lnTo>
                      <a:pt x="186" y="792"/>
                    </a:lnTo>
                    <a:lnTo>
                      <a:pt x="192" y="804"/>
                    </a:lnTo>
                    <a:lnTo>
                      <a:pt x="192" y="822"/>
                    </a:lnTo>
                    <a:lnTo>
                      <a:pt x="198" y="834"/>
                    </a:lnTo>
                    <a:lnTo>
                      <a:pt x="198" y="840"/>
                    </a:lnTo>
                    <a:lnTo>
                      <a:pt x="204" y="846"/>
                    </a:lnTo>
                    <a:lnTo>
                      <a:pt x="210" y="858"/>
                    </a:lnTo>
                    <a:lnTo>
                      <a:pt x="222" y="870"/>
                    </a:lnTo>
                    <a:lnTo>
                      <a:pt x="210" y="888"/>
                    </a:lnTo>
                    <a:lnTo>
                      <a:pt x="216" y="978"/>
                    </a:lnTo>
                    <a:lnTo>
                      <a:pt x="204" y="990"/>
                    </a:lnTo>
                    <a:lnTo>
                      <a:pt x="204" y="1002"/>
                    </a:lnTo>
                    <a:lnTo>
                      <a:pt x="222" y="1020"/>
                    </a:lnTo>
                    <a:lnTo>
                      <a:pt x="234" y="1020"/>
                    </a:lnTo>
                    <a:lnTo>
                      <a:pt x="246" y="1014"/>
                    </a:lnTo>
                    <a:lnTo>
                      <a:pt x="252" y="1008"/>
                    </a:lnTo>
                    <a:lnTo>
                      <a:pt x="258" y="1014"/>
                    </a:lnTo>
                    <a:lnTo>
                      <a:pt x="258" y="1020"/>
                    </a:lnTo>
                    <a:lnTo>
                      <a:pt x="276" y="1020"/>
                    </a:lnTo>
                    <a:lnTo>
                      <a:pt x="282" y="1014"/>
                    </a:lnTo>
                    <a:lnTo>
                      <a:pt x="294" y="1008"/>
                    </a:lnTo>
                    <a:lnTo>
                      <a:pt x="300" y="996"/>
                    </a:lnTo>
                    <a:lnTo>
                      <a:pt x="306" y="990"/>
                    </a:lnTo>
                    <a:lnTo>
                      <a:pt x="312" y="978"/>
                    </a:lnTo>
                    <a:lnTo>
                      <a:pt x="324" y="978"/>
                    </a:lnTo>
                    <a:lnTo>
                      <a:pt x="360" y="960"/>
                    </a:lnTo>
                    <a:lnTo>
                      <a:pt x="366" y="954"/>
                    </a:lnTo>
                    <a:lnTo>
                      <a:pt x="366" y="900"/>
                    </a:lnTo>
                    <a:lnTo>
                      <a:pt x="372" y="894"/>
                    </a:lnTo>
                    <a:lnTo>
                      <a:pt x="378" y="894"/>
                    </a:lnTo>
                    <a:lnTo>
                      <a:pt x="396" y="912"/>
                    </a:lnTo>
                    <a:lnTo>
                      <a:pt x="402" y="924"/>
                    </a:lnTo>
                    <a:lnTo>
                      <a:pt x="402" y="954"/>
                    </a:lnTo>
                    <a:lnTo>
                      <a:pt x="408" y="954"/>
                    </a:lnTo>
                    <a:lnTo>
                      <a:pt x="426" y="972"/>
                    </a:lnTo>
                    <a:lnTo>
                      <a:pt x="432" y="984"/>
                    </a:lnTo>
                    <a:lnTo>
                      <a:pt x="444" y="1014"/>
                    </a:lnTo>
                    <a:lnTo>
                      <a:pt x="450" y="1050"/>
                    </a:lnTo>
                    <a:lnTo>
                      <a:pt x="450" y="1074"/>
                    </a:lnTo>
                    <a:lnTo>
                      <a:pt x="456" y="1092"/>
                    </a:lnTo>
                    <a:lnTo>
                      <a:pt x="456" y="1128"/>
                    </a:lnTo>
                    <a:lnTo>
                      <a:pt x="462" y="1134"/>
                    </a:lnTo>
                    <a:lnTo>
                      <a:pt x="480" y="1170"/>
                    </a:lnTo>
                    <a:lnTo>
                      <a:pt x="486" y="1176"/>
                    </a:lnTo>
                    <a:lnTo>
                      <a:pt x="486" y="1182"/>
                    </a:lnTo>
                    <a:lnTo>
                      <a:pt x="528" y="1272"/>
                    </a:lnTo>
                    <a:lnTo>
                      <a:pt x="540" y="1320"/>
                    </a:lnTo>
                    <a:lnTo>
                      <a:pt x="522" y="1320"/>
                    </a:lnTo>
                    <a:lnTo>
                      <a:pt x="516" y="1326"/>
                    </a:lnTo>
                    <a:lnTo>
                      <a:pt x="516" y="1350"/>
                    </a:lnTo>
                    <a:lnTo>
                      <a:pt x="510" y="1362"/>
                    </a:lnTo>
                    <a:lnTo>
                      <a:pt x="510" y="1374"/>
                    </a:lnTo>
                    <a:lnTo>
                      <a:pt x="552" y="1362"/>
                    </a:lnTo>
                    <a:lnTo>
                      <a:pt x="540" y="1416"/>
                    </a:lnTo>
                    <a:lnTo>
                      <a:pt x="540" y="1428"/>
                    </a:lnTo>
                    <a:lnTo>
                      <a:pt x="534" y="1440"/>
                    </a:lnTo>
                    <a:lnTo>
                      <a:pt x="534" y="1464"/>
                    </a:lnTo>
                    <a:lnTo>
                      <a:pt x="540" y="1482"/>
                    </a:lnTo>
                    <a:lnTo>
                      <a:pt x="540" y="1488"/>
                    </a:lnTo>
                    <a:lnTo>
                      <a:pt x="546" y="1500"/>
                    </a:lnTo>
                    <a:lnTo>
                      <a:pt x="552" y="1488"/>
                    </a:lnTo>
                    <a:lnTo>
                      <a:pt x="558" y="1482"/>
                    </a:lnTo>
                    <a:lnTo>
                      <a:pt x="564" y="1470"/>
                    </a:lnTo>
                    <a:lnTo>
                      <a:pt x="564" y="1458"/>
                    </a:lnTo>
                    <a:lnTo>
                      <a:pt x="558" y="1452"/>
                    </a:lnTo>
                    <a:lnTo>
                      <a:pt x="558" y="1440"/>
                    </a:lnTo>
                    <a:lnTo>
                      <a:pt x="576" y="1422"/>
                    </a:lnTo>
                    <a:lnTo>
                      <a:pt x="594" y="1386"/>
                    </a:lnTo>
                    <a:lnTo>
                      <a:pt x="594" y="1368"/>
                    </a:lnTo>
                    <a:lnTo>
                      <a:pt x="600" y="1356"/>
                    </a:lnTo>
                    <a:lnTo>
                      <a:pt x="600" y="1326"/>
                    </a:lnTo>
                    <a:lnTo>
                      <a:pt x="594" y="1314"/>
                    </a:lnTo>
                    <a:lnTo>
                      <a:pt x="594" y="1290"/>
                    </a:lnTo>
                    <a:lnTo>
                      <a:pt x="570" y="1266"/>
                    </a:lnTo>
                    <a:lnTo>
                      <a:pt x="570" y="1242"/>
                    </a:lnTo>
                    <a:lnTo>
                      <a:pt x="564" y="1224"/>
                    </a:lnTo>
                    <a:lnTo>
                      <a:pt x="564" y="1194"/>
                    </a:lnTo>
                    <a:lnTo>
                      <a:pt x="558" y="1182"/>
                    </a:lnTo>
                    <a:lnTo>
                      <a:pt x="516" y="1140"/>
                    </a:lnTo>
                    <a:lnTo>
                      <a:pt x="510" y="1128"/>
                    </a:lnTo>
                    <a:lnTo>
                      <a:pt x="504" y="1122"/>
                    </a:lnTo>
                    <a:lnTo>
                      <a:pt x="498" y="1110"/>
                    </a:lnTo>
                    <a:lnTo>
                      <a:pt x="492" y="1104"/>
                    </a:lnTo>
                    <a:lnTo>
                      <a:pt x="492" y="1098"/>
                    </a:lnTo>
                    <a:lnTo>
                      <a:pt x="486" y="1092"/>
                    </a:lnTo>
                    <a:lnTo>
                      <a:pt x="504" y="1056"/>
                    </a:lnTo>
                    <a:lnTo>
                      <a:pt x="510" y="1050"/>
                    </a:lnTo>
                    <a:lnTo>
                      <a:pt x="516" y="1038"/>
                    </a:lnTo>
                    <a:lnTo>
                      <a:pt x="516" y="1014"/>
                    </a:lnTo>
                    <a:lnTo>
                      <a:pt x="510" y="1002"/>
                    </a:lnTo>
                    <a:lnTo>
                      <a:pt x="522" y="1002"/>
                    </a:lnTo>
                    <a:lnTo>
                      <a:pt x="528" y="996"/>
                    </a:lnTo>
                    <a:lnTo>
                      <a:pt x="528" y="978"/>
                    </a:lnTo>
                    <a:lnTo>
                      <a:pt x="522" y="972"/>
                    </a:lnTo>
                    <a:lnTo>
                      <a:pt x="516" y="978"/>
                    </a:lnTo>
                    <a:lnTo>
                      <a:pt x="510" y="978"/>
                    </a:lnTo>
                    <a:lnTo>
                      <a:pt x="504" y="972"/>
                    </a:lnTo>
                    <a:lnTo>
                      <a:pt x="498" y="960"/>
                    </a:lnTo>
                    <a:lnTo>
                      <a:pt x="498" y="942"/>
                    </a:lnTo>
                    <a:lnTo>
                      <a:pt x="504" y="942"/>
                    </a:lnTo>
                    <a:lnTo>
                      <a:pt x="504" y="936"/>
                    </a:lnTo>
                    <a:lnTo>
                      <a:pt x="498" y="930"/>
                    </a:lnTo>
                    <a:lnTo>
                      <a:pt x="486" y="924"/>
                    </a:lnTo>
                    <a:lnTo>
                      <a:pt x="474" y="912"/>
                    </a:lnTo>
                    <a:lnTo>
                      <a:pt x="462" y="906"/>
                    </a:lnTo>
                    <a:lnTo>
                      <a:pt x="444" y="888"/>
                    </a:lnTo>
                    <a:lnTo>
                      <a:pt x="438" y="876"/>
                    </a:lnTo>
                    <a:lnTo>
                      <a:pt x="438" y="870"/>
                    </a:lnTo>
                    <a:lnTo>
                      <a:pt x="432" y="870"/>
                    </a:lnTo>
                    <a:lnTo>
                      <a:pt x="438" y="846"/>
                    </a:lnTo>
                    <a:lnTo>
                      <a:pt x="426" y="840"/>
                    </a:lnTo>
                    <a:lnTo>
                      <a:pt x="402" y="816"/>
                    </a:lnTo>
                    <a:lnTo>
                      <a:pt x="402" y="810"/>
                    </a:lnTo>
                    <a:lnTo>
                      <a:pt x="426" y="810"/>
                    </a:lnTo>
                    <a:lnTo>
                      <a:pt x="426" y="792"/>
                    </a:lnTo>
                    <a:lnTo>
                      <a:pt x="408" y="774"/>
                    </a:lnTo>
                    <a:lnTo>
                      <a:pt x="408" y="768"/>
                    </a:lnTo>
                    <a:lnTo>
                      <a:pt x="414" y="762"/>
                    </a:lnTo>
                    <a:lnTo>
                      <a:pt x="420" y="762"/>
                    </a:lnTo>
                    <a:lnTo>
                      <a:pt x="426" y="756"/>
                    </a:lnTo>
                    <a:lnTo>
                      <a:pt x="426" y="708"/>
                    </a:lnTo>
                    <a:lnTo>
                      <a:pt x="456" y="708"/>
                    </a:lnTo>
                    <a:lnTo>
                      <a:pt x="468" y="714"/>
                    </a:lnTo>
                    <a:lnTo>
                      <a:pt x="480" y="714"/>
                    </a:lnTo>
                    <a:lnTo>
                      <a:pt x="486" y="708"/>
                    </a:lnTo>
                    <a:lnTo>
                      <a:pt x="492" y="696"/>
                    </a:lnTo>
                    <a:lnTo>
                      <a:pt x="498" y="690"/>
                    </a:lnTo>
                    <a:lnTo>
                      <a:pt x="498" y="684"/>
                    </a:lnTo>
                    <a:lnTo>
                      <a:pt x="522" y="684"/>
                    </a:lnTo>
                    <a:lnTo>
                      <a:pt x="528" y="660"/>
                    </a:lnTo>
                    <a:lnTo>
                      <a:pt x="534" y="660"/>
                    </a:lnTo>
                    <a:lnTo>
                      <a:pt x="540" y="654"/>
                    </a:lnTo>
                    <a:lnTo>
                      <a:pt x="564" y="654"/>
                    </a:lnTo>
                    <a:lnTo>
                      <a:pt x="564" y="642"/>
                    </a:lnTo>
                    <a:lnTo>
                      <a:pt x="582" y="624"/>
                    </a:lnTo>
                    <a:lnTo>
                      <a:pt x="594" y="624"/>
                    </a:lnTo>
                    <a:lnTo>
                      <a:pt x="600" y="618"/>
                    </a:lnTo>
                    <a:lnTo>
                      <a:pt x="594" y="612"/>
                    </a:lnTo>
                    <a:lnTo>
                      <a:pt x="600" y="600"/>
                    </a:lnTo>
                    <a:lnTo>
                      <a:pt x="600" y="588"/>
                    </a:lnTo>
                    <a:lnTo>
                      <a:pt x="636" y="570"/>
                    </a:lnTo>
                    <a:lnTo>
                      <a:pt x="636" y="552"/>
                    </a:lnTo>
                    <a:lnTo>
                      <a:pt x="630" y="546"/>
                    </a:lnTo>
                    <a:lnTo>
                      <a:pt x="618" y="546"/>
                    </a:lnTo>
                    <a:lnTo>
                      <a:pt x="600" y="564"/>
                    </a:lnTo>
                    <a:lnTo>
                      <a:pt x="600" y="570"/>
                    </a:lnTo>
                    <a:lnTo>
                      <a:pt x="558" y="570"/>
                    </a:lnTo>
                    <a:lnTo>
                      <a:pt x="558" y="552"/>
                    </a:lnTo>
                    <a:lnTo>
                      <a:pt x="546" y="552"/>
                    </a:lnTo>
                    <a:lnTo>
                      <a:pt x="534" y="522"/>
                    </a:lnTo>
                    <a:lnTo>
                      <a:pt x="480" y="516"/>
                    </a:lnTo>
                    <a:lnTo>
                      <a:pt x="486" y="504"/>
                    </a:lnTo>
                    <a:lnTo>
                      <a:pt x="486" y="498"/>
                    </a:lnTo>
                    <a:lnTo>
                      <a:pt x="492" y="492"/>
                    </a:lnTo>
                    <a:lnTo>
                      <a:pt x="492" y="480"/>
                    </a:lnTo>
                    <a:lnTo>
                      <a:pt x="480" y="468"/>
                    </a:lnTo>
                    <a:lnTo>
                      <a:pt x="486" y="462"/>
                    </a:lnTo>
                    <a:lnTo>
                      <a:pt x="498" y="462"/>
                    </a:lnTo>
                    <a:lnTo>
                      <a:pt x="504" y="456"/>
                    </a:lnTo>
                    <a:lnTo>
                      <a:pt x="504" y="450"/>
                    </a:lnTo>
                    <a:lnTo>
                      <a:pt x="498" y="444"/>
                    </a:lnTo>
                    <a:lnTo>
                      <a:pt x="486" y="438"/>
                    </a:lnTo>
                    <a:lnTo>
                      <a:pt x="456" y="438"/>
                    </a:lnTo>
                    <a:lnTo>
                      <a:pt x="444" y="396"/>
                    </a:lnTo>
                    <a:lnTo>
                      <a:pt x="420" y="378"/>
                    </a:lnTo>
                    <a:lnTo>
                      <a:pt x="450" y="354"/>
                    </a:lnTo>
                    <a:lnTo>
                      <a:pt x="390" y="354"/>
                    </a:lnTo>
                    <a:lnTo>
                      <a:pt x="384" y="360"/>
                    </a:lnTo>
                    <a:lnTo>
                      <a:pt x="372" y="360"/>
                    </a:lnTo>
                    <a:lnTo>
                      <a:pt x="366" y="366"/>
                    </a:lnTo>
                    <a:lnTo>
                      <a:pt x="354" y="372"/>
                    </a:lnTo>
                    <a:lnTo>
                      <a:pt x="366" y="354"/>
                    </a:lnTo>
                    <a:lnTo>
                      <a:pt x="360" y="342"/>
                    </a:lnTo>
                    <a:lnTo>
                      <a:pt x="342" y="324"/>
                    </a:lnTo>
                    <a:lnTo>
                      <a:pt x="342" y="306"/>
                    </a:lnTo>
                    <a:lnTo>
                      <a:pt x="354" y="306"/>
                    </a:lnTo>
                    <a:lnTo>
                      <a:pt x="348" y="276"/>
                    </a:lnTo>
                    <a:lnTo>
                      <a:pt x="360" y="276"/>
                    </a:lnTo>
                    <a:lnTo>
                      <a:pt x="366" y="270"/>
                    </a:lnTo>
                    <a:lnTo>
                      <a:pt x="366" y="234"/>
                    </a:lnTo>
                    <a:lnTo>
                      <a:pt x="372" y="240"/>
                    </a:lnTo>
                    <a:lnTo>
                      <a:pt x="384" y="240"/>
                    </a:lnTo>
                    <a:lnTo>
                      <a:pt x="390" y="234"/>
                    </a:lnTo>
                    <a:lnTo>
                      <a:pt x="396" y="222"/>
                    </a:lnTo>
                    <a:lnTo>
                      <a:pt x="396" y="216"/>
                    </a:lnTo>
                    <a:lnTo>
                      <a:pt x="378" y="198"/>
                    </a:lnTo>
                    <a:lnTo>
                      <a:pt x="390" y="198"/>
                    </a:lnTo>
                    <a:lnTo>
                      <a:pt x="396" y="192"/>
                    </a:lnTo>
                    <a:lnTo>
                      <a:pt x="408" y="192"/>
                    </a:lnTo>
                    <a:lnTo>
                      <a:pt x="396" y="132"/>
                    </a:lnTo>
                    <a:lnTo>
                      <a:pt x="384" y="108"/>
                    </a:lnTo>
                    <a:lnTo>
                      <a:pt x="384" y="78"/>
                    </a:lnTo>
                    <a:lnTo>
                      <a:pt x="378" y="72"/>
                    </a:lnTo>
                    <a:lnTo>
                      <a:pt x="342" y="72"/>
                    </a:lnTo>
                    <a:lnTo>
                      <a:pt x="342" y="66"/>
                    </a:lnTo>
                    <a:lnTo>
                      <a:pt x="336" y="60"/>
                    </a:lnTo>
                    <a:lnTo>
                      <a:pt x="318" y="24"/>
                    </a:lnTo>
                    <a:lnTo>
                      <a:pt x="306" y="18"/>
                    </a:lnTo>
                    <a:lnTo>
                      <a:pt x="300" y="6"/>
                    </a:lnTo>
                    <a:lnTo>
                      <a:pt x="294" y="0"/>
                    </a:lnTo>
                    <a:lnTo>
                      <a:pt x="288" y="0"/>
                    </a:lnTo>
                    <a:lnTo>
                      <a:pt x="282" y="18"/>
                    </a:lnTo>
                    <a:lnTo>
                      <a:pt x="282" y="48"/>
                    </a:lnTo>
                    <a:lnTo>
                      <a:pt x="276" y="48"/>
                    </a:lnTo>
                    <a:lnTo>
                      <a:pt x="270" y="54"/>
                    </a:lnTo>
                    <a:lnTo>
                      <a:pt x="258" y="60"/>
                    </a:lnTo>
                    <a:lnTo>
                      <a:pt x="246" y="72"/>
                    </a:lnTo>
                    <a:lnTo>
                      <a:pt x="252" y="84"/>
                    </a:lnTo>
                    <a:lnTo>
                      <a:pt x="258" y="90"/>
                    </a:lnTo>
                    <a:lnTo>
                      <a:pt x="270" y="96"/>
                    </a:lnTo>
                    <a:lnTo>
                      <a:pt x="276" y="102"/>
                    </a:lnTo>
                    <a:lnTo>
                      <a:pt x="276" y="108"/>
                    </a:lnTo>
                    <a:lnTo>
                      <a:pt x="258" y="108"/>
                    </a:lnTo>
                    <a:lnTo>
                      <a:pt x="252" y="102"/>
                    </a:lnTo>
                    <a:lnTo>
                      <a:pt x="216" y="102"/>
                    </a:lnTo>
                    <a:lnTo>
                      <a:pt x="204" y="108"/>
                    </a:lnTo>
                    <a:lnTo>
                      <a:pt x="198" y="108"/>
                    </a:lnTo>
                    <a:lnTo>
                      <a:pt x="198" y="126"/>
                    </a:lnTo>
                    <a:lnTo>
                      <a:pt x="186" y="138"/>
                    </a:lnTo>
                    <a:lnTo>
                      <a:pt x="174" y="144"/>
                    </a:lnTo>
                    <a:lnTo>
                      <a:pt x="162" y="144"/>
                    </a:lnTo>
                    <a:lnTo>
                      <a:pt x="156" y="150"/>
                    </a:lnTo>
                    <a:lnTo>
                      <a:pt x="150" y="150"/>
                    </a:lnTo>
                    <a:lnTo>
                      <a:pt x="150" y="174"/>
                    </a:lnTo>
                    <a:lnTo>
                      <a:pt x="156" y="180"/>
                    </a:lnTo>
                    <a:lnTo>
                      <a:pt x="156" y="186"/>
                    </a:lnTo>
                    <a:lnTo>
                      <a:pt x="162" y="192"/>
                    </a:lnTo>
                    <a:lnTo>
                      <a:pt x="162" y="204"/>
                    </a:lnTo>
                    <a:lnTo>
                      <a:pt x="144" y="234"/>
                    </a:lnTo>
                    <a:lnTo>
                      <a:pt x="138" y="240"/>
                    </a:lnTo>
                    <a:lnTo>
                      <a:pt x="126" y="246"/>
                    </a:lnTo>
                    <a:lnTo>
                      <a:pt x="126" y="264"/>
                    </a:lnTo>
                    <a:lnTo>
                      <a:pt x="132" y="276"/>
                    </a:lnTo>
                    <a:lnTo>
                      <a:pt x="138" y="282"/>
                    </a:lnTo>
                    <a:lnTo>
                      <a:pt x="120" y="336"/>
                    </a:lnTo>
                    <a:lnTo>
                      <a:pt x="120" y="372"/>
                    </a:lnTo>
                    <a:lnTo>
                      <a:pt x="108" y="372"/>
                    </a:lnTo>
                    <a:lnTo>
                      <a:pt x="96" y="366"/>
                    </a:lnTo>
                    <a:lnTo>
                      <a:pt x="42" y="366"/>
                    </a:lnTo>
                    <a:lnTo>
                      <a:pt x="48" y="366"/>
                    </a:lnTo>
                    <a:lnTo>
                      <a:pt x="66" y="384"/>
                    </a:lnTo>
                    <a:lnTo>
                      <a:pt x="72" y="432"/>
                    </a:lnTo>
                    <a:lnTo>
                      <a:pt x="66" y="432"/>
                    </a:lnTo>
                    <a:lnTo>
                      <a:pt x="48" y="450"/>
                    </a:lnTo>
                    <a:lnTo>
                      <a:pt x="54" y="462"/>
                    </a:lnTo>
                    <a:lnTo>
                      <a:pt x="54" y="486"/>
                    </a:lnTo>
                    <a:lnTo>
                      <a:pt x="72" y="504"/>
                    </a:lnTo>
                    <a:lnTo>
                      <a:pt x="72" y="516"/>
                    </a:lnTo>
                    <a:lnTo>
                      <a:pt x="60" y="516"/>
                    </a:lnTo>
                    <a:lnTo>
                      <a:pt x="54" y="510"/>
                    </a:lnTo>
                    <a:lnTo>
                      <a:pt x="48" y="510"/>
                    </a:lnTo>
                    <a:lnTo>
                      <a:pt x="48" y="534"/>
                    </a:lnTo>
                    <a:lnTo>
                      <a:pt x="30" y="516"/>
                    </a:lnTo>
                    <a:lnTo>
                      <a:pt x="42" y="576"/>
                    </a:lnTo>
                    <a:lnTo>
                      <a:pt x="6" y="570"/>
                    </a:lnTo>
                    <a:lnTo>
                      <a:pt x="6" y="576"/>
                    </a:lnTo>
                    <a:lnTo>
                      <a:pt x="0" y="588"/>
                    </a:lnTo>
                    <a:close/>
                  </a:path>
                </a:pathLst>
              </a:custGeom>
              <a:solidFill>
                <a:srgbClr val="9D90A0">
                  <a:lumMod val="40000"/>
                  <a:lumOff val="60000"/>
                </a:srgbClr>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20" name="Mongolia" descr="© INSCALE GmbH, 05.05.2010&#10;http://www.presentationload.com/">
                <a:extLst>
                  <a:ext uri="{FF2B5EF4-FFF2-40B4-BE49-F238E27FC236}">
                    <a16:creationId xmlns:a16="http://schemas.microsoft.com/office/drawing/2014/main" id="{D27F5E01-24B7-4DED-8EA0-D1700099120F}"/>
                  </a:ext>
                </a:extLst>
              </p:cNvPr>
              <p:cNvSpPr>
                <a:spLocks/>
              </p:cNvSpPr>
              <p:nvPr/>
            </p:nvSpPr>
            <p:spPr bwMode="gray">
              <a:xfrm>
                <a:off x="6411058" y="2713908"/>
                <a:ext cx="829873" cy="367332"/>
              </a:xfrm>
              <a:custGeom>
                <a:avLst/>
                <a:gdLst>
                  <a:gd name="T0" fmla="*/ 2147483647 w 2100"/>
                  <a:gd name="T1" fmla="*/ 2147483647 h 834"/>
                  <a:gd name="T2" fmla="*/ 2147483647 w 2100"/>
                  <a:gd name="T3" fmla="*/ 2147483647 h 834"/>
                  <a:gd name="T4" fmla="*/ 2147483647 w 2100"/>
                  <a:gd name="T5" fmla="*/ 2147483647 h 834"/>
                  <a:gd name="T6" fmla="*/ 2147483647 w 2100"/>
                  <a:gd name="T7" fmla="*/ 2147483647 h 834"/>
                  <a:gd name="T8" fmla="*/ 2147483647 w 2100"/>
                  <a:gd name="T9" fmla="*/ 2147483647 h 834"/>
                  <a:gd name="T10" fmla="*/ 2147483647 w 2100"/>
                  <a:gd name="T11" fmla="*/ 2147483647 h 834"/>
                  <a:gd name="T12" fmla="*/ 2147483647 w 2100"/>
                  <a:gd name="T13" fmla="*/ 2147483647 h 834"/>
                  <a:gd name="T14" fmla="*/ 2147483647 w 2100"/>
                  <a:gd name="T15" fmla="*/ 2147483647 h 834"/>
                  <a:gd name="T16" fmla="*/ 2147483647 w 2100"/>
                  <a:gd name="T17" fmla="*/ 2147483647 h 834"/>
                  <a:gd name="T18" fmla="*/ 2147483647 w 2100"/>
                  <a:gd name="T19" fmla="*/ 2147483647 h 834"/>
                  <a:gd name="T20" fmla="*/ 2147483647 w 2100"/>
                  <a:gd name="T21" fmla="*/ 2147483647 h 834"/>
                  <a:gd name="T22" fmla="*/ 2147483647 w 2100"/>
                  <a:gd name="T23" fmla="*/ 2147483647 h 834"/>
                  <a:gd name="T24" fmla="*/ 2147483647 w 2100"/>
                  <a:gd name="T25" fmla="*/ 2147483647 h 834"/>
                  <a:gd name="T26" fmla="*/ 2147483647 w 2100"/>
                  <a:gd name="T27" fmla="*/ 2147483647 h 834"/>
                  <a:gd name="T28" fmla="*/ 2147483647 w 2100"/>
                  <a:gd name="T29" fmla="*/ 2147483647 h 834"/>
                  <a:gd name="T30" fmla="*/ 2147483647 w 2100"/>
                  <a:gd name="T31" fmla="*/ 2147483647 h 834"/>
                  <a:gd name="T32" fmla="*/ 2147483647 w 2100"/>
                  <a:gd name="T33" fmla="*/ 2147483647 h 834"/>
                  <a:gd name="T34" fmla="*/ 2147483647 w 2100"/>
                  <a:gd name="T35" fmla="*/ 2147483647 h 834"/>
                  <a:gd name="T36" fmla="*/ 2147483647 w 2100"/>
                  <a:gd name="T37" fmla="*/ 2147483647 h 834"/>
                  <a:gd name="T38" fmla="*/ 2147483647 w 2100"/>
                  <a:gd name="T39" fmla="*/ 2147483647 h 834"/>
                  <a:gd name="T40" fmla="*/ 2147483647 w 2100"/>
                  <a:gd name="T41" fmla="*/ 2147483647 h 834"/>
                  <a:gd name="T42" fmla="*/ 2147483647 w 2100"/>
                  <a:gd name="T43" fmla="*/ 2147483647 h 834"/>
                  <a:gd name="T44" fmla="*/ 2147483647 w 2100"/>
                  <a:gd name="T45" fmla="*/ 2147483647 h 834"/>
                  <a:gd name="T46" fmla="*/ 2147483647 w 2100"/>
                  <a:gd name="T47" fmla="*/ 2147483647 h 834"/>
                  <a:gd name="T48" fmla="*/ 2147483647 w 2100"/>
                  <a:gd name="T49" fmla="*/ 2147483647 h 834"/>
                  <a:gd name="T50" fmla="*/ 2147483647 w 2100"/>
                  <a:gd name="T51" fmla="*/ 2147483647 h 834"/>
                  <a:gd name="T52" fmla="*/ 2147483647 w 2100"/>
                  <a:gd name="T53" fmla="*/ 2147483647 h 834"/>
                  <a:gd name="T54" fmla="*/ 2147483647 w 2100"/>
                  <a:gd name="T55" fmla="*/ 2147483647 h 834"/>
                  <a:gd name="T56" fmla="*/ 2147483647 w 2100"/>
                  <a:gd name="T57" fmla="*/ 2147483647 h 834"/>
                  <a:gd name="T58" fmla="*/ 2147483647 w 2100"/>
                  <a:gd name="T59" fmla="*/ 2147483647 h 834"/>
                  <a:gd name="T60" fmla="*/ 2147483647 w 2100"/>
                  <a:gd name="T61" fmla="*/ 2147483647 h 834"/>
                  <a:gd name="T62" fmla="*/ 0 w 2100"/>
                  <a:gd name="T63" fmla="*/ 2147483647 h 834"/>
                  <a:gd name="T64" fmla="*/ 2147483647 w 2100"/>
                  <a:gd name="T65" fmla="*/ 2147483647 h 834"/>
                  <a:gd name="T66" fmla="*/ 2147483647 w 2100"/>
                  <a:gd name="T67" fmla="*/ 2147483647 h 834"/>
                  <a:gd name="T68" fmla="*/ 2147483647 w 2100"/>
                  <a:gd name="T69" fmla="*/ 2147483647 h 834"/>
                  <a:gd name="T70" fmla="*/ 2147483647 w 2100"/>
                  <a:gd name="T71" fmla="*/ 2147483647 h 834"/>
                  <a:gd name="T72" fmla="*/ 2147483647 w 2100"/>
                  <a:gd name="T73" fmla="*/ 2147483647 h 834"/>
                  <a:gd name="T74" fmla="*/ 2147483647 w 2100"/>
                  <a:gd name="T75" fmla="*/ 2147483647 h 834"/>
                  <a:gd name="T76" fmla="*/ 2147483647 w 2100"/>
                  <a:gd name="T77" fmla="*/ 2147483647 h 834"/>
                  <a:gd name="T78" fmla="*/ 2147483647 w 2100"/>
                  <a:gd name="T79" fmla="*/ 2147483647 h 834"/>
                  <a:gd name="T80" fmla="*/ 2147483647 w 2100"/>
                  <a:gd name="T81" fmla="*/ 2147483647 h 834"/>
                  <a:gd name="T82" fmla="*/ 2147483647 w 2100"/>
                  <a:gd name="T83" fmla="*/ 2147483647 h 834"/>
                  <a:gd name="T84" fmla="*/ 2147483647 w 2100"/>
                  <a:gd name="T85" fmla="*/ 2147483647 h 834"/>
                  <a:gd name="T86" fmla="*/ 2147483647 w 2100"/>
                  <a:gd name="T87" fmla="*/ 2147483647 h 834"/>
                  <a:gd name="T88" fmla="*/ 2147483647 w 2100"/>
                  <a:gd name="T89" fmla="*/ 2147483647 h 834"/>
                  <a:gd name="T90" fmla="*/ 2147483647 w 2100"/>
                  <a:gd name="T91" fmla="*/ 2147483647 h 834"/>
                  <a:gd name="T92" fmla="*/ 2147483647 w 2100"/>
                  <a:gd name="T93" fmla="*/ 2147483647 h 834"/>
                  <a:gd name="T94" fmla="*/ 2147483647 w 2100"/>
                  <a:gd name="T95" fmla="*/ 2147483647 h 834"/>
                  <a:gd name="T96" fmla="*/ 2147483647 w 2100"/>
                  <a:gd name="T97" fmla="*/ 2147483647 h 834"/>
                  <a:gd name="T98" fmla="*/ 2147483647 w 2100"/>
                  <a:gd name="T99" fmla="*/ 2147483647 h 834"/>
                  <a:gd name="T100" fmla="*/ 2147483647 w 2100"/>
                  <a:gd name="T101" fmla="*/ 2147483647 h 834"/>
                  <a:gd name="T102" fmla="*/ 2147483647 w 2100"/>
                  <a:gd name="T103" fmla="*/ 2147483647 h 834"/>
                  <a:gd name="T104" fmla="*/ 2147483647 w 2100"/>
                  <a:gd name="T105" fmla="*/ 2147483647 h 834"/>
                  <a:gd name="T106" fmla="*/ 2147483647 w 2100"/>
                  <a:gd name="T107" fmla="*/ 2147483647 h 834"/>
                  <a:gd name="T108" fmla="*/ 2147483647 w 2100"/>
                  <a:gd name="T109" fmla="*/ 2147483647 h 834"/>
                  <a:gd name="T110" fmla="*/ 2147483647 w 2100"/>
                  <a:gd name="T111" fmla="*/ 2147483647 h 834"/>
                  <a:gd name="T112" fmla="*/ 2147483647 w 2100"/>
                  <a:gd name="T113" fmla="*/ 2147483647 h 834"/>
                  <a:gd name="T114" fmla="*/ 2147483647 w 2100"/>
                  <a:gd name="T115" fmla="*/ 2147483647 h 834"/>
                  <a:gd name="T116" fmla="*/ 2147483647 w 2100"/>
                  <a:gd name="T117" fmla="*/ 2147483647 h 834"/>
                  <a:gd name="T118" fmla="*/ 2147483647 w 2100"/>
                  <a:gd name="T119" fmla="*/ 2147483647 h 834"/>
                  <a:gd name="T120" fmla="*/ 2147483647 w 2100"/>
                  <a:gd name="T121" fmla="*/ 2147483647 h 834"/>
                  <a:gd name="T122" fmla="*/ 2147483647 w 2100"/>
                  <a:gd name="T123" fmla="*/ 2147483647 h 83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100"/>
                  <a:gd name="T187" fmla="*/ 0 h 834"/>
                  <a:gd name="T188" fmla="*/ 2100 w 2100"/>
                  <a:gd name="T189" fmla="*/ 834 h 83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100" h="834">
                    <a:moveTo>
                      <a:pt x="2088" y="408"/>
                    </a:moveTo>
                    <a:lnTo>
                      <a:pt x="2076" y="396"/>
                    </a:lnTo>
                    <a:lnTo>
                      <a:pt x="2070" y="384"/>
                    </a:lnTo>
                    <a:lnTo>
                      <a:pt x="2058" y="384"/>
                    </a:lnTo>
                    <a:lnTo>
                      <a:pt x="2034" y="372"/>
                    </a:lnTo>
                    <a:lnTo>
                      <a:pt x="2022" y="360"/>
                    </a:lnTo>
                    <a:lnTo>
                      <a:pt x="2010" y="354"/>
                    </a:lnTo>
                    <a:lnTo>
                      <a:pt x="2004" y="348"/>
                    </a:lnTo>
                    <a:lnTo>
                      <a:pt x="1986" y="348"/>
                    </a:lnTo>
                    <a:lnTo>
                      <a:pt x="1974" y="342"/>
                    </a:lnTo>
                    <a:lnTo>
                      <a:pt x="1968" y="336"/>
                    </a:lnTo>
                    <a:lnTo>
                      <a:pt x="1968" y="324"/>
                    </a:lnTo>
                    <a:lnTo>
                      <a:pt x="1902" y="324"/>
                    </a:lnTo>
                    <a:lnTo>
                      <a:pt x="1902" y="348"/>
                    </a:lnTo>
                    <a:lnTo>
                      <a:pt x="1896" y="354"/>
                    </a:lnTo>
                    <a:lnTo>
                      <a:pt x="1890" y="354"/>
                    </a:lnTo>
                    <a:lnTo>
                      <a:pt x="1878" y="348"/>
                    </a:lnTo>
                    <a:lnTo>
                      <a:pt x="1866" y="336"/>
                    </a:lnTo>
                    <a:lnTo>
                      <a:pt x="1812" y="336"/>
                    </a:lnTo>
                    <a:lnTo>
                      <a:pt x="1806" y="342"/>
                    </a:lnTo>
                    <a:lnTo>
                      <a:pt x="1812" y="342"/>
                    </a:lnTo>
                    <a:lnTo>
                      <a:pt x="1812" y="348"/>
                    </a:lnTo>
                    <a:lnTo>
                      <a:pt x="1794" y="348"/>
                    </a:lnTo>
                    <a:lnTo>
                      <a:pt x="1788" y="342"/>
                    </a:lnTo>
                    <a:lnTo>
                      <a:pt x="1776" y="336"/>
                    </a:lnTo>
                    <a:lnTo>
                      <a:pt x="1770" y="324"/>
                    </a:lnTo>
                    <a:lnTo>
                      <a:pt x="1770" y="306"/>
                    </a:lnTo>
                    <a:lnTo>
                      <a:pt x="1776" y="306"/>
                    </a:lnTo>
                    <a:lnTo>
                      <a:pt x="1770" y="294"/>
                    </a:lnTo>
                    <a:lnTo>
                      <a:pt x="1764" y="270"/>
                    </a:lnTo>
                    <a:lnTo>
                      <a:pt x="1758" y="258"/>
                    </a:lnTo>
                    <a:lnTo>
                      <a:pt x="1758" y="174"/>
                    </a:lnTo>
                    <a:lnTo>
                      <a:pt x="1740" y="174"/>
                    </a:lnTo>
                    <a:lnTo>
                      <a:pt x="1716" y="168"/>
                    </a:lnTo>
                    <a:lnTo>
                      <a:pt x="1710" y="174"/>
                    </a:lnTo>
                    <a:lnTo>
                      <a:pt x="1698" y="180"/>
                    </a:lnTo>
                    <a:lnTo>
                      <a:pt x="1674" y="180"/>
                    </a:lnTo>
                    <a:lnTo>
                      <a:pt x="1662" y="174"/>
                    </a:lnTo>
                    <a:lnTo>
                      <a:pt x="1644" y="156"/>
                    </a:lnTo>
                    <a:lnTo>
                      <a:pt x="1608" y="156"/>
                    </a:lnTo>
                    <a:lnTo>
                      <a:pt x="1596" y="150"/>
                    </a:lnTo>
                    <a:lnTo>
                      <a:pt x="1578" y="150"/>
                    </a:lnTo>
                    <a:lnTo>
                      <a:pt x="1548" y="180"/>
                    </a:lnTo>
                    <a:lnTo>
                      <a:pt x="1548" y="192"/>
                    </a:lnTo>
                    <a:lnTo>
                      <a:pt x="1536" y="204"/>
                    </a:lnTo>
                    <a:lnTo>
                      <a:pt x="1500" y="204"/>
                    </a:lnTo>
                    <a:lnTo>
                      <a:pt x="1488" y="216"/>
                    </a:lnTo>
                    <a:lnTo>
                      <a:pt x="1440" y="216"/>
                    </a:lnTo>
                    <a:lnTo>
                      <a:pt x="1440" y="222"/>
                    </a:lnTo>
                    <a:lnTo>
                      <a:pt x="1422" y="240"/>
                    </a:lnTo>
                    <a:lnTo>
                      <a:pt x="1416" y="240"/>
                    </a:lnTo>
                    <a:lnTo>
                      <a:pt x="1416" y="234"/>
                    </a:lnTo>
                    <a:lnTo>
                      <a:pt x="1410" y="228"/>
                    </a:lnTo>
                    <a:lnTo>
                      <a:pt x="1392" y="228"/>
                    </a:lnTo>
                    <a:lnTo>
                      <a:pt x="1380" y="234"/>
                    </a:lnTo>
                    <a:lnTo>
                      <a:pt x="1356" y="234"/>
                    </a:lnTo>
                    <a:lnTo>
                      <a:pt x="1344" y="228"/>
                    </a:lnTo>
                    <a:lnTo>
                      <a:pt x="1338" y="228"/>
                    </a:lnTo>
                    <a:lnTo>
                      <a:pt x="1332" y="222"/>
                    </a:lnTo>
                    <a:lnTo>
                      <a:pt x="1266" y="222"/>
                    </a:lnTo>
                    <a:lnTo>
                      <a:pt x="1260" y="216"/>
                    </a:lnTo>
                    <a:lnTo>
                      <a:pt x="1260" y="204"/>
                    </a:lnTo>
                    <a:lnTo>
                      <a:pt x="1248" y="198"/>
                    </a:lnTo>
                    <a:lnTo>
                      <a:pt x="1230" y="198"/>
                    </a:lnTo>
                    <a:lnTo>
                      <a:pt x="1230" y="192"/>
                    </a:lnTo>
                    <a:lnTo>
                      <a:pt x="1218" y="180"/>
                    </a:lnTo>
                    <a:lnTo>
                      <a:pt x="1218" y="174"/>
                    </a:lnTo>
                    <a:lnTo>
                      <a:pt x="1212" y="168"/>
                    </a:lnTo>
                    <a:lnTo>
                      <a:pt x="1152" y="168"/>
                    </a:lnTo>
                    <a:lnTo>
                      <a:pt x="1128" y="144"/>
                    </a:lnTo>
                    <a:lnTo>
                      <a:pt x="1092" y="144"/>
                    </a:lnTo>
                    <a:lnTo>
                      <a:pt x="1086" y="138"/>
                    </a:lnTo>
                    <a:lnTo>
                      <a:pt x="1080" y="138"/>
                    </a:lnTo>
                    <a:lnTo>
                      <a:pt x="1068" y="132"/>
                    </a:lnTo>
                    <a:lnTo>
                      <a:pt x="1020" y="132"/>
                    </a:lnTo>
                    <a:lnTo>
                      <a:pt x="966" y="150"/>
                    </a:lnTo>
                    <a:lnTo>
                      <a:pt x="954" y="156"/>
                    </a:lnTo>
                    <a:lnTo>
                      <a:pt x="942" y="156"/>
                    </a:lnTo>
                    <a:lnTo>
                      <a:pt x="930" y="150"/>
                    </a:lnTo>
                    <a:lnTo>
                      <a:pt x="918" y="150"/>
                    </a:lnTo>
                    <a:lnTo>
                      <a:pt x="912" y="144"/>
                    </a:lnTo>
                    <a:lnTo>
                      <a:pt x="882" y="144"/>
                    </a:lnTo>
                    <a:lnTo>
                      <a:pt x="864" y="126"/>
                    </a:lnTo>
                    <a:lnTo>
                      <a:pt x="864" y="120"/>
                    </a:lnTo>
                    <a:lnTo>
                      <a:pt x="840" y="126"/>
                    </a:lnTo>
                    <a:lnTo>
                      <a:pt x="840" y="120"/>
                    </a:lnTo>
                    <a:lnTo>
                      <a:pt x="834" y="114"/>
                    </a:lnTo>
                    <a:lnTo>
                      <a:pt x="822" y="90"/>
                    </a:lnTo>
                    <a:lnTo>
                      <a:pt x="810" y="78"/>
                    </a:lnTo>
                    <a:lnTo>
                      <a:pt x="804" y="66"/>
                    </a:lnTo>
                    <a:lnTo>
                      <a:pt x="798" y="60"/>
                    </a:lnTo>
                    <a:lnTo>
                      <a:pt x="786" y="54"/>
                    </a:lnTo>
                    <a:lnTo>
                      <a:pt x="768" y="54"/>
                    </a:lnTo>
                    <a:lnTo>
                      <a:pt x="756" y="60"/>
                    </a:lnTo>
                    <a:lnTo>
                      <a:pt x="750" y="60"/>
                    </a:lnTo>
                    <a:lnTo>
                      <a:pt x="726" y="48"/>
                    </a:lnTo>
                    <a:lnTo>
                      <a:pt x="720" y="42"/>
                    </a:lnTo>
                    <a:lnTo>
                      <a:pt x="708" y="36"/>
                    </a:lnTo>
                    <a:lnTo>
                      <a:pt x="672" y="36"/>
                    </a:lnTo>
                    <a:lnTo>
                      <a:pt x="648" y="30"/>
                    </a:lnTo>
                    <a:lnTo>
                      <a:pt x="636" y="30"/>
                    </a:lnTo>
                    <a:lnTo>
                      <a:pt x="576" y="0"/>
                    </a:lnTo>
                    <a:lnTo>
                      <a:pt x="576" y="18"/>
                    </a:lnTo>
                    <a:lnTo>
                      <a:pt x="570" y="30"/>
                    </a:lnTo>
                    <a:lnTo>
                      <a:pt x="558" y="36"/>
                    </a:lnTo>
                    <a:lnTo>
                      <a:pt x="552" y="36"/>
                    </a:lnTo>
                    <a:lnTo>
                      <a:pt x="558" y="48"/>
                    </a:lnTo>
                    <a:lnTo>
                      <a:pt x="540" y="48"/>
                    </a:lnTo>
                    <a:lnTo>
                      <a:pt x="540" y="60"/>
                    </a:lnTo>
                    <a:lnTo>
                      <a:pt x="552" y="72"/>
                    </a:lnTo>
                    <a:lnTo>
                      <a:pt x="558" y="90"/>
                    </a:lnTo>
                    <a:lnTo>
                      <a:pt x="582" y="126"/>
                    </a:lnTo>
                    <a:lnTo>
                      <a:pt x="588" y="126"/>
                    </a:lnTo>
                    <a:lnTo>
                      <a:pt x="594" y="132"/>
                    </a:lnTo>
                    <a:lnTo>
                      <a:pt x="600" y="144"/>
                    </a:lnTo>
                    <a:lnTo>
                      <a:pt x="600" y="168"/>
                    </a:lnTo>
                    <a:lnTo>
                      <a:pt x="582" y="168"/>
                    </a:lnTo>
                    <a:lnTo>
                      <a:pt x="582" y="174"/>
                    </a:lnTo>
                    <a:lnTo>
                      <a:pt x="576" y="180"/>
                    </a:lnTo>
                    <a:lnTo>
                      <a:pt x="552" y="192"/>
                    </a:lnTo>
                    <a:lnTo>
                      <a:pt x="546" y="186"/>
                    </a:lnTo>
                    <a:lnTo>
                      <a:pt x="546" y="174"/>
                    </a:lnTo>
                    <a:lnTo>
                      <a:pt x="498" y="180"/>
                    </a:lnTo>
                    <a:lnTo>
                      <a:pt x="498" y="168"/>
                    </a:lnTo>
                    <a:lnTo>
                      <a:pt x="456" y="168"/>
                    </a:lnTo>
                    <a:lnTo>
                      <a:pt x="450" y="174"/>
                    </a:lnTo>
                    <a:lnTo>
                      <a:pt x="450" y="180"/>
                    </a:lnTo>
                    <a:lnTo>
                      <a:pt x="444" y="168"/>
                    </a:lnTo>
                    <a:lnTo>
                      <a:pt x="420" y="174"/>
                    </a:lnTo>
                    <a:lnTo>
                      <a:pt x="414" y="162"/>
                    </a:lnTo>
                    <a:lnTo>
                      <a:pt x="384" y="162"/>
                    </a:lnTo>
                    <a:lnTo>
                      <a:pt x="366" y="156"/>
                    </a:lnTo>
                    <a:lnTo>
                      <a:pt x="360" y="150"/>
                    </a:lnTo>
                    <a:lnTo>
                      <a:pt x="360" y="138"/>
                    </a:lnTo>
                    <a:lnTo>
                      <a:pt x="354" y="132"/>
                    </a:lnTo>
                    <a:lnTo>
                      <a:pt x="354" y="126"/>
                    </a:lnTo>
                    <a:lnTo>
                      <a:pt x="312" y="126"/>
                    </a:lnTo>
                    <a:lnTo>
                      <a:pt x="294" y="132"/>
                    </a:lnTo>
                    <a:lnTo>
                      <a:pt x="270" y="132"/>
                    </a:lnTo>
                    <a:lnTo>
                      <a:pt x="264" y="114"/>
                    </a:lnTo>
                    <a:lnTo>
                      <a:pt x="228" y="114"/>
                    </a:lnTo>
                    <a:lnTo>
                      <a:pt x="228" y="108"/>
                    </a:lnTo>
                    <a:lnTo>
                      <a:pt x="210" y="114"/>
                    </a:lnTo>
                    <a:lnTo>
                      <a:pt x="204" y="108"/>
                    </a:lnTo>
                    <a:lnTo>
                      <a:pt x="186" y="108"/>
                    </a:lnTo>
                    <a:lnTo>
                      <a:pt x="180" y="114"/>
                    </a:lnTo>
                    <a:lnTo>
                      <a:pt x="180" y="120"/>
                    </a:lnTo>
                    <a:lnTo>
                      <a:pt x="174" y="126"/>
                    </a:lnTo>
                    <a:lnTo>
                      <a:pt x="174" y="132"/>
                    </a:lnTo>
                    <a:lnTo>
                      <a:pt x="150" y="132"/>
                    </a:lnTo>
                    <a:lnTo>
                      <a:pt x="138" y="150"/>
                    </a:lnTo>
                    <a:lnTo>
                      <a:pt x="120" y="150"/>
                    </a:lnTo>
                    <a:lnTo>
                      <a:pt x="84" y="186"/>
                    </a:lnTo>
                    <a:lnTo>
                      <a:pt x="84" y="192"/>
                    </a:lnTo>
                    <a:lnTo>
                      <a:pt x="90" y="198"/>
                    </a:lnTo>
                    <a:lnTo>
                      <a:pt x="66" y="198"/>
                    </a:lnTo>
                    <a:lnTo>
                      <a:pt x="72" y="210"/>
                    </a:lnTo>
                    <a:lnTo>
                      <a:pt x="12" y="210"/>
                    </a:lnTo>
                    <a:lnTo>
                      <a:pt x="12" y="228"/>
                    </a:lnTo>
                    <a:lnTo>
                      <a:pt x="0" y="240"/>
                    </a:lnTo>
                    <a:lnTo>
                      <a:pt x="6" y="246"/>
                    </a:lnTo>
                    <a:lnTo>
                      <a:pt x="6" y="258"/>
                    </a:lnTo>
                    <a:lnTo>
                      <a:pt x="0" y="264"/>
                    </a:lnTo>
                    <a:lnTo>
                      <a:pt x="24" y="264"/>
                    </a:lnTo>
                    <a:lnTo>
                      <a:pt x="24" y="282"/>
                    </a:lnTo>
                    <a:lnTo>
                      <a:pt x="36" y="288"/>
                    </a:lnTo>
                    <a:lnTo>
                      <a:pt x="48" y="288"/>
                    </a:lnTo>
                    <a:lnTo>
                      <a:pt x="60" y="294"/>
                    </a:lnTo>
                    <a:lnTo>
                      <a:pt x="72" y="294"/>
                    </a:lnTo>
                    <a:lnTo>
                      <a:pt x="78" y="306"/>
                    </a:lnTo>
                    <a:lnTo>
                      <a:pt x="102" y="330"/>
                    </a:lnTo>
                    <a:lnTo>
                      <a:pt x="138" y="318"/>
                    </a:lnTo>
                    <a:lnTo>
                      <a:pt x="156" y="330"/>
                    </a:lnTo>
                    <a:lnTo>
                      <a:pt x="162" y="336"/>
                    </a:lnTo>
                    <a:lnTo>
                      <a:pt x="174" y="336"/>
                    </a:lnTo>
                    <a:lnTo>
                      <a:pt x="186" y="342"/>
                    </a:lnTo>
                    <a:lnTo>
                      <a:pt x="204" y="348"/>
                    </a:lnTo>
                    <a:lnTo>
                      <a:pt x="222" y="366"/>
                    </a:lnTo>
                    <a:lnTo>
                      <a:pt x="228" y="378"/>
                    </a:lnTo>
                    <a:lnTo>
                      <a:pt x="240" y="396"/>
                    </a:lnTo>
                    <a:lnTo>
                      <a:pt x="264" y="414"/>
                    </a:lnTo>
                    <a:lnTo>
                      <a:pt x="276" y="426"/>
                    </a:lnTo>
                    <a:lnTo>
                      <a:pt x="282" y="438"/>
                    </a:lnTo>
                    <a:lnTo>
                      <a:pt x="282" y="450"/>
                    </a:lnTo>
                    <a:lnTo>
                      <a:pt x="288" y="456"/>
                    </a:lnTo>
                    <a:lnTo>
                      <a:pt x="294" y="468"/>
                    </a:lnTo>
                    <a:lnTo>
                      <a:pt x="300" y="474"/>
                    </a:lnTo>
                    <a:lnTo>
                      <a:pt x="300" y="480"/>
                    </a:lnTo>
                    <a:lnTo>
                      <a:pt x="288" y="492"/>
                    </a:lnTo>
                    <a:lnTo>
                      <a:pt x="288" y="504"/>
                    </a:lnTo>
                    <a:lnTo>
                      <a:pt x="294" y="522"/>
                    </a:lnTo>
                    <a:lnTo>
                      <a:pt x="300" y="534"/>
                    </a:lnTo>
                    <a:lnTo>
                      <a:pt x="306" y="540"/>
                    </a:lnTo>
                    <a:lnTo>
                      <a:pt x="318" y="546"/>
                    </a:lnTo>
                    <a:lnTo>
                      <a:pt x="330" y="546"/>
                    </a:lnTo>
                    <a:lnTo>
                      <a:pt x="342" y="552"/>
                    </a:lnTo>
                    <a:lnTo>
                      <a:pt x="348" y="552"/>
                    </a:lnTo>
                    <a:lnTo>
                      <a:pt x="366" y="558"/>
                    </a:lnTo>
                    <a:lnTo>
                      <a:pt x="390" y="564"/>
                    </a:lnTo>
                    <a:lnTo>
                      <a:pt x="486" y="564"/>
                    </a:lnTo>
                    <a:lnTo>
                      <a:pt x="492" y="570"/>
                    </a:lnTo>
                    <a:lnTo>
                      <a:pt x="498" y="570"/>
                    </a:lnTo>
                    <a:lnTo>
                      <a:pt x="510" y="576"/>
                    </a:lnTo>
                    <a:lnTo>
                      <a:pt x="516" y="576"/>
                    </a:lnTo>
                    <a:lnTo>
                      <a:pt x="528" y="582"/>
                    </a:lnTo>
                    <a:lnTo>
                      <a:pt x="534" y="594"/>
                    </a:lnTo>
                    <a:lnTo>
                      <a:pt x="540" y="594"/>
                    </a:lnTo>
                    <a:lnTo>
                      <a:pt x="546" y="600"/>
                    </a:lnTo>
                    <a:lnTo>
                      <a:pt x="552" y="600"/>
                    </a:lnTo>
                    <a:lnTo>
                      <a:pt x="576" y="612"/>
                    </a:lnTo>
                    <a:lnTo>
                      <a:pt x="588" y="612"/>
                    </a:lnTo>
                    <a:lnTo>
                      <a:pt x="594" y="618"/>
                    </a:lnTo>
                    <a:lnTo>
                      <a:pt x="630" y="618"/>
                    </a:lnTo>
                    <a:lnTo>
                      <a:pt x="642" y="642"/>
                    </a:lnTo>
                    <a:lnTo>
                      <a:pt x="684" y="684"/>
                    </a:lnTo>
                    <a:lnTo>
                      <a:pt x="690" y="696"/>
                    </a:lnTo>
                    <a:lnTo>
                      <a:pt x="720" y="726"/>
                    </a:lnTo>
                    <a:lnTo>
                      <a:pt x="732" y="732"/>
                    </a:lnTo>
                    <a:lnTo>
                      <a:pt x="738" y="744"/>
                    </a:lnTo>
                    <a:lnTo>
                      <a:pt x="750" y="750"/>
                    </a:lnTo>
                    <a:lnTo>
                      <a:pt x="810" y="744"/>
                    </a:lnTo>
                    <a:lnTo>
                      <a:pt x="864" y="750"/>
                    </a:lnTo>
                    <a:lnTo>
                      <a:pt x="912" y="750"/>
                    </a:lnTo>
                    <a:lnTo>
                      <a:pt x="948" y="756"/>
                    </a:lnTo>
                    <a:lnTo>
                      <a:pt x="954" y="750"/>
                    </a:lnTo>
                    <a:lnTo>
                      <a:pt x="966" y="744"/>
                    </a:lnTo>
                    <a:lnTo>
                      <a:pt x="972" y="738"/>
                    </a:lnTo>
                    <a:lnTo>
                      <a:pt x="984" y="738"/>
                    </a:lnTo>
                    <a:lnTo>
                      <a:pt x="996" y="744"/>
                    </a:lnTo>
                    <a:lnTo>
                      <a:pt x="1002" y="744"/>
                    </a:lnTo>
                    <a:lnTo>
                      <a:pt x="1008" y="750"/>
                    </a:lnTo>
                    <a:lnTo>
                      <a:pt x="1062" y="750"/>
                    </a:lnTo>
                    <a:lnTo>
                      <a:pt x="1080" y="756"/>
                    </a:lnTo>
                    <a:lnTo>
                      <a:pt x="1092" y="756"/>
                    </a:lnTo>
                    <a:lnTo>
                      <a:pt x="1110" y="774"/>
                    </a:lnTo>
                    <a:lnTo>
                      <a:pt x="1116" y="786"/>
                    </a:lnTo>
                    <a:lnTo>
                      <a:pt x="1128" y="792"/>
                    </a:lnTo>
                    <a:lnTo>
                      <a:pt x="1152" y="798"/>
                    </a:lnTo>
                    <a:lnTo>
                      <a:pt x="1200" y="798"/>
                    </a:lnTo>
                    <a:lnTo>
                      <a:pt x="1218" y="804"/>
                    </a:lnTo>
                    <a:lnTo>
                      <a:pt x="1242" y="816"/>
                    </a:lnTo>
                    <a:lnTo>
                      <a:pt x="1248" y="822"/>
                    </a:lnTo>
                    <a:lnTo>
                      <a:pt x="1260" y="822"/>
                    </a:lnTo>
                    <a:lnTo>
                      <a:pt x="1266" y="816"/>
                    </a:lnTo>
                    <a:lnTo>
                      <a:pt x="1278" y="816"/>
                    </a:lnTo>
                    <a:lnTo>
                      <a:pt x="1290" y="810"/>
                    </a:lnTo>
                    <a:lnTo>
                      <a:pt x="1302" y="810"/>
                    </a:lnTo>
                    <a:lnTo>
                      <a:pt x="1302" y="816"/>
                    </a:lnTo>
                    <a:lnTo>
                      <a:pt x="1308" y="828"/>
                    </a:lnTo>
                    <a:lnTo>
                      <a:pt x="1314" y="828"/>
                    </a:lnTo>
                    <a:lnTo>
                      <a:pt x="1320" y="834"/>
                    </a:lnTo>
                    <a:lnTo>
                      <a:pt x="1338" y="834"/>
                    </a:lnTo>
                    <a:lnTo>
                      <a:pt x="1344" y="828"/>
                    </a:lnTo>
                    <a:lnTo>
                      <a:pt x="1362" y="816"/>
                    </a:lnTo>
                    <a:lnTo>
                      <a:pt x="1422" y="780"/>
                    </a:lnTo>
                    <a:lnTo>
                      <a:pt x="1440" y="768"/>
                    </a:lnTo>
                    <a:lnTo>
                      <a:pt x="1596" y="768"/>
                    </a:lnTo>
                    <a:lnTo>
                      <a:pt x="1614" y="744"/>
                    </a:lnTo>
                    <a:lnTo>
                      <a:pt x="1638" y="744"/>
                    </a:lnTo>
                    <a:lnTo>
                      <a:pt x="1650" y="738"/>
                    </a:lnTo>
                    <a:lnTo>
                      <a:pt x="1662" y="714"/>
                    </a:lnTo>
                    <a:lnTo>
                      <a:pt x="1662" y="708"/>
                    </a:lnTo>
                    <a:lnTo>
                      <a:pt x="1668" y="696"/>
                    </a:lnTo>
                    <a:lnTo>
                      <a:pt x="1668" y="690"/>
                    </a:lnTo>
                    <a:lnTo>
                      <a:pt x="1692" y="690"/>
                    </a:lnTo>
                    <a:lnTo>
                      <a:pt x="1704" y="678"/>
                    </a:lnTo>
                    <a:lnTo>
                      <a:pt x="1710" y="666"/>
                    </a:lnTo>
                    <a:lnTo>
                      <a:pt x="1716" y="660"/>
                    </a:lnTo>
                    <a:lnTo>
                      <a:pt x="1716" y="654"/>
                    </a:lnTo>
                    <a:lnTo>
                      <a:pt x="1704" y="648"/>
                    </a:lnTo>
                    <a:lnTo>
                      <a:pt x="1686" y="630"/>
                    </a:lnTo>
                    <a:lnTo>
                      <a:pt x="1674" y="624"/>
                    </a:lnTo>
                    <a:lnTo>
                      <a:pt x="1656" y="606"/>
                    </a:lnTo>
                    <a:lnTo>
                      <a:pt x="1650" y="594"/>
                    </a:lnTo>
                    <a:lnTo>
                      <a:pt x="1650" y="582"/>
                    </a:lnTo>
                    <a:lnTo>
                      <a:pt x="1656" y="570"/>
                    </a:lnTo>
                    <a:lnTo>
                      <a:pt x="1656" y="558"/>
                    </a:lnTo>
                    <a:lnTo>
                      <a:pt x="1668" y="552"/>
                    </a:lnTo>
                    <a:lnTo>
                      <a:pt x="1692" y="552"/>
                    </a:lnTo>
                    <a:lnTo>
                      <a:pt x="1698" y="558"/>
                    </a:lnTo>
                    <a:lnTo>
                      <a:pt x="1704" y="558"/>
                    </a:lnTo>
                    <a:lnTo>
                      <a:pt x="1710" y="564"/>
                    </a:lnTo>
                    <a:lnTo>
                      <a:pt x="1722" y="570"/>
                    </a:lnTo>
                    <a:lnTo>
                      <a:pt x="1728" y="576"/>
                    </a:lnTo>
                    <a:lnTo>
                      <a:pt x="1740" y="582"/>
                    </a:lnTo>
                    <a:lnTo>
                      <a:pt x="1764" y="582"/>
                    </a:lnTo>
                    <a:lnTo>
                      <a:pt x="1776" y="576"/>
                    </a:lnTo>
                    <a:lnTo>
                      <a:pt x="1794" y="576"/>
                    </a:lnTo>
                    <a:lnTo>
                      <a:pt x="1806" y="570"/>
                    </a:lnTo>
                    <a:lnTo>
                      <a:pt x="1812" y="558"/>
                    </a:lnTo>
                    <a:lnTo>
                      <a:pt x="1818" y="552"/>
                    </a:lnTo>
                    <a:lnTo>
                      <a:pt x="1818" y="528"/>
                    </a:lnTo>
                    <a:lnTo>
                      <a:pt x="1890" y="528"/>
                    </a:lnTo>
                    <a:lnTo>
                      <a:pt x="1914" y="504"/>
                    </a:lnTo>
                    <a:lnTo>
                      <a:pt x="1902" y="492"/>
                    </a:lnTo>
                    <a:lnTo>
                      <a:pt x="1896" y="480"/>
                    </a:lnTo>
                    <a:lnTo>
                      <a:pt x="1902" y="474"/>
                    </a:lnTo>
                    <a:lnTo>
                      <a:pt x="1938" y="456"/>
                    </a:lnTo>
                    <a:lnTo>
                      <a:pt x="1950" y="456"/>
                    </a:lnTo>
                    <a:lnTo>
                      <a:pt x="1950" y="438"/>
                    </a:lnTo>
                    <a:lnTo>
                      <a:pt x="1980" y="444"/>
                    </a:lnTo>
                    <a:lnTo>
                      <a:pt x="1998" y="426"/>
                    </a:lnTo>
                    <a:lnTo>
                      <a:pt x="2004" y="426"/>
                    </a:lnTo>
                    <a:lnTo>
                      <a:pt x="2010" y="420"/>
                    </a:lnTo>
                    <a:lnTo>
                      <a:pt x="2040" y="420"/>
                    </a:lnTo>
                    <a:lnTo>
                      <a:pt x="2052" y="426"/>
                    </a:lnTo>
                    <a:lnTo>
                      <a:pt x="2058" y="432"/>
                    </a:lnTo>
                    <a:lnTo>
                      <a:pt x="2094" y="432"/>
                    </a:lnTo>
                    <a:lnTo>
                      <a:pt x="2100" y="426"/>
                    </a:lnTo>
                    <a:lnTo>
                      <a:pt x="2100" y="420"/>
                    </a:lnTo>
                    <a:lnTo>
                      <a:pt x="2088" y="408"/>
                    </a:lnTo>
                    <a:close/>
                  </a:path>
                </a:pathLst>
              </a:custGeom>
              <a:solidFill>
                <a:srgbClr val="9D90A0">
                  <a:lumMod val="40000"/>
                  <a:lumOff val="60000"/>
                </a:srgbClr>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21" name="Mexico" descr="© INSCALE GmbH, 05.05.2010&#10;http://www.presentationload.com/">
                <a:extLst>
                  <a:ext uri="{FF2B5EF4-FFF2-40B4-BE49-F238E27FC236}">
                    <a16:creationId xmlns:a16="http://schemas.microsoft.com/office/drawing/2014/main" id="{803911E1-DFC5-47F0-A7A9-86DCB372FE4A}"/>
                  </a:ext>
                </a:extLst>
              </p:cNvPr>
              <p:cNvSpPr>
                <a:spLocks/>
              </p:cNvSpPr>
              <p:nvPr/>
            </p:nvSpPr>
            <p:spPr bwMode="gray">
              <a:xfrm>
                <a:off x="1088640" y="3396592"/>
                <a:ext cx="736278" cy="641099"/>
              </a:xfrm>
              <a:custGeom>
                <a:avLst/>
                <a:gdLst>
                  <a:gd name="T0" fmla="*/ 2147483647 w 1860"/>
                  <a:gd name="T1" fmla="*/ 2147483647 h 1458"/>
                  <a:gd name="T2" fmla="*/ 2147483647 w 1860"/>
                  <a:gd name="T3" fmla="*/ 2147483647 h 1458"/>
                  <a:gd name="T4" fmla="*/ 2147483647 w 1860"/>
                  <a:gd name="T5" fmla="*/ 2147483647 h 1458"/>
                  <a:gd name="T6" fmla="*/ 2147483647 w 1860"/>
                  <a:gd name="T7" fmla="*/ 2147483647 h 1458"/>
                  <a:gd name="T8" fmla="*/ 2147483647 w 1860"/>
                  <a:gd name="T9" fmla="*/ 2147483647 h 1458"/>
                  <a:gd name="T10" fmla="*/ 2147483647 w 1860"/>
                  <a:gd name="T11" fmla="*/ 2147483647 h 1458"/>
                  <a:gd name="T12" fmla="*/ 2147483647 w 1860"/>
                  <a:gd name="T13" fmla="*/ 2147483647 h 1458"/>
                  <a:gd name="T14" fmla="*/ 2147483647 w 1860"/>
                  <a:gd name="T15" fmla="*/ 2147483647 h 1458"/>
                  <a:gd name="T16" fmla="*/ 2147483647 w 1860"/>
                  <a:gd name="T17" fmla="*/ 2147483647 h 1458"/>
                  <a:gd name="T18" fmla="*/ 2147483647 w 1860"/>
                  <a:gd name="T19" fmla="*/ 2147483647 h 1458"/>
                  <a:gd name="T20" fmla="*/ 2147483647 w 1860"/>
                  <a:gd name="T21" fmla="*/ 2147483647 h 1458"/>
                  <a:gd name="T22" fmla="*/ 2147483647 w 1860"/>
                  <a:gd name="T23" fmla="*/ 2147483647 h 1458"/>
                  <a:gd name="T24" fmla="*/ 2147483647 w 1860"/>
                  <a:gd name="T25" fmla="*/ 2147483647 h 1458"/>
                  <a:gd name="T26" fmla="*/ 2147483647 w 1860"/>
                  <a:gd name="T27" fmla="*/ 2147483647 h 1458"/>
                  <a:gd name="T28" fmla="*/ 2147483647 w 1860"/>
                  <a:gd name="T29" fmla="*/ 2147483647 h 1458"/>
                  <a:gd name="T30" fmla="*/ 2147483647 w 1860"/>
                  <a:gd name="T31" fmla="*/ 2147483647 h 1458"/>
                  <a:gd name="T32" fmla="*/ 2147483647 w 1860"/>
                  <a:gd name="T33" fmla="*/ 2147483647 h 1458"/>
                  <a:gd name="T34" fmla="*/ 2147483647 w 1860"/>
                  <a:gd name="T35" fmla="*/ 2147483647 h 1458"/>
                  <a:gd name="T36" fmla="*/ 2147483647 w 1860"/>
                  <a:gd name="T37" fmla="*/ 2147483647 h 1458"/>
                  <a:gd name="T38" fmla="*/ 2147483647 w 1860"/>
                  <a:gd name="T39" fmla="*/ 2147483647 h 1458"/>
                  <a:gd name="T40" fmla="*/ 2147483647 w 1860"/>
                  <a:gd name="T41" fmla="*/ 2147483647 h 1458"/>
                  <a:gd name="T42" fmla="*/ 2147483647 w 1860"/>
                  <a:gd name="T43" fmla="*/ 2147483647 h 1458"/>
                  <a:gd name="T44" fmla="*/ 2147483647 w 1860"/>
                  <a:gd name="T45" fmla="*/ 2147483647 h 1458"/>
                  <a:gd name="T46" fmla="*/ 2147483647 w 1860"/>
                  <a:gd name="T47" fmla="*/ 2147483647 h 1458"/>
                  <a:gd name="T48" fmla="*/ 2147483647 w 1860"/>
                  <a:gd name="T49" fmla="*/ 2147483647 h 1458"/>
                  <a:gd name="T50" fmla="*/ 2147483647 w 1860"/>
                  <a:gd name="T51" fmla="*/ 2147483647 h 1458"/>
                  <a:gd name="T52" fmla="*/ 2147483647 w 1860"/>
                  <a:gd name="T53" fmla="*/ 2147483647 h 1458"/>
                  <a:gd name="T54" fmla="*/ 2147483647 w 1860"/>
                  <a:gd name="T55" fmla="*/ 2147483647 h 1458"/>
                  <a:gd name="T56" fmla="*/ 0 w 1860"/>
                  <a:gd name="T57" fmla="*/ 2147483647 h 1458"/>
                  <a:gd name="T58" fmla="*/ 2147483647 w 1860"/>
                  <a:gd name="T59" fmla="*/ 2147483647 h 1458"/>
                  <a:gd name="T60" fmla="*/ 2147483647 w 1860"/>
                  <a:gd name="T61" fmla="*/ 2147483647 h 1458"/>
                  <a:gd name="T62" fmla="*/ 2147483647 w 1860"/>
                  <a:gd name="T63" fmla="*/ 2147483647 h 1458"/>
                  <a:gd name="T64" fmla="*/ 2147483647 w 1860"/>
                  <a:gd name="T65" fmla="*/ 2147483647 h 1458"/>
                  <a:gd name="T66" fmla="*/ 2147483647 w 1860"/>
                  <a:gd name="T67" fmla="*/ 2147483647 h 1458"/>
                  <a:gd name="T68" fmla="*/ 2147483647 w 1860"/>
                  <a:gd name="T69" fmla="*/ 2147483647 h 1458"/>
                  <a:gd name="T70" fmla="*/ 2147483647 w 1860"/>
                  <a:gd name="T71" fmla="*/ 2147483647 h 1458"/>
                  <a:gd name="T72" fmla="*/ 2147483647 w 1860"/>
                  <a:gd name="T73" fmla="*/ 2147483647 h 1458"/>
                  <a:gd name="T74" fmla="*/ 2147483647 w 1860"/>
                  <a:gd name="T75" fmla="*/ 2147483647 h 1458"/>
                  <a:gd name="T76" fmla="*/ 2147483647 w 1860"/>
                  <a:gd name="T77" fmla="*/ 2147483647 h 1458"/>
                  <a:gd name="T78" fmla="*/ 2147483647 w 1860"/>
                  <a:gd name="T79" fmla="*/ 2147483647 h 1458"/>
                  <a:gd name="T80" fmla="*/ 2147483647 w 1860"/>
                  <a:gd name="T81" fmla="*/ 2147483647 h 1458"/>
                  <a:gd name="T82" fmla="*/ 2147483647 w 1860"/>
                  <a:gd name="T83" fmla="*/ 2147483647 h 1458"/>
                  <a:gd name="T84" fmla="*/ 2147483647 w 1860"/>
                  <a:gd name="T85" fmla="*/ 2147483647 h 1458"/>
                  <a:gd name="T86" fmla="*/ 2147483647 w 1860"/>
                  <a:gd name="T87" fmla="*/ 2147483647 h 1458"/>
                  <a:gd name="T88" fmla="*/ 2147483647 w 1860"/>
                  <a:gd name="T89" fmla="*/ 2147483647 h 1458"/>
                  <a:gd name="T90" fmla="*/ 2147483647 w 1860"/>
                  <a:gd name="T91" fmla="*/ 2147483647 h 1458"/>
                  <a:gd name="T92" fmla="*/ 2147483647 w 1860"/>
                  <a:gd name="T93" fmla="*/ 2147483647 h 1458"/>
                  <a:gd name="T94" fmla="*/ 2147483647 w 1860"/>
                  <a:gd name="T95" fmla="*/ 2147483647 h 1458"/>
                  <a:gd name="T96" fmla="*/ 2147483647 w 1860"/>
                  <a:gd name="T97" fmla="*/ 2147483647 h 1458"/>
                  <a:gd name="T98" fmla="*/ 2147483647 w 1860"/>
                  <a:gd name="T99" fmla="*/ 2147483647 h 1458"/>
                  <a:gd name="T100" fmla="*/ 2147483647 w 1860"/>
                  <a:gd name="T101" fmla="*/ 2147483647 h 1458"/>
                  <a:gd name="T102" fmla="*/ 2147483647 w 1860"/>
                  <a:gd name="T103" fmla="*/ 2147483647 h 1458"/>
                  <a:gd name="T104" fmla="*/ 2147483647 w 1860"/>
                  <a:gd name="T105" fmla="*/ 2147483647 h 1458"/>
                  <a:gd name="T106" fmla="*/ 2147483647 w 1860"/>
                  <a:gd name="T107" fmla="*/ 2147483647 h 1458"/>
                  <a:gd name="T108" fmla="*/ 2147483647 w 1860"/>
                  <a:gd name="T109" fmla="*/ 2147483647 h 1458"/>
                  <a:gd name="T110" fmla="*/ 2147483647 w 1860"/>
                  <a:gd name="T111" fmla="*/ 2147483647 h 1458"/>
                  <a:gd name="T112" fmla="*/ 2147483647 w 1860"/>
                  <a:gd name="T113" fmla="*/ 2147483647 h 1458"/>
                  <a:gd name="T114" fmla="*/ 2147483647 w 1860"/>
                  <a:gd name="T115" fmla="*/ 2147483647 h 1458"/>
                  <a:gd name="T116" fmla="*/ 2147483647 w 1860"/>
                  <a:gd name="T117" fmla="*/ 2147483647 h 1458"/>
                  <a:gd name="T118" fmla="*/ 2147483647 w 1860"/>
                  <a:gd name="T119" fmla="*/ 2147483647 h 1458"/>
                  <a:gd name="T120" fmla="*/ 2147483647 w 1860"/>
                  <a:gd name="T121" fmla="*/ 2147483647 h 145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860"/>
                  <a:gd name="T184" fmla="*/ 0 h 1458"/>
                  <a:gd name="T185" fmla="*/ 1860 w 1860"/>
                  <a:gd name="T186" fmla="*/ 1458 h 145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860" h="1458">
                    <a:moveTo>
                      <a:pt x="1422" y="1440"/>
                    </a:moveTo>
                    <a:lnTo>
                      <a:pt x="1422" y="1380"/>
                    </a:lnTo>
                    <a:lnTo>
                      <a:pt x="1452" y="1332"/>
                    </a:lnTo>
                    <a:lnTo>
                      <a:pt x="1542" y="1338"/>
                    </a:lnTo>
                    <a:lnTo>
                      <a:pt x="1542" y="1320"/>
                    </a:lnTo>
                    <a:lnTo>
                      <a:pt x="1548" y="1320"/>
                    </a:lnTo>
                    <a:lnTo>
                      <a:pt x="1554" y="1314"/>
                    </a:lnTo>
                    <a:lnTo>
                      <a:pt x="1554" y="1302"/>
                    </a:lnTo>
                    <a:lnTo>
                      <a:pt x="1536" y="1302"/>
                    </a:lnTo>
                    <a:lnTo>
                      <a:pt x="1530" y="1278"/>
                    </a:lnTo>
                    <a:lnTo>
                      <a:pt x="1524" y="1278"/>
                    </a:lnTo>
                    <a:lnTo>
                      <a:pt x="1512" y="1272"/>
                    </a:lnTo>
                    <a:lnTo>
                      <a:pt x="1506" y="1272"/>
                    </a:lnTo>
                    <a:lnTo>
                      <a:pt x="1500" y="1266"/>
                    </a:lnTo>
                    <a:lnTo>
                      <a:pt x="1494" y="1254"/>
                    </a:lnTo>
                    <a:lnTo>
                      <a:pt x="1494" y="1248"/>
                    </a:lnTo>
                    <a:lnTo>
                      <a:pt x="1482" y="1242"/>
                    </a:lnTo>
                    <a:lnTo>
                      <a:pt x="1506" y="1242"/>
                    </a:lnTo>
                    <a:lnTo>
                      <a:pt x="1518" y="1236"/>
                    </a:lnTo>
                    <a:lnTo>
                      <a:pt x="1524" y="1236"/>
                    </a:lnTo>
                    <a:lnTo>
                      <a:pt x="1524" y="1212"/>
                    </a:lnTo>
                    <a:lnTo>
                      <a:pt x="1518" y="1200"/>
                    </a:lnTo>
                    <a:lnTo>
                      <a:pt x="1518" y="1188"/>
                    </a:lnTo>
                    <a:lnTo>
                      <a:pt x="1650" y="1194"/>
                    </a:lnTo>
                    <a:lnTo>
                      <a:pt x="1656" y="1182"/>
                    </a:lnTo>
                    <a:lnTo>
                      <a:pt x="1656" y="1176"/>
                    </a:lnTo>
                    <a:lnTo>
                      <a:pt x="1662" y="1176"/>
                    </a:lnTo>
                    <a:lnTo>
                      <a:pt x="1668" y="1182"/>
                    </a:lnTo>
                    <a:lnTo>
                      <a:pt x="1668" y="1188"/>
                    </a:lnTo>
                    <a:lnTo>
                      <a:pt x="1674" y="1188"/>
                    </a:lnTo>
                    <a:lnTo>
                      <a:pt x="1680" y="1182"/>
                    </a:lnTo>
                    <a:lnTo>
                      <a:pt x="1692" y="1176"/>
                    </a:lnTo>
                    <a:lnTo>
                      <a:pt x="1698" y="1164"/>
                    </a:lnTo>
                    <a:lnTo>
                      <a:pt x="1698" y="1152"/>
                    </a:lnTo>
                    <a:lnTo>
                      <a:pt x="1704" y="1146"/>
                    </a:lnTo>
                    <a:lnTo>
                      <a:pt x="1704" y="1140"/>
                    </a:lnTo>
                    <a:lnTo>
                      <a:pt x="1710" y="1152"/>
                    </a:lnTo>
                    <a:lnTo>
                      <a:pt x="1746" y="1116"/>
                    </a:lnTo>
                    <a:lnTo>
                      <a:pt x="1746" y="1122"/>
                    </a:lnTo>
                    <a:lnTo>
                      <a:pt x="1740" y="1128"/>
                    </a:lnTo>
                    <a:lnTo>
                      <a:pt x="1740" y="1146"/>
                    </a:lnTo>
                    <a:lnTo>
                      <a:pt x="1746" y="1152"/>
                    </a:lnTo>
                    <a:lnTo>
                      <a:pt x="1758" y="1152"/>
                    </a:lnTo>
                    <a:lnTo>
                      <a:pt x="1782" y="1086"/>
                    </a:lnTo>
                    <a:lnTo>
                      <a:pt x="1770" y="1074"/>
                    </a:lnTo>
                    <a:lnTo>
                      <a:pt x="1794" y="1068"/>
                    </a:lnTo>
                    <a:lnTo>
                      <a:pt x="1794" y="1056"/>
                    </a:lnTo>
                    <a:lnTo>
                      <a:pt x="1776" y="1050"/>
                    </a:lnTo>
                    <a:lnTo>
                      <a:pt x="1794" y="1032"/>
                    </a:lnTo>
                    <a:lnTo>
                      <a:pt x="1800" y="1008"/>
                    </a:lnTo>
                    <a:lnTo>
                      <a:pt x="1806" y="996"/>
                    </a:lnTo>
                    <a:lnTo>
                      <a:pt x="1818" y="990"/>
                    </a:lnTo>
                    <a:lnTo>
                      <a:pt x="1824" y="978"/>
                    </a:lnTo>
                    <a:lnTo>
                      <a:pt x="1836" y="966"/>
                    </a:lnTo>
                    <a:lnTo>
                      <a:pt x="1842" y="954"/>
                    </a:lnTo>
                    <a:lnTo>
                      <a:pt x="1848" y="948"/>
                    </a:lnTo>
                    <a:lnTo>
                      <a:pt x="1854" y="936"/>
                    </a:lnTo>
                    <a:lnTo>
                      <a:pt x="1854" y="930"/>
                    </a:lnTo>
                    <a:lnTo>
                      <a:pt x="1860" y="918"/>
                    </a:lnTo>
                    <a:lnTo>
                      <a:pt x="1860" y="900"/>
                    </a:lnTo>
                    <a:lnTo>
                      <a:pt x="1854" y="894"/>
                    </a:lnTo>
                    <a:lnTo>
                      <a:pt x="1818" y="894"/>
                    </a:lnTo>
                    <a:lnTo>
                      <a:pt x="1812" y="900"/>
                    </a:lnTo>
                    <a:lnTo>
                      <a:pt x="1800" y="900"/>
                    </a:lnTo>
                    <a:lnTo>
                      <a:pt x="1794" y="894"/>
                    </a:lnTo>
                    <a:lnTo>
                      <a:pt x="1782" y="894"/>
                    </a:lnTo>
                    <a:lnTo>
                      <a:pt x="1770" y="888"/>
                    </a:lnTo>
                    <a:lnTo>
                      <a:pt x="1746" y="888"/>
                    </a:lnTo>
                    <a:lnTo>
                      <a:pt x="1734" y="894"/>
                    </a:lnTo>
                    <a:lnTo>
                      <a:pt x="1716" y="900"/>
                    </a:lnTo>
                    <a:lnTo>
                      <a:pt x="1698" y="900"/>
                    </a:lnTo>
                    <a:lnTo>
                      <a:pt x="1686" y="906"/>
                    </a:lnTo>
                    <a:lnTo>
                      <a:pt x="1668" y="906"/>
                    </a:lnTo>
                    <a:lnTo>
                      <a:pt x="1656" y="912"/>
                    </a:lnTo>
                    <a:lnTo>
                      <a:pt x="1626" y="912"/>
                    </a:lnTo>
                    <a:lnTo>
                      <a:pt x="1614" y="918"/>
                    </a:lnTo>
                    <a:lnTo>
                      <a:pt x="1608" y="924"/>
                    </a:lnTo>
                    <a:lnTo>
                      <a:pt x="1596" y="948"/>
                    </a:lnTo>
                    <a:lnTo>
                      <a:pt x="1590" y="966"/>
                    </a:lnTo>
                    <a:lnTo>
                      <a:pt x="1590" y="1026"/>
                    </a:lnTo>
                    <a:lnTo>
                      <a:pt x="1572" y="1032"/>
                    </a:lnTo>
                    <a:lnTo>
                      <a:pt x="1572" y="1062"/>
                    </a:lnTo>
                    <a:lnTo>
                      <a:pt x="1566" y="1074"/>
                    </a:lnTo>
                    <a:lnTo>
                      <a:pt x="1542" y="1086"/>
                    </a:lnTo>
                    <a:lnTo>
                      <a:pt x="1524" y="1098"/>
                    </a:lnTo>
                    <a:lnTo>
                      <a:pt x="1512" y="1110"/>
                    </a:lnTo>
                    <a:lnTo>
                      <a:pt x="1512" y="1122"/>
                    </a:lnTo>
                    <a:lnTo>
                      <a:pt x="1506" y="1128"/>
                    </a:lnTo>
                    <a:lnTo>
                      <a:pt x="1506" y="1140"/>
                    </a:lnTo>
                    <a:lnTo>
                      <a:pt x="1500" y="1146"/>
                    </a:lnTo>
                    <a:lnTo>
                      <a:pt x="1488" y="1146"/>
                    </a:lnTo>
                    <a:lnTo>
                      <a:pt x="1476" y="1134"/>
                    </a:lnTo>
                    <a:lnTo>
                      <a:pt x="1476" y="1128"/>
                    </a:lnTo>
                    <a:lnTo>
                      <a:pt x="1470" y="1122"/>
                    </a:lnTo>
                    <a:lnTo>
                      <a:pt x="1440" y="1122"/>
                    </a:lnTo>
                    <a:lnTo>
                      <a:pt x="1416" y="1128"/>
                    </a:lnTo>
                    <a:lnTo>
                      <a:pt x="1392" y="1140"/>
                    </a:lnTo>
                    <a:lnTo>
                      <a:pt x="1356" y="1140"/>
                    </a:lnTo>
                    <a:lnTo>
                      <a:pt x="1338" y="1146"/>
                    </a:lnTo>
                    <a:lnTo>
                      <a:pt x="1290" y="1170"/>
                    </a:lnTo>
                    <a:lnTo>
                      <a:pt x="1284" y="1170"/>
                    </a:lnTo>
                    <a:lnTo>
                      <a:pt x="1272" y="1158"/>
                    </a:lnTo>
                    <a:lnTo>
                      <a:pt x="1266" y="1146"/>
                    </a:lnTo>
                    <a:lnTo>
                      <a:pt x="1266" y="1140"/>
                    </a:lnTo>
                    <a:lnTo>
                      <a:pt x="1260" y="1128"/>
                    </a:lnTo>
                    <a:lnTo>
                      <a:pt x="1242" y="1128"/>
                    </a:lnTo>
                    <a:lnTo>
                      <a:pt x="1224" y="1122"/>
                    </a:lnTo>
                    <a:lnTo>
                      <a:pt x="1194" y="1122"/>
                    </a:lnTo>
                    <a:lnTo>
                      <a:pt x="1194" y="1104"/>
                    </a:lnTo>
                    <a:lnTo>
                      <a:pt x="1188" y="1092"/>
                    </a:lnTo>
                    <a:lnTo>
                      <a:pt x="1176" y="1080"/>
                    </a:lnTo>
                    <a:lnTo>
                      <a:pt x="1170" y="1068"/>
                    </a:lnTo>
                    <a:lnTo>
                      <a:pt x="1164" y="1062"/>
                    </a:lnTo>
                    <a:lnTo>
                      <a:pt x="1164" y="1026"/>
                    </a:lnTo>
                    <a:lnTo>
                      <a:pt x="1128" y="966"/>
                    </a:lnTo>
                    <a:lnTo>
                      <a:pt x="1122" y="924"/>
                    </a:lnTo>
                    <a:lnTo>
                      <a:pt x="1110" y="894"/>
                    </a:lnTo>
                    <a:lnTo>
                      <a:pt x="1104" y="804"/>
                    </a:lnTo>
                    <a:lnTo>
                      <a:pt x="1110" y="798"/>
                    </a:lnTo>
                    <a:lnTo>
                      <a:pt x="1122" y="774"/>
                    </a:lnTo>
                    <a:lnTo>
                      <a:pt x="1128" y="768"/>
                    </a:lnTo>
                    <a:lnTo>
                      <a:pt x="1128" y="654"/>
                    </a:lnTo>
                    <a:lnTo>
                      <a:pt x="1152" y="648"/>
                    </a:lnTo>
                    <a:lnTo>
                      <a:pt x="1152" y="612"/>
                    </a:lnTo>
                    <a:lnTo>
                      <a:pt x="1158" y="600"/>
                    </a:lnTo>
                    <a:lnTo>
                      <a:pt x="1158" y="594"/>
                    </a:lnTo>
                    <a:lnTo>
                      <a:pt x="1164" y="588"/>
                    </a:lnTo>
                    <a:lnTo>
                      <a:pt x="1176" y="588"/>
                    </a:lnTo>
                    <a:lnTo>
                      <a:pt x="1182" y="594"/>
                    </a:lnTo>
                    <a:lnTo>
                      <a:pt x="1188" y="594"/>
                    </a:lnTo>
                    <a:lnTo>
                      <a:pt x="1188" y="588"/>
                    </a:lnTo>
                    <a:lnTo>
                      <a:pt x="1194" y="576"/>
                    </a:lnTo>
                    <a:lnTo>
                      <a:pt x="1194" y="564"/>
                    </a:lnTo>
                    <a:lnTo>
                      <a:pt x="1200" y="558"/>
                    </a:lnTo>
                    <a:lnTo>
                      <a:pt x="1206" y="546"/>
                    </a:lnTo>
                    <a:lnTo>
                      <a:pt x="1206" y="540"/>
                    </a:lnTo>
                    <a:lnTo>
                      <a:pt x="1206" y="546"/>
                    </a:lnTo>
                    <a:lnTo>
                      <a:pt x="1182" y="546"/>
                    </a:lnTo>
                    <a:lnTo>
                      <a:pt x="1176" y="534"/>
                    </a:lnTo>
                    <a:lnTo>
                      <a:pt x="1176" y="528"/>
                    </a:lnTo>
                    <a:lnTo>
                      <a:pt x="1134" y="528"/>
                    </a:lnTo>
                    <a:lnTo>
                      <a:pt x="1122" y="516"/>
                    </a:lnTo>
                    <a:lnTo>
                      <a:pt x="1110" y="516"/>
                    </a:lnTo>
                    <a:lnTo>
                      <a:pt x="1092" y="510"/>
                    </a:lnTo>
                    <a:lnTo>
                      <a:pt x="1080" y="498"/>
                    </a:lnTo>
                    <a:lnTo>
                      <a:pt x="1080" y="468"/>
                    </a:lnTo>
                    <a:lnTo>
                      <a:pt x="1068" y="456"/>
                    </a:lnTo>
                    <a:lnTo>
                      <a:pt x="1068" y="420"/>
                    </a:lnTo>
                    <a:lnTo>
                      <a:pt x="1074" y="420"/>
                    </a:lnTo>
                    <a:lnTo>
                      <a:pt x="1080" y="414"/>
                    </a:lnTo>
                    <a:lnTo>
                      <a:pt x="1080" y="408"/>
                    </a:lnTo>
                    <a:lnTo>
                      <a:pt x="1068" y="396"/>
                    </a:lnTo>
                    <a:lnTo>
                      <a:pt x="1056" y="390"/>
                    </a:lnTo>
                    <a:lnTo>
                      <a:pt x="1050" y="384"/>
                    </a:lnTo>
                    <a:lnTo>
                      <a:pt x="1050" y="360"/>
                    </a:lnTo>
                    <a:lnTo>
                      <a:pt x="1038" y="354"/>
                    </a:lnTo>
                    <a:lnTo>
                      <a:pt x="1032" y="342"/>
                    </a:lnTo>
                    <a:lnTo>
                      <a:pt x="1032" y="330"/>
                    </a:lnTo>
                    <a:lnTo>
                      <a:pt x="1038" y="318"/>
                    </a:lnTo>
                    <a:lnTo>
                      <a:pt x="1038" y="294"/>
                    </a:lnTo>
                    <a:lnTo>
                      <a:pt x="1026" y="282"/>
                    </a:lnTo>
                    <a:lnTo>
                      <a:pt x="1020" y="270"/>
                    </a:lnTo>
                    <a:lnTo>
                      <a:pt x="1008" y="258"/>
                    </a:lnTo>
                    <a:lnTo>
                      <a:pt x="1002" y="246"/>
                    </a:lnTo>
                    <a:lnTo>
                      <a:pt x="996" y="240"/>
                    </a:lnTo>
                    <a:lnTo>
                      <a:pt x="990" y="228"/>
                    </a:lnTo>
                    <a:lnTo>
                      <a:pt x="948" y="228"/>
                    </a:lnTo>
                    <a:lnTo>
                      <a:pt x="930" y="222"/>
                    </a:lnTo>
                    <a:lnTo>
                      <a:pt x="930" y="228"/>
                    </a:lnTo>
                    <a:lnTo>
                      <a:pt x="912" y="228"/>
                    </a:lnTo>
                    <a:lnTo>
                      <a:pt x="900" y="240"/>
                    </a:lnTo>
                    <a:lnTo>
                      <a:pt x="888" y="264"/>
                    </a:lnTo>
                    <a:lnTo>
                      <a:pt x="876" y="276"/>
                    </a:lnTo>
                    <a:lnTo>
                      <a:pt x="852" y="288"/>
                    </a:lnTo>
                    <a:lnTo>
                      <a:pt x="840" y="288"/>
                    </a:lnTo>
                    <a:lnTo>
                      <a:pt x="822" y="276"/>
                    </a:lnTo>
                    <a:lnTo>
                      <a:pt x="810" y="270"/>
                    </a:lnTo>
                    <a:lnTo>
                      <a:pt x="780" y="240"/>
                    </a:lnTo>
                    <a:lnTo>
                      <a:pt x="780" y="228"/>
                    </a:lnTo>
                    <a:lnTo>
                      <a:pt x="786" y="216"/>
                    </a:lnTo>
                    <a:lnTo>
                      <a:pt x="786" y="174"/>
                    </a:lnTo>
                    <a:lnTo>
                      <a:pt x="780" y="162"/>
                    </a:lnTo>
                    <a:lnTo>
                      <a:pt x="768" y="150"/>
                    </a:lnTo>
                    <a:lnTo>
                      <a:pt x="756" y="144"/>
                    </a:lnTo>
                    <a:lnTo>
                      <a:pt x="744" y="144"/>
                    </a:lnTo>
                    <a:lnTo>
                      <a:pt x="738" y="114"/>
                    </a:lnTo>
                    <a:lnTo>
                      <a:pt x="708" y="102"/>
                    </a:lnTo>
                    <a:lnTo>
                      <a:pt x="708" y="78"/>
                    </a:lnTo>
                    <a:lnTo>
                      <a:pt x="696" y="66"/>
                    </a:lnTo>
                    <a:lnTo>
                      <a:pt x="582" y="66"/>
                    </a:lnTo>
                    <a:lnTo>
                      <a:pt x="576" y="72"/>
                    </a:lnTo>
                    <a:lnTo>
                      <a:pt x="576" y="90"/>
                    </a:lnTo>
                    <a:lnTo>
                      <a:pt x="570" y="102"/>
                    </a:lnTo>
                    <a:lnTo>
                      <a:pt x="570" y="108"/>
                    </a:lnTo>
                    <a:lnTo>
                      <a:pt x="366" y="108"/>
                    </a:lnTo>
                    <a:lnTo>
                      <a:pt x="156" y="12"/>
                    </a:lnTo>
                    <a:lnTo>
                      <a:pt x="150" y="12"/>
                    </a:lnTo>
                    <a:lnTo>
                      <a:pt x="150" y="6"/>
                    </a:lnTo>
                    <a:lnTo>
                      <a:pt x="156" y="0"/>
                    </a:lnTo>
                    <a:lnTo>
                      <a:pt x="12" y="6"/>
                    </a:lnTo>
                    <a:lnTo>
                      <a:pt x="6" y="0"/>
                    </a:lnTo>
                    <a:lnTo>
                      <a:pt x="0" y="18"/>
                    </a:lnTo>
                    <a:lnTo>
                      <a:pt x="0" y="48"/>
                    </a:lnTo>
                    <a:lnTo>
                      <a:pt x="6" y="60"/>
                    </a:lnTo>
                    <a:lnTo>
                      <a:pt x="12" y="66"/>
                    </a:lnTo>
                    <a:lnTo>
                      <a:pt x="18" y="78"/>
                    </a:lnTo>
                    <a:lnTo>
                      <a:pt x="0" y="90"/>
                    </a:lnTo>
                    <a:lnTo>
                      <a:pt x="12" y="114"/>
                    </a:lnTo>
                    <a:lnTo>
                      <a:pt x="6" y="126"/>
                    </a:lnTo>
                    <a:lnTo>
                      <a:pt x="24" y="144"/>
                    </a:lnTo>
                    <a:lnTo>
                      <a:pt x="6" y="174"/>
                    </a:lnTo>
                    <a:lnTo>
                      <a:pt x="18" y="180"/>
                    </a:lnTo>
                    <a:lnTo>
                      <a:pt x="18" y="210"/>
                    </a:lnTo>
                    <a:lnTo>
                      <a:pt x="24" y="228"/>
                    </a:lnTo>
                    <a:lnTo>
                      <a:pt x="24" y="240"/>
                    </a:lnTo>
                    <a:lnTo>
                      <a:pt x="30" y="252"/>
                    </a:lnTo>
                    <a:lnTo>
                      <a:pt x="42" y="264"/>
                    </a:lnTo>
                    <a:lnTo>
                      <a:pt x="60" y="264"/>
                    </a:lnTo>
                    <a:lnTo>
                      <a:pt x="60" y="270"/>
                    </a:lnTo>
                    <a:lnTo>
                      <a:pt x="66" y="276"/>
                    </a:lnTo>
                    <a:lnTo>
                      <a:pt x="72" y="288"/>
                    </a:lnTo>
                    <a:lnTo>
                      <a:pt x="84" y="300"/>
                    </a:lnTo>
                    <a:lnTo>
                      <a:pt x="90" y="318"/>
                    </a:lnTo>
                    <a:lnTo>
                      <a:pt x="96" y="330"/>
                    </a:lnTo>
                    <a:lnTo>
                      <a:pt x="96" y="342"/>
                    </a:lnTo>
                    <a:lnTo>
                      <a:pt x="78" y="378"/>
                    </a:lnTo>
                    <a:lnTo>
                      <a:pt x="72" y="384"/>
                    </a:lnTo>
                    <a:lnTo>
                      <a:pt x="72" y="390"/>
                    </a:lnTo>
                    <a:lnTo>
                      <a:pt x="84" y="396"/>
                    </a:lnTo>
                    <a:lnTo>
                      <a:pt x="72" y="414"/>
                    </a:lnTo>
                    <a:lnTo>
                      <a:pt x="60" y="396"/>
                    </a:lnTo>
                    <a:lnTo>
                      <a:pt x="12" y="390"/>
                    </a:lnTo>
                    <a:lnTo>
                      <a:pt x="36" y="414"/>
                    </a:lnTo>
                    <a:lnTo>
                      <a:pt x="42" y="438"/>
                    </a:lnTo>
                    <a:lnTo>
                      <a:pt x="66" y="444"/>
                    </a:lnTo>
                    <a:lnTo>
                      <a:pt x="78" y="456"/>
                    </a:lnTo>
                    <a:lnTo>
                      <a:pt x="84" y="468"/>
                    </a:lnTo>
                    <a:lnTo>
                      <a:pt x="90" y="474"/>
                    </a:lnTo>
                    <a:lnTo>
                      <a:pt x="96" y="474"/>
                    </a:lnTo>
                    <a:lnTo>
                      <a:pt x="102" y="468"/>
                    </a:lnTo>
                    <a:lnTo>
                      <a:pt x="108" y="468"/>
                    </a:lnTo>
                    <a:lnTo>
                      <a:pt x="120" y="462"/>
                    </a:lnTo>
                    <a:lnTo>
                      <a:pt x="126" y="456"/>
                    </a:lnTo>
                    <a:lnTo>
                      <a:pt x="126" y="480"/>
                    </a:lnTo>
                    <a:lnTo>
                      <a:pt x="144" y="516"/>
                    </a:lnTo>
                    <a:lnTo>
                      <a:pt x="156" y="528"/>
                    </a:lnTo>
                    <a:lnTo>
                      <a:pt x="168" y="552"/>
                    </a:lnTo>
                    <a:lnTo>
                      <a:pt x="168" y="564"/>
                    </a:lnTo>
                    <a:lnTo>
                      <a:pt x="156" y="588"/>
                    </a:lnTo>
                    <a:lnTo>
                      <a:pt x="150" y="606"/>
                    </a:lnTo>
                    <a:lnTo>
                      <a:pt x="150" y="618"/>
                    </a:lnTo>
                    <a:lnTo>
                      <a:pt x="180" y="648"/>
                    </a:lnTo>
                    <a:lnTo>
                      <a:pt x="192" y="666"/>
                    </a:lnTo>
                    <a:lnTo>
                      <a:pt x="222" y="696"/>
                    </a:lnTo>
                    <a:lnTo>
                      <a:pt x="234" y="714"/>
                    </a:lnTo>
                    <a:lnTo>
                      <a:pt x="264" y="744"/>
                    </a:lnTo>
                    <a:lnTo>
                      <a:pt x="258" y="750"/>
                    </a:lnTo>
                    <a:lnTo>
                      <a:pt x="258" y="762"/>
                    </a:lnTo>
                    <a:lnTo>
                      <a:pt x="252" y="768"/>
                    </a:lnTo>
                    <a:lnTo>
                      <a:pt x="252" y="780"/>
                    </a:lnTo>
                    <a:lnTo>
                      <a:pt x="258" y="786"/>
                    </a:lnTo>
                    <a:lnTo>
                      <a:pt x="276" y="786"/>
                    </a:lnTo>
                    <a:lnTo>
                      <a:pt x="288" y="780"/>
                    </a:lnTo>
                    <a:lnTo>
                      <a:pt x="294" y="768"/>
                    </a:lnTo>
                    <a:lnTo>
                      <a:pt x="306" y="762"/>
                    </a:lnTo>
                    <a:lnTo>
                      <a:pt x="312" y="756"/>
                    </a:lnTo>
                    <a:lnTo>
                      <a:pt x="306" y="738"/>
                    </a:lnTo>
                    <a:lnTo>
                      <a:pt x="306" y="732"/>
                    </a:lnTo>
                    <a:lnTo>
                      <a:pt x="300" y="726"/>
                    </a:lnTo>
                    <a:lnTo>
                      <a:pt x="300" y="708"/>
                    </a:lnTo>
                    <a:lnTo>
                      <a:pt x="288" y="684"/>
                    </a:lnTo>
                    <a:lnTo>
                      <a:pt x="282" y="678"/>
                    </a:lnTo>
                    <a:lnTo>
                      <a:pt x="258" y="678"/>
                    </a:lnTo>
                    <a:lnTo>
                      <a:pt x="240" y="648"/>
                    </a:lnTo>
                    <a:lnTo>
                      <a:pt x="240" y="576"/>
                    </a:lnTo>
                    <a:lnTo>
                      <a:pt x="222" y="546"/>
                    </a:lnTo>
                    <a:lnTo>
                      <a:pt x="228" y="534"/>
                    </a:lnTo>
                    <a:lnTo>
                      <a:pt x="228" y="528"/>
                    </a:lnTo>
                    <a:lnTo>
                      <a:pt x="234" y="516"/>
                    </a:lnTo>
                    <a:lnTo>
                      <a:pt x="234" y="492"/>
                    </a:lnTo>
                    <a:lnTo>
                      <a:pt x="228" y="486"/>
                    </a:lnTo>
                    <a:lnTo>
                      <a:pt x="216" y="480"/>
                    </a:lnTo>
                    <a:lnTo>
                      <a:pt x="210" y="474"/>
                    </a:lnTo>
                    <a:lnTo>
                      <a:pt x="198" y="474"/>
                    </a:lnTo>
                    <a:lnTo>
                      <a:pt x="198" y="432"/>
                    </a:lnTo>
                    <a:lnTo>
                      <a:pt x="168" y="396"/>
                    </a:lnTo>
                    <a:lnTo>
                      <a:pt x="174" y="336"/>
                    </a:lnTo>
                    <a:lnTo>
                      <a:pt x="168" y="330"/>
                    </a:lnTo>
                    <a:lnTo>
                      <a:pt x="162" y="318"/>
                    </a:lnTo>
                    <a:lnTo>
                      <a:pt x="144" y="300"/>
                    </a:lnTo>
                    <a:lnTo>
                      <a:pt x="138" y="288"/>
                    </a:lnTo>
                    <a:lnTo>
                      <a:pt x="138" y="276"/>
                    </a:lnTo>
                    <a:lnTo>
                      <a:pt x="132" y="264"/>
                    </a:lnTo>
                    <a:lnTo>
                      <a:pt x="132" y="246"/>
                    </a:lnTo>
                    <a:lnTo>
                      <a:pt x="126" y="240"/>
                    </a:lnTo>
                    <a:lnTo>
                      <a:pt x="120" y="228"/>
                    </a:lnTo>
                    <a:lnTo>
                      <a:pt x="108" y="216"/>
                    </a:lnTo>
                    <a:lnTo>
                      <a:pt x="102" y="204"/>
                    </a:lnTo>
                    <a:lnTo>
                      <a:pt x="96" y="198"/>
                    </a:lnTo>
                    <a:lnTo>
                      <a:pt x="96" y="192"/>
                    </a:lnTo>
                    <a:lnTo>
                      <a:pt x="102" y="186"/>
                    </a:lnTo>
                    <a:lnTo>
                      <a:pt x="114" y="162"/>
                    </a:lnTo>
                    <a:lnTo>
                      <a:pt x="114" y="114"/>
                    </a:lnTo>
                    <a:lnTo>
                      <a:pt x="120" y="108"/>
                    </a:lnTo>
                    <a:lnTo>
                      <a:pt x="126" y="96"/>
                    </a:lnTo>
                    <a:lnTo>
                      <a:pt x="126" y="60"/>
                    </a:lnTo>
                    <a:lnTo>
                      <a:pt x="132" y="66"/>
                    </a:lnTo>
                    <a:lnTo>
                      <a:pt x="144" y="72"/>
                    </a:lnTo>
                    <a:lnTo>
                      <a:pt x="150" y="84"/>
                    </a:lnTo>
                    <a:lnTo>
                      <a:pt x="162" y="90"/>
                    </a:lnTo>
                    <a:lnTo>
                      <a:pt x="180" y="90"/>
                    </a:lnTo>
                    <a:lnTo>
                      <a:pt x="186" y="84"/>
                    </a:lnTo>
                    <a:lnTo>
                      <a:pt x="198" y="84"/>
                    </a:lnTo>
                    <a:lnTo>
                      <a:pt x="198" y="102"/>
                    </a:lnTo>
                    <a:lnTo>
                      <a:pt x="204" y="108"/>
                    </a:lnTo>
                    <a:lnTo>
                      <a:pt x="216" y="114"/>
                    </a:lnTo>
                    <a:lnTo>
                      <a:pt x="234" y="114"/>
                    </a:lnTo>
                    <a:lnTo>
                      <a:pt x="234" y="120"/>
                    </a:lnTo>
                    <a:lnTo>
                      <a:pt x="228" y="126"/>
                    </a:lnTo>
                    <a:lnTo>
                      <a:pt x="228" y="186"/>
                    </a:lnTo>
                    <a:lnTo>
                      <a:pt x="240" y="258"/>
                    </a:lnTo>
                    <a:lnTo>
                      <a:pt x="240" y="270"/>
                    </a:lnTo>
                    <a:lnTo>
                      <a:pt x="246" y="282"/>
                    </a:lnTo>
                    <a:lnTo>
                      <a:pt x="252" y="306"/>
                    </a:lnTo>
                    <a:lnTo>
                      <a:pt x="264" y="342"/>
                    </a:lnTo>
                    <a:lnTo>
                      <a:pt x="276" y="372"/>
                    </a:lnTo>
                    <a:lnTo>
                      <a:pt x="282" y="384"/>
                    </a:lnTo>
                    <a:lnTo>
                      <a:pt x="324" y="384"/>
                    </a:lnTo>
                    <a:lnTo>
                      <a:pt x="318" y="390"/>
                    </a:lnTo>
                    <a:lnTo>
                      <a:pt x="306" y="414"/>
                    </a:lnTo>
                    <a:lnTo>
                      <a:pt x="318" y="438"/>
                    </a:lnTo>
                    <a:lnTo>
                      <a:pt x="330" y="444"/>
                    </a:lnTo>
                    <a:lnTo>
                      <a:pt x="336" y="450"/>
                    </a:lnTo>
                    <a:lnTo>
                      <a:pt x="348" y="450"/>
                    </a:lnTo>
                    <a:lnTo>
                      <a:pt x="354" y="474"/>
                    </a:lnTo>
                    <a:lnTo>
                      <a:pt x="384" y="474"/>
                    </a:lnTo>
                    <a:lnTo>
                      <a:pt x="390" y="516"/>
                    </a:lnTo>
                    <a:lnTo>
                      <a:pt x="384" y="516"/>
                    </a:lnTo>
                    <a:lnTo>
                      <a:pt x="378" y="522"/>
                    </a:lnTo>
                    <a:lnTo>
                      <a:pt x="366" y="528"/>
                    </a:lnTo>
                    <a:lnTo>
                      <a:pt x="360" y="534"/>
                    </a:lnTo>
                    <a:lnTo>
                      <a:pt x="354" y="546"/>
                    </a:lnTo>
                    <a:lnTo>
                      <a:pt x="354" y="558"/>
                    </a:lnTo>
                    <a:lnTo>
                      <a:pt x="360" y="564"/>
                    </a:lnTo>
                    <a:lnTo>
                      <a:pt x="372" y="570"/>
                    </a:lnTo>
                    <a:lnTo>
                      <a:pt x="384" y="558"/>
                    </a:lnTo>
                    <a:lnTo>
                      <a:pt x="384" y="564"/>
                    </a:lnTo>
                    <a:lnTo>
                      <a:pt x="396" y="576"/>
                    </a:lnTo>
                    <a:lnTo>
                      <a:pt x="396" y="588"/>
                    </a:lnTo>
                    <a:lnTo>
                      <a:pt x="402" y="594"/>
                    </a:lnTo>
                    <a:lnTo>
                      <a:pt x="414" y="594"/>
                    </a:lnTo>
                    <a:lnTo>
                      <a:pt x="426" y="600"/>
                    </a:lnTo>
                    <a:lnTo>
                      <a:pt x="432" y="600"/>
                    </a:lnTo>
                    <a:lnTo>
                      <a:pt x="438" y="606"/>
                    </a:lnTo>
                    <a:lnTo>
                      <a:pt x="438" y="624"/>
                    </a:lnTo>
                    <a:lnTo>
                      <a:pt x="432" y="630"/>
                    </a:lnTo>
                    <a:lnTo>
                      <a:pt x="432" y="636"/>
                    </a:lnTo>
                    <a:lnTo>
                      <a:pt x="426" y="648"/>
                    </a:lnTo>
                    <a:lnTo>
                      <a:pt x="426" y="654"/>
                    </a:lnTo>
                    <a:lnTo>
                      <a:pt x="468" y="654"/>
                    </a:lnTo>
                    <a:lnTo>
                      <a:pt x="468" y="684"/>
                    </a:lnTo>
                    <a:lnTo>
                      <a:pt x="504" y="720"/>
                    </a:lnTo>
                    <a:lnTo>
                      <a:pt x="510" y="732"/>
                    </a:lnTo>
                    <a:lnTo>
                      <a:pt x="528" y="750"/>
                    </a:lnTo>
                    <a:lnTo>
                      <a:pt x="534" y="768"/>
                    </a:lnTo>
                    <a:lnTo>
                      <a:pt x="546" y="780"/>
                    </a:lnTo>
                    <a:lnTo>
                      <a:pt x="552" y="798"/>
                    </a:lnTo>
                    <a:lnTo>
                      <a:pt x="558" y="810"/>
                    </a:lnTo>
                    <a:lnTo>
                      <a:pt x="558" y="870"/>
                    </a:lnTo>
                    <a:lnTo>
                      <a:pt x="564" y="882"/>
                    </a:lnTo>
                    <a:lnTo>
                      <a:pt x="576" y="894"/>
                    </a:lnTo>
                    <a:lnTo>
                      <a:pt x="576" y="906"/>
                    </a:lnTo>
                    <a:lnTo>
                      <a:pt x="570" y="918"/>
                    </a:lnTo>
                    <a:lnTo>
                      <a:pt x="552" y="936"/>
                    </a:lnTo>
                    <a:lnTo>
                      <a:pt x="546" y="948"/>
                    </a:lnTo>
                    <a:lnTo>
                      <a:pt x="546" y="954"/>
                    </a:lnTo>
                    <a:lnTo>
                      <a:pt x="552" y="960"/>
                    </a:lnTo>
                    <a:lnTo>
                      <a:pt x="564" y="966"/>
                    </a:lnTo>
                    <a:lnTo>
                      <a:pt x="540" y="966"/>
                    </a:lnTo>
                    <a:lnTo>
                      <a:pt x="528" y="972"/>
                    </a:lnTo>
                    <a:lnTo>
                      <a:pt x="528" y="1038"/>
                    </a:lnTo>
                    <a:lnTo>
                      <a:pt x="534" y="1056"/>
                    </a:lnTo>
                    <a:lnTo>
                      <a:pt x="540" y="1062"/>
                    </a:lnTo>
                    <a:lnTo>
                      <a:pt x="546" y="1074"/>
                    </a:lnTo>
                    <a:lnTo>
                      <a:pt x="558" y="1074"/>
                    </a:lnTo>
                    <a:lnTo>
                      <a:pt x="576" y="1080"/>
                    </a:lnTo>
                    <a:lnTo>
                      <a:pt x="600" y="1080"/>
                    </a:lnTo>
                    <a:lnTo>
                      <a:pt x="612" y="1086"/>
                    </a:lnTo>
                    <a:lnTo>
                      <a:pt x="636" y="1110"/>
                    </a:lnTo>
                    <a:lnTo>
                      <a:pt x="642" y="1122"/>
                    </a:lnTo>
                    <a:lnTo>
                      <a:pt x="648" y="1140"/>
                    </a:lnTo>
                    <a:lnTo>
                      <a:pt x="654" y="1152"/>
                    </a:lnTo>
                    <a:lnTo>
                      <a:pt x="666" y="1164"/>
                    </a:lnTo>
                    <a:lnTo>
                      <a:pt x="678" y="1170"/>
                    </a:lnTo>
                    <a:lnTo>
                      <a:pt x="732" y="1170"/>
                    </a:lnTo>
                    <a:lnTo>
                      <a:pt x="750" y="1176"/>
                    </a:lnTo>
                    <a:lnTo>
                      <a:pt x="762" y="1182"/>
                    </a:lnTo>
                    <a:lnTo>
                      <a:pt x="768" y="1188"/>
                    </a:lnTo>
                    <a:lnTo>
                      <a:pt x="774" y="1200"/>
                    </a:lnTo>
                    <a:lnTo>
                      <a:pt x="786" y="1218"/>
                    </a:lnTo>
                    <a:lnTo>
                      <a:pt x="810" y="1242"/>
                    </a:lnTo>
                    <a:lnTo>
                      <a:pt x="834" y="1254"/>
                    </a:lnTo>
                    <a:lnTo>
                      <a:pt x="870" y="1266"/>
                    </a:lnTo>
                    <a:lnTo>
                      <a:pt x="912" y="1272"/>
                    </a:lnTo>
                    <a:lnTo>
                      <a:pt x="942" y="1278"/>
                    </a:lnTo>
                    <a:lnTo>
                      <a:pt x="960" y="1290"/>
                    </a:lnTo>
                    <a:lnTo>
                      <a:pt x="966" y="1302"/>
                    </a:lnTo>
                    <a:lnTo>
                      <a:pt x="978" y="1314"/>
                    </a:lnTo>
                    <a:lnTo>
                      <a:pt x="990" y="1320"/>
                    </a:lnTo>
                    <a:lnTo>
                      <a:pt x="996" y="1320"/>
                    </a:lnTo>
                    <a:lnTo>
                      <a:pt x="1002" y="1326"/>
                    </a:lnTo>
                    <a:lnTo>
                      <a:pt x="1008" y="1338"/>
                    </a:lnTo>
                    <a:lnTo>
                      <a:pt x="1014" y="1344"/>
                    </a:lnTo>
                    <a:lnTo>
                      <a:pt x="1080" y="1344"/>
                    </a:lnTo>
                    <a:lnTo>
                      <a:pt x="1092" y="1356"/>
                    </a:lnTo>
                    <a:lnTo>
                      <a:pt x="1098" y="1368"/>
                    </a:lnTo>
                    <a:lnTo>
                      <a:pt x="1104" y="1374"/>
                    </a:lnTo>
                    <a:lnTo>
                      <a:pt x="1116" y="1374"/>
                    </a:lnTo>
                    <a:lnTo>
                      <a:pt x="1140" y="1362"/>
                    </a:lnTo>
                    <a:lnTo>
                      <a:pt x="1170" y="1350"/>
                    </a:lnTo>
                    <a:lnTo>
                      <a:pt x="1206" y="1332"/>
                    </a:lnTo>
                    <a:lnTo>
                      <a:pt x="1260" y="1314"/>
                    </a:lnTo>
                    <a:lnTo>
                      <a:pt x="1278" y="1326"/>
                    </a:lnTo>
                    <a:lnTo>
                      <a:pt x="1308" y="1350"/>
                    </a:lnTo>
                    <a:lnTo>
                      <a:pt x="1344" y="1374"/>
                    </a:lnTo>
                    <a:lnTo>
                      <a:pt x="1386" y="1416"/>
                    </a:lnTo>
                    <a:lnTo>
                      <a:pt x="1386" y="1428"/>
                    </a:lnTo>
                    <a:lnTo>
                      <a:pt x="1392" y="1446"/>
                    </a:lnTo>
                    <a:lnTo>
                      <a:pt x="1398" y="1458"/>
                    </a:lnTo>
                    <a:lnTo>
                      <a:pt x="1416" y="1458"/>
                    </a:lnTo>
                    <a:lnTo>
                      <a:pt x="1422" y="1452"/>
                    </a:lnTo>
                    <a:lnTo>
                      <a:pt x="1422" y="1440"/>
                    </a:lnTo>
                    <a:close/>
                  </a:path>
                </a:pathLst>
              </a:custGeom>
              <a:solidFill>
                <a:srgbClr val="9D90A0">
                  <a:lumMod val="40000"/>
                  <a:lumOff val="60000"/>
                </a:srgbClr>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22" name="Malaysia" descr="© INSCALE GmbH, 05.05.2010&#10;http://www.presentationload.com/">
                <a:extLst>
                  <a:ext uri="{FF2B5EF4-FFF2-40B4-BE49-F238E27FC236}">
                    <a16:creationId xmlns:a16="http://schemas.microsoft.com/office/drawing/2014/main" id="{72862633-C842-47A2-8F10-90176B1E479F}"/>
                  </a:ext>
                </a:extLst>
              </p:cNvPr>
              <p:cNvSpPr>
                <a:spLocks/>
              </p:cNvSpPr>
              <p:nvPr/>
            </p:nvSpPr>
            <p:spPr bwMode="gray">
              <a:xfrm>
                <a:off x="7025663" y="4314922"/>
                <a:ext cx="120113" cy="192330"/>
              </a:xfrm>
              <a:custGeom>
                <a:avLst/>
                <a:gdLst>
                  <a:gd name="T0" fmla="*/ 2147483647 w 306"/>
                  <a:gd name="T1" fmla="*/ 2147483647 h 438"/>
                  <a:gd name="T2" fmla="*/ 2147483647 w 306"/>
                  <a:gd name="T3" fmla="*/ 2147483647 h 438"/>
                  <a:gd name="T4" fmla="*/ 2147483647 w 306"/>
                  <a:gd name="T5" fmla="*/ 2147483647 h 438"/>
                  <a:gd name="T6" fmla="*/ 2147483647 w 306"/>
                  <a:gd name="T7" fmla="*/ 2147483647 h 438"/>
                  <a:gd name="T8" fmla="*/ 2147483647 w 306"/>
                  <a:gd name="T9" fmla="*/ 2147483647 h 438"/>
                  <a:gd name="T10" fmla="*/ 2147483647 w 306"/>
                  <a:gd name="T11" fmla="*/ 2147483647 h 438"/>
                  <a:gd name="T12" fmla="*/ 2147483647 w 306"/>
                  <a:gd name="T13" fmla="*/ 2147483647 h 438"/>
                  <a:gd name="T14" fmla="*/ 2147483647 w 306"/>
                  <a:gd name="T15" fmla="*/ 2147483647 h 438"/>
                  <a:gd name="T16" fmla="*/ 2147483647 w 306"/>
                  <a:gd name="T17" fmla="*/ 2147483647 h 438"/>
                  <a:gd name="T18" fmla="*/ 2147483647 w 306"/>
                  <a:gd name="T19" fmla="*/ 2147483647 h 438"/>
                  <a:gd name="T20" fmla="*/ 2147483647 w 306"/>
                  <a:gd name="T21" fmla="*/ 2147483647 h 438"/>
                  <a:gd name="T22" fmla="*/ 2147483647 w 306"/>
                  <a:gd name="T23" fmla="*/ 2147483647 h 438"/>
                  <a:gd name="T24" fmla="*/ 2147483647 w 306"/>
                  <a:gd name="T25" fmla="*/ 2147483647 h 438"/>
                  <a:gd name="T26" fmla="*/ 2147483647 w 306"/>
                  <a:gd name="T27" fmla="*/ 2147483647 h 438"/>
                  <a:gd name="T28" fmla="*/ 2147483647 w 306"/>
                  <a:gd name="T29" fmla="*/ 2147483647 h 438"/>
                  <a:gd name="T30" fmla="*/ 2147483647 w 306"/>
                  <a:gd name="T31" fmla="*/ 2147483647 h 438"/>
                  <a:gd name="T32" fmla="*/ 2147483647 w 306"/>
                  <a:gd name="T33" fmla="*/ 2147483647 h 438"/>
                  <a:gd name="T34" fmla="*/ 2147483647 w 306"/>
                  <a:gd name="T35" fmla="*/ 2147483647 h 438"/>
                  <a:gd name="T36" fmla="*/ 2147483647 w 306"/>
                  <a:gd name="T37" fmla="*/ 2147483647 h 438"/>
                  <a:gd name="T38" fmla="*/ 2147483647 w 306"/>
                  <a:gd name="T39" fmla="*/ 2147483647 h 438"/>
                  <a:gd name="T40" fmla="*/ 2147483647 w 306"/>
                  <a:gd name="T41" fmla="*/ 2147483647 h 438"/>
                  <a:gd name="T42" fmla="*/ 2147483647 w 306"/>
                  <a:gd name="T43" fmla="*/ 2147483647 h 438"/>
                  <a:gd name="T44" fmla="*/ 2147483647 w 306"/>
                  <a:gd name="T45" fmla="*/ 2147483647 h 438"/>
                  <a:gd name="T46" fmla="*/ 2147483647 w 306"/>
                  <a:gd name="T47" fmla="*/ 2147483647 h 438"/>
                  <a:gd name="T48" fmla="*/ 2147483647 w 306"/>
                  <a:gd name="T49" fmla="*/ 2147483647 h 438"/>
                  <a:gd name="T50" fmla="*/ 2147483647 w 306"/>
                  <a:gd name="T51" fmla="*/ 2147483647 h 438"/>
                  <a:gd name="T52" fmla="*/ 2147483647 w 306"/>
                  <a:gd name="T53" fmla="*/ 2147483647 h 438"/>
                  <a:gd name="T54" fmla="*/ 2147483647 w 306"/>
                  <a:gd name="T55" fmla="*/ 2147483647 h 438"/>
                  <a:gd name="T56" fmla="*/ 2147483647 w 306"/>
                  <a:gd name="T57" fmla="*/ 2147483647 h 438"/>
                  <a:gd name="T58" fmla="*/ 2147483647 w 306"/>
                  <a:gd name="T59" fmla="*/ 2147483647 h 438"/>
                  <a:gd name="T60" fmla="*/ 2147483647 w 306"/>
                  <a:gd name="T61" fmla="*/ 2147483647 h 438"/>
                  <a:gd name="T62" fmla="*/ 2147483647 w 306"/>
                  <a:gd name="T63" fmla="*/ 2147483647 h 438"/>
                  <a:gd name="T64" fmla="*/ 2147483647 w 306"/>
                  <a:gd name="T65" fmla="*/ 2147483647 h 438"/>
                  <a:gd name="T66" fmla="*/ 2147483647 w 306"/>
                  <a:gd name="T67" fmla="*/ 2147483647 h 438"/>
                  <a:gd name="T68" fmla="*/ 2147483647 w 306"/>
                  <a:gd name="T69" fmla="*/ 2147483647 h 438"/>
                  <a:gd name="T70" fmla="*/ 2147483647 w 306"/>
                  <a:gd name="T71" fmla="*/ 2147483647 h 438"/>
                  <a:gd name="T72" fmla="*/ 2147483647 w 306"/>
                  <a:gd name="T73" fmla="*/ 2147483647 h 438"/>
                  <a:gd name="T74" fmla="*/ 2147483647 w 306"/>
                  <a:gd name="T75" fmla="*/ 2147483647 h 438"/>
                  <a:gd name="T76" fmla="*/ 2147483647 w 306"/>
                  <a:gd name="T77" fmla="*/ 0 h 438"/>
                  <a:gd name="T78" fmla="*/ 2147483647 w 306"/>
                  <a:gd name="T79" fmla="*/ 2147483647 h 438"/>
                  <a:gd name="T80" fmla="*/ 2147483647 w 306"/>
                  <a:gd name="T81" fmla="*/ 2147483647 h 43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06"/>
                  <a:gd name="T124" fmla="*/ 0 h 438"/>
                  <a:gd name="T125" fmla="*/ 306 w 306"/>
                  <a:gd name="T126" fmla="*/ 438 h 43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06" h="438">
                    <a:moveTo>
                      <a:pt x="0" y="42"/>
                    </a:moveTo>
                    <a:lnTo>
                      <a:pt x="6" y="138"/>
                    </a:lnTo>
                    <a:lnTo>
                      <a:pt x="18" y="138"/>
                    </a:lnTo>
                    <a:lnTo>
                      <a:pt x="24" y="132"/>
                    </a:lnTo>
                    <a:lnTo>
                      <a:pt x="42" y="132"/>
                    </a:lnTo>
                    <a:lnTo>
                      <a:pt x="54" y="138"/>
                    </a:lnTo>
                    <a:lnTo>
                      <a:pt x="54" y="168"/>
                    </a:lnTo>
                    <a:lnTo>
                      <a:pt x="48" y="180"/>
                    </a:lnTo>
                    <a:lnTo>
                      <a:pt x="48" y="198"/>
                    </a:lnTo>
                    <a:lnTo>
                      <a:pt x="54" y="216"/>
                    </a:lnTo>
                    <a:lnTo>
                      <a:pt x="60" y="228"/>
                    </a:lnTo>
                    <a:lnTo>
                      <a:pt x="66" y="234"/>
                    </a:lnTo>
                    <a:lnTo>
                      <a:pt x="84" y="234"/>
                    </a:lnTo>
                    <a:lnTo>
                      <a:pt x="90" y="228"/>
                    </a:lnTo>
                    <a:lnTo>
                      <a:pt x="90" y="240"/>
                    </a:lnTo>
                    <a:lnTo>
                      <a:pt x="84" y="252"/>
                    </a:lnTo>
                    <a:lnTo>
                      <a:pt x="84" y="282"/>
                    </a:lnTo>
                    <a:lnTo>
                      <a:pt x="96" y="306"/>
                    </a:lnTo>
                    <a:lnTo>
                      <a:pt x="102" y="312"/>
                    </a:lnTo>
                    <a:lnTo>
                      <a:pt x="114" y="318"/>
                    </a:lnTo>
                    <a:lnTo>
                      <a:pt x="132" y="330"/>
                    </a:lnTo>
                    <a:lnTo>
                      <a:pt x="144" y="336"/>
                    </a:lnTo>
                    <a:lnTo>
                      <a:pt x="162" y="354"/>
                    </a:lnTo>
                    <a:lnTo>
                      <a:pt x="168" y="354"/>
                    </a:lnTo>
                    <a:lnTo>
                      <a:pt x="168" y="366"/>
                    </a:lnTo>
                    <a:lnTo>
                      <a:pt x="174" y="372"/>
                    </a:lnTo>
                    <a:lnTo>
                      <a:pt x="174" y="378"/>
                    </a:lnTo>
                    <a:lnTo>
                      <a:pt x="180" y="384"/>
                    </a:lnTo>
                    <a:lnTo>
                      <a:pt x="186" y="384"/>
                    </a:lnTo>
                    <a:lnTo>
                      <a:pt x="198" y="390"/>
                    </a:lnTo>
                    <a:lnTo>
                      <a:pt x="204" y="396"/>
                    </a:lnTo>
                    <a:lnTo>
                      <a:pt x="216" y="396"/>
                    </a:lnTo>
                    <a:lnTo>
                      <a:pt x="222" y="402"/>
                    </a:lnTo>
                    <a:lnTo>
                      <a:pt x="228" y="402"/>
                    </a:lnTo>
                    <a:lnTo>
                      <a:pt x="252" y="438"/>
                    </a:lnTo>
                    <a:lnTo>
                      <a:pt x="300" y="432"/>
                    </a:lnTo>
                    <a:lnTo>
                      <a:pt x="300" y="420"/>
                    </a:lnTo>
                    <a:lnTo>
                      <a:pt x="306" y="408"/>
                    </a:lnTo>
                    <a:lnTo>
                      <a:pt x="306" y="378"/>
                    </a:lnTo>
                    <a:lnTo>
                      <a:pt x="294" y="354"/>
                    </a:lnTo>
                    <a:lnTo>
                      <a:pt x="270" y="330"/>
                    </a:lnTo>
                    <a:lnTo>
                      <a:pt x="264" y="318"/>
                    </a:lnTo>
                    <a:lnTo>
                      <a:pt x="258" y="312"/>
                    </a:lnTo>
                    <a:lnTo>
                      <a:pt x="258" y="288"/>
                    </a:lnTo>
                    <a:lnTo>
                      <a:pt x="252" y="276"/>
                    </a:lnTo>
                    <a:lnTo>
                      <a:pt x="246" y="270"/>
                    </a:lnTo>
                    <a:lnTo>
                      <a:pt x="246" y="258"/>
                    </a:lnTo>
                    <a:lnTo>
                      <a:pt x="252" y="252"/>
                    </a:lnTo>
                    <a:lnTo>
                      <a:pt x="252" y="126"/>
                    </a:lnTo>
                    <a:lnTo>
                      <a:pt x="246" y="114"/>
                    </a:lnTo>
                    <a:lnTo>
                      <a:pt x="222" y="90"/>
                    </a:lnTo>
                    <a:lnTo>
                      <a:pt x="204" y="84"/>
                    </a:lnTo>
                    <a:lnTo>
                      <a:pt x="192" y="72"/>
                    </a:lnTo>
                    <a:lnTo>
                      <a:pt x="180" y="66"/>
                    </a:lnTo>
                    <a:lnTo>
                      <a:pt x="156" y="42"/>
                    </a:lnTo>
                    <a:lnTo>
                      <a:pt x="150" y="54"/>
                    </a:lnTo>
                    <a:lnTo>
                      <a:pt x="144" y="60"/>
                    </a:lnTo>
                    <a:lnTo>
                      <a:pt x="138" y="72"/>
                    </a:lnTo>
                    <a:lnTo>
                      <a:pt x="138" y="78"/>
                    </a:lnTo>
                    <a:lnTo>
                      <a:pt x="132" y="84"/>
                    </a:lnTo>
                    <a:lnTo>
                      <a:pt x="114" y="66"/>
                    </a:lnTo>
                    <a:lnTo>
                      <a:pt x="108" y="66"/>
                    </a:lnTo>
                    <a:lnTo>
                      <a:pt x="102" y="72"/>
                    </a:lnTo>
                    <a:lnTo>
                      <a:pt x="90" y="72"/>
                    </a:lnTo>
                    <a:lnTo>
                      <a:pt x="90" y="78"/>
                    </a:lnTo>
                    <a:lnTo>
                      <a:pt x="72" y="78"/>
                    </a:lnTo>
                    <a:lnTo>
                      <a:pt x="66" y="72"/>
                    </a:lnTo>
                    <a:lnTo>
                      <a:pt x="66" y="66"/>
                    </a:lnTo>
                    <a:lnTo>
                      <a:pt x="78" y="54"/>
                    </a:lnTo>
                    <a:lnTo>
                      <a:pt x="78" y="42"/>
                    </a:lnTo>
                    <a:lnTo>
                      <a:pt x="66" y="42"/>
                    </a:lnTo>
                    <a:lnTo>
                      <a:pt x="66" y="30"/>
                    </a:lnTo>
                    <a:lnTo>
                      <a:pt x="60" y="24"/>
                    </a:lnTo>
                    <a:lnTo>
                      <a:pt x="48" y="18"/>
                    </a:lnTo>
                    <a:lnTo>
                      <a:pt x="30" y="18"/>
                    </a:lnTo>
                    <a:lnTo>
                      <a:pt x="30" y="12"/>
                    </a:lnTo>
                    <a:lnTo>
                      <a:pt x="24" y="0"/>
                    </a:lnTo>
                    <a:lnTo>
                      <a:pt x="12" y="0"/>
                    </a:lnTo>
                    <a:lnTo>
                      <a:pt x="6" y="6"/>
                    </a:lnTo>
                    <a:lnTo>
                      <a:pt x="6" y="18"/>
                    </a:lnTo>
                    <a:lnTo>
                      <a:pt x="12" y="24"/>
                    </a:lnTo>
                    <a:lnTo>
                      <a:pt x="6" y="36"/>
                    </a:lnTo>
                    <a:lnTo>
                      <a:pt x="0" y="42"/>
                    </a:lnTo>
                    <a:close/>
                  </a:path>
                </a:pathLst>
              </a:custGeom>
              <a:solidFill>
                <a:srgbClr val="9D90A0">
                  <a:lumMod val="40000"/>
                  <a:lumOff val="60000"/>
                </a:srgbClr>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23" name="AutoShape 21" descr="© INSCALE GmbH, 05.05.2010&#10;http://www.presentationload.com/">
                <a:extLst>
                  <a:ext uri="{FF2B5EF4-FFF2-40B4-BE49-F238E27FC236}">
                    <a16:creationId xmlns:a16="http://schemas.microsoft.com/office/drawing/2014/main" id="{D0D61C92-38C2-4739-BD0D-9390DEE6AAFF}"/>
                  </a:ext>
                </a:extLst>
              </p:cNvPr>
              <p:cNvSpPr>
                <a:spLocks/>
              </p:cNvSpPr>
              <p:nvPr/>
            </p:nvSpPr>
            <p:spPr bwMode="gray">
              <a:xfrm>
                <a:off x="7308007" y="4292397"/>
                <a:ext cx="272984" cy="232182"/>
              </a:xfrm>
              <a:custGeom>
                <a:avLst/>
                <a:gdLst>
                  <a:gd name="T0" fmla="*/ 2147483647 w 690"/>
                  <a:gd name="T1" fmla="*/ 2147483647 h 528"/>
                  <a:gd name="T2" fmla="*/ 2147483647 w 690"/>
                  <a:gd name="T3" fmla="*/ 2147483647 h 528"/>
                  <a:gd name="T4" fmla="*/ 2147483647 w 690"/>
                  <a:gd name="T5" fmla="*/ 2147483647 h 528"/>
                  <a:gd name="T6" fmla="*/ 2147483647 w 690"/>
                  <a:gd name="T7" fmla="*/ 2147483647 h 528"/>
                  <a:gd name="T8" fmla="*/ 2147483647 w 690"/>
                  <a:gd name="T9" fmla="*/ 2147483647 h 528"/>
                  <a:gd name="T10" fmla="*/ 2147483647 w 690"/>
                  <a:gd name="T11" fmla="*/ 2147483647 h 528"/>
                  <a:gd name="T12" fmla="*/ 2147483647 w 690"/>
                  <a:gd name="T13" fmla="*/ 2147483647 h 528"/>
                  <a:gd name="T14" fmla="*/ 2147483647 w 690"/>
                  <a:gd name="T15" fmla="*/ 2147483647 h 528"/>
                  <a:gd name="T16" fmla="*/ 2147483647 w 690"/>
                  <a:gd name="T17" fmla="*/ 2147483647 h 528"/>
                  <a:gd name="T18" fmla="*/ 2147483647 w 690"/>
                  <a:gd name="T19" fmla="*/ 2147483647 h 528"/>
                  <a:gd name="T20" fmla="*/ 2147483647 w 690"/>
                  <a:gd name="T21" fmla="*/ 2147483647 h 528"/>
                  <a:gd name="T22" fmla="*/ 2147483647 w 690"/>
                  <a:gd name="T23" fmla="*/ 2147483647 h 528"/>
                  <a:gd name="T24" fmla="*/ 2147483647 w 690"/>
                  <a:gd name="T25" fmla="*/ 2147483647 h 528"/>
                  <a:gd name="T26" fmla="*/ 2147483647 w 690"/>
                  <a:gd name="T27" fmla="*/ 2147483647 h 528"/>
                  <a:gd name="T28" fmla="*/ 2147483647 w 690"/>
                  <a:gd name="T29" fmla="*/ 2147483647 h 528"/>
                  <a:gd name="T30" fmla="*/ 2147483647 w 690"/>
                  <a:gd name="T31" fmla="*/ 2147483647 h 528"/>
                  <a:gd name="T32" fmla="*/ 2147483647 w 690"/>
                  <a:gd name="T33" fmla="*/ 2147483647 h 528"/>
                  <a:gd name="T34" fmla="*/ 2147483647 w 690"/>
                  <a:gd name="T35" fmla="*/ 2147483647 h 528"/>
                  <a:gd name="T36" fmla="*/ 2147483647 w 690"/>
                  <a:gd name="T37" fmla="*/ 2147483647 h 528"/>
                  <a:gd name="T38" fmla="*/ 2147483647 w 690"/>
                  <a:gd name="T39" fmla="*/ 2147483647 h 528"/>
                  <a:gd name="T40" fmla="*/ 2147483647 w 690"/>
                  <a:gd name="T41" fmla="*/ 2147483647 h 528"/>
                  <a:gd name="T42" fmla="*/ 2147483647 w 690"/>
                  <a:gd name="T43" fmla="*/ 2147483647 h 528"/>
                  <a:gd name="T44" fmla="*/ 2147483647 w 690"/>
                  <a:gd name="T45" fmla="*/ 2147483647 h 528"/>
                  <a:gd name="T46" fmla="*/ 2147483647 w 690"/>
                  <a:gd name="T47" fmla="*/ 2147483647 h 528"/>
                  <a:gd name="T48" fmla="*/ 2147483647 w 690"/>
                  <a:gd name="T49" fmla="*/ 2147483647 h 528"/>
                  <a:gd name="T50" fmla="*/ 2147483647 w 690"/>
                  <a:gd name="T51" fmla="*/ 2147483647 h 528"/>
                  <a:gd name="T52" fmla="*/ 2147483647 w 690"/>
                  <a:gd name="T53" fmla="*/ 2147483647 h 528"/>
                  <a:gd name="T54" fmla="*/ 2147483647 w 690"/>
                  <a:gd name="T55" fmla="*/ 2147483647 h 528"/>
                  <a:gd name="T56" fmla="*/ 2147483647 w 690"/>
                  <a:gd name="T57" fmla="*/ 2147483647 h 528"/>
                  <a:gd name="T58" fmla="*/ 2147483647 w 690"/>
                  <a:gd name="T59" fmla="*/ 2147483647 h 528"/>
                  <a:gd name="T60" fmla="*/ 2147483647 w 690"/>
                  <a:gd name="T61" fmla="*/ 2147483647 h 528"/>
                  <a:gd name="T62" fmla="*/ 2147483647 w 690"/>
                  <a:gd name="T63" fmla="*/ 2147483647 h 528"/>
                  <a:gd name="T64" fmla="*/ 2147483647 w 690"/>
                  <a:gd name="T65" fmla="*/ 2147483647 h 528"/>
                  <a:gd name="T66" fmla="*/ 2147483647 w 690"/>
                  <a:gd name="T67" fmla="*/ 2147483647 h 528"/>
                  <a:gd name="T68" fmla="*/ 2147483647 w 690"/>
                  <a:gd name="T69" fmla="*/ 2147483647 h 528"/>
                  <a:gd name="T70" fmla="*/ 2147483647 w 690"/>
                  <a:gd name="T71" fmla="*/ 0 h 528"/>
                  <a:gd name="T72" fmla="*/ 2147483647 w 690"/>
                  <a:gd name="T73" fmla="*/ 0 h 528"/>
                  <a:gd name="T74" fmla="*/ 2147483647 w 690"/>
                  <a:gd name="T75" fmla="*/ 2147483647 h 528"/>
                  <a:gd name="T76" fmla="*/ 2147483647 w 690"/>
                  <a:gd name="T77" fmla="*/ 2147483647 h 528"/>
                  <a:gd name="T78" fmla="*/ 2147483647 w 690"/>
                  <a:gd name="T79" fmla="*/ 2147483647 h 528"/>
                  <a:gd name="T80" fmla="*/ 2147483647 w 690"/>
                  <a:gd name="T81" fmla="*/ 2147483647 h 528"/>
                  <a:gd name="T82" fmla="*/ 2147483647 w 690"/>
                  <a:gd name="T83" fmla="*/ 2147483647 h 528"/>
                  <a:gd name="T84" fmla="*/ 2147483647 w 690"/>
                  <a:gd name="T85" fmla="*/ 2147483647 h 528"/>
                  <a:gd name="T86" fmla="*/ 2147483647 w 690"/>
                  <a:gd name="T87" fmla="*/ 2147483647 h 528"/>
                  <a:gd name="T88" fmla="*/ 2147483647 w 690"/>
                  <a:gd name="T89" fmla="*/ 2147483647 h 528"/>
                  <a:gd name="T90" fmla="*/ 2147483647 w 690"/>
                  <a:gd name="T91" fmla="*/ 2147483647 h 528"/>
                  <a:gd name="T92" fmla="*/ 2147483647 w 690"/>
                  <a:gd name="T93" fmla="*/ 2147483647 h 528"/>
                  <a:gd name="T94" fmla="*/ 2147483647 w 690"/>
                  <a:gd name="T95" fmla="*/ 2147483647 h 528"/>
                  <a:gd name="T96" fmla="*/ 2147483647 w 690"/>
                  <a:gd name="T97" fmla="*/ 2147483647 h 528"/>
                  <a:gd name="T98" fmla="*/ 2147483647 w 690"/>
                  <a:gd name="T99" fmla="*/ 2147483647 h 528"/>
                  <a:gd name="T100" fmla="*/ 2147483647 w 690"/>
                  <a:gd name="T101" fmla="*/ 2147483647 h 528"/>
                  <a:gd name="T102" fmla="*/ 2147483647 w 690"/>
                  <a:gd name="T103" fmla="*/ 2147483647 h 528"/>
                  <a:gd name="T104" fmla="*/ 2147483647 w 690"/>
                  <a:gd name="T105" fmla="*/ 2147483647 h 528"/>
                  <a:gd name="T106" fmla="*/ 2147483647 w 690"/>
                  <a:gd name="T107" fmla="*/ 2147483647 h 528"/>
                  <a:gd name="T108" fmla="*/ 2147483647 w 690"/>
                  <a:gd name="T109" fmla="*/ 2147483647 h 528"/>
                  <a:gd name="T110" fmla="*/ 2147483647 w 690"/>
                  <a:gd name="T111" fmla="*/ 2147483647 h 528"/>
                  <a:gd name="T112" fmla="*/ 2147483647 w 690"/>
                  <a:gd name="T113" fmla="*/ 2147483647 h 528"/>
                  <a:gd name="T114" fmla="*/ 0 w 690"/>
                  <a:gd name="T115" fmla="*/ 2147483647 h 52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90"/>
                  <a:gd name="T175" fmla="*/ 0 h 528"/>
                  <a:gd name="T176" fmla="*/ 690 w 690"/>
                  <a:gd name="T177" fmla="*/ 528 h 528"/>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90" h="528">
                    <a:moveTo>
                      <a:pt x="12" y="504"/>
                    </a:moveTo>
                    <a:lnTo>
                      <a:pt x="24" y="510"/>
                    </a:lnTo>
                    <a:lnTo>
                      <a:pt x="30" y="516"/>
                    </a:lnTo>
                    <a:lnTo>
                      <a:pt x="54" y="528"/>
                    </a:lnTo>
                    <a:lnTo>
                      <a:pt x="60" y="528"/>
                    </a:lnTo>
                    <a:lnTo>
                      <a:pt x="78" y="510"/>
                    </a:lnTo>
                    <a:lnTo>
                      <a:pt x="102" y="510"/>
                    </a:lnTo>
                    <a:lnTo>
                      <a:pt x="120" y="516"/>
                    </a:lnTo>
                    <a:lnTo>
                      <a:pt x="144" y="516"/>
                    </a:lnTo>
                    <a:lnTo>
                      <a:pt x="174" y="486"/>
                    </a:lnTo>
                    <a:lnTo>
                      <a:pt x="180" y="474"/>
                    </a:lnTo>
                    <a:lnTo>
                      <a:pt x="222" y="474"/>
                    </a:lnTo>
                    <a:lnTo>
                      <a:pt x="234" y="486"/>
                    </a:lnTo>
                    <a:lnTo>
                      <a:pt x="258" y="498"/>
                    </a:lnTo>
                    <a:lnTo>
                      <a:pt x="264" y="504"/>
                    </a:lnTo>
                    <a:lnTo>
                      <a:pt x="270" y="504"/>
                    </a:lnTo>
                    <a:lnTo>
                      <a:pt x="282" y="492"/>
                    </a:lnTo>
                    <a:lnTo>
                      <a:pt x="294" y="486"/>
                    </a:lnTo>
                    <a:lnTo>
                      <a:pt x="300" y="480"/>
                    </a:lnTo>
                    <a:lnTo>
                      <a:pt x="324" y="480"/>
                    </a:lnTo>
                    <a:lnTo>
                      <a:pt x="354" y="444"/>
                    </a:lnTo>
                    <a:lnTo>
                      <a:pt x="348" y="432"/>
                    </a:lnTo>
                    <a:lnTo>
                      <a:pt x="384" y="402"/>
                    </a:lnTo>
                    <a:lnTo>
                      <a:pt x="378" y="390"/>
                    </a:lnTo>
                    <a:lnTo>
                      <a:pt x="372" y="384"/>
                    </a:lnTo>
                    <a:lnTo>
                      <a:pt x="372" y="360"/>
                    </a:lnTo>
                    <a:lnTo>
                      <a:pt x="378" y="354"/>
                    </a:lnTo>
                    <a:lnTo>
                      <a:pt x="396" y="354"/>
                    </a:lnTo>
                    <a:lnTo>
                      <a:pt x="402" y="342"/>
                    </a:lnTo>
                    <a:lnTo>
                      <a:pt x="402" y="336"/>
                    </a:lnTo>
                    <a:lnTo>
                      <a:pt x="408" y="318"/>
                    </a:lnTo>
                    <a:lnTo>
                      <a:pt x="408" y="264"/>
                    </a:lnTo>
                    <a:lnTo>
                      <a:pt x="414" y="252"/>
                    </a:lnTo>
                    <a:lnTo>
                      <a:pt x="420" y="246"/>
                    </a:lnTo>
                    <a:lnTo>
                      <a:pt x="516" y="246"/>
                    </a:lnTo>
                    <a:lnTo>
                      <a:pt x="540" y="270"/>
                    </a:lnTo>
                    <a:lnTo>
                      <a:pt x="552" y="276"/>
                    </a:lnTo>
                    <a:lnTo>
                      <a:pt x="558" y="282"/>
                    </a:lnTo>
                    <a:lnTo>
                      <a:pt x="576" y="276"/>
                    </a:lnTo>
                    <a:lnTo>
                      <a:pt x="564" y="216"/>
                    </a:lnTo>
                    <a:lnTo>
                      <a:pt x="576" y="222"/>
                    </a:lnTo>
                    <a:lnTo>
                      <a:pt x="582" y="234"/>
                    </a:lnTo>
                    <a:lnTo>
                      <a:pt x="594" y="240"/>
                    </a:lnTo>
                    <a:lnTo>
                      <a:pt x="636" y="240"/>
                    </a:lnTo>
                    <a:lnTo>
                      <a:pt x="630" y="234"/>
                    </a:lnTo>
                    <a:lnTo>
                      <a:pt x="624" y="222"/>
                    </a:lnTo>
                    <a:lnTo>
                      <a:pt x="618" y="216"/>
                    </a:lnTo>
                    <a:lnTo>
                      <a:pt x="606" y="192"/>
                    </a:lnTo>
                    <a:lnTo>
                      <a:pt x="606" y="186"/>
                    </a:lnTo>
                    <a:lnTo>
                      <a:pt x="612" y="180"/>
                    </a:lnTo>
                    <a:lnTo>
                      <a:pt x="624" y="180"/>
                    </a:lnTo>
                    <a:lnTo>
                      <a:pt x="642" y="186"/>
                    </a:lnTo>
                    <a:lnTo>
                      <a:pt x="654" y="186"/>
                    </a:lnTo>
                    <a:lnTo>
                      <a:pt x="660" y="192"/>
                    </a:lnTo>
                    <a:lnTo>
                      <a:pt x="666" y="192"/>
                    </a:lnTo>
                    <a:lnTo>
                      <a:pt x="690" y="162"/>
                    </a:lnTo>
                    <a:lnTo>
                      <a:pt x="666" y="156"/>
                    </a:lnTo>
                    <a:lnTo>
                      <a:pt x="660" y="144"/>
                    </a:lnTo>
                    <a:lnTo>
                      <a:pt x="642" y="126"/>
                    </a:lnTo>
                    <a:lnTo>
                      <a:pt x="630" y="120"/>
                    </a:lnTo>
                    <a:lnTo>
                      <a:pt x="612" y="120"/>
                    </a:lnTo>
                    <a:lnTo>
                      <a:pt x="600" y="114"/>
                    </a:lnTo>
                    <a:lnTo>
                      <a:pt x="588" y="114"/>
                    </a:lnTo>
                    <a:lnTo>
                      <a:pt x="588" y="108"/>
                    </a:lnTo>
                    <a:lnTo>
                      <a:pt x="582" y="102"/>
                    </a:lnTo>
                    <a:lnTo>
                      <a:pt x="582" y="90"/>
                    </a:lnTo>
                    <a:lnTo>
                      <a:pt x="576" y="78"/>
                    </a:lnTo>
                    <a:lnTo>
                      <a:pt x="564" y="66"/>
                    </a:lnTo>
                    <a:lnTo>
                      <a:pt x="540" y="54"/>
                    </a:lnTo>
                    <a:lnTo>
                      <a:pt x="534" y="60"/>
                    </a:lnTo>
                    <a:lnTo>
                      <a:pt x="528" y="60"/>
                    </a:lnTo>
                    <a:lnTo>
                      <a:pt x="510" y="0"/>
                    </a:lnTo>
                    <a:lnTo>
                      <a:pt x="504" y="18"/>
                    </a:lnTo>
                    <a:lnTo>
                      <a:pt x="492" y="0"/>
                    </a:lnTo>
                    <a:lnTo>
                      <a:pt x="480" y="60"/>
                    </a:lnTo>
                    <a:lnTo>
                      <a:pt x="468" y="66"/>
                    </a:lnTo>
                    <a:lnTo>
                      <a:pt x="462" y="66"/>
                    </a:lnTo>
                    <a:lnTo>
                      <a:pt x="450" y="72"/>
                    </a:lnTo>
                    <a:lnTo>
                      <a:pt x="438" y="96"/>
                    </a:lnTo>
                    <a:lnTo>
                      <a:pt x="438" y="114"/>
                    </a:lnTo>
                    <a:lnTo>
                      <a:pt x="408" y="126"/>
                    </a:lnTo>
                    <a:lnTo>
                      <a:pt x="420" y="162"/>
                    </a:lnTo>
                    <a:lnTo>
                      <a:pt x="408" y="162"/>
                    </a:lnTo>
                    <a:lnTo>
                      <a:pt x="390" y="156"/>
                    </a:lnTo>
                    <a:lnTo>
                      <a:pt x="378" y="156"/>
                    </a:lnTo>
                    <a:lnTo>
                      <a:pt x="360" y="150"/>
                    </a:lnTo>
                    <a:lnTo>
                      <a:pt x="354" y="150"/>
                    </a:lnTo>
                    <a:lnTo>
                      <a:pt x="342" y="156"/>
                    </a:lnTo>
                    <a:lnTo>
                      <a:pt x="342" y="168"/>
                    </a:lnTo>
                    <a:lnTo>
                      <a:pt x="336" y="180"/>
                    </a:lnTo>
                    <a:lnTo>
                      <a:pt x="336" y="204"/>
                    </a:lnTo>
                    <a:lnTo>
                      <a:pt x="294" y="246"/>
                    </a:lnTo>
                    <a:lnTo>
                      <a:pt x="294" y="258"/>
                    </a:lnTo>
                    <a:lnTo>
                      <a:pt x="282" y="294"/>
                    </a:lnTo>
                    <a:lnTo>
                      <a:pt x="276" y="306"/>
                    </a:lnTo>
                    <a:lnTo>
                      <a:pt x="264" y="318"/>
                    </a:lnTo>
                    <a:lnTo>
                      <a:pt x="228" y="336"/>
                    </a:lnTo>
                    <a:lnTo>
                      <a:pt x="186" y="342"/>
                    </a:lnTo>
                    <a:lnTo>
                      <a:pt x="162" y="348"/>
                    </a:lnTo>
                    <a:lnTo>
                      <a:pt x="156" y="354"/>
                    </a:lnTo>
                    <a:lnTo>
                      <a:pt x="132" y="366"/>
                    </a:lnTo>
                    <a:lnTo>
                      <a:pt x="114" y="384"/>
                    </a:lnTo>
                    <a:lnTo>
                      <a:pt x="102" y="390"/>
                    </a:lnTo>
                    <a:lnTo>
                      <a:pt x="84" y="426"/>
                    </a:lnTo>
                    <a:lnTo>
                      <a:pt x="102" y="444"/>
                    </a:lnTo>
                    <a:lnTo>
                      <a:pt x="102" y="462"/>
                    </a:lnTo>
                    <a:lnTo>
                      <a:pt x="96" y="474"/>
                    </a:lnTo>
                    <a:lnTo>
                      <a:pt x="84" y="480"/>
                    </a:lnTo>
                    <a:lnTo>
                      <a:pt x="72" y="480"/>
                    </a:lnTo>
                    <a:lnTo>
                      <a:pt x="48" y="468"/>
                    </a:lnTo>
                    <a:lnTo>
                      <a:pt x="42" y="462"/>
                    </a:lnTo>
                    <a:lnTo>
                      <a:pt x="30" y="456"/>
                    </a:lnTo>
                    <a:lnTo>
                      <a:pt x="24" y="456"/>
                    </a:lnTo>
                    <a:lnTo>
                      <a:pt x="12" y="462"/>
                    </a:lnTo>
                    <a:lnTo>
                      <a:pt x="0" y="474"/>
                    </a:lnTo>
                    <a:lnTo>
                      <a:pt x="0" y="492"/>
                    </a:lnTo>
                    <a:lnTo>
                      <a:pt x="12" y="504"/>
                    </a:lnTo>
                    <a:close/>
                  </a:path>
                </a:pathLst>
              </a:custGeom>
              <a:solidFill>
                <a:srgbClr val="9D90A0">
                  <a:lumMod val="40000"/>
                  <a:lumOff val="60000"/>
                </a:srgbClr>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24" name="Laos" descr="© INSCALE GmbH, 05.05.2010&#10;http://www.presentationload.com/">
                <a:extLst>
                  <a:ext uri="{FF2B5EF4-FFF2-40B4-BE49-F238E27FC236}">
                    <a16:creationId xmlns:a16="http://schemas.microsoft.com/office/drawing/2014/main" id="{0628A155-F581-49F8-BFBB-F16BA8CF4924}"/>
                  </a:ext>
                </a:extLst>
              </p:cNvPr>
              <p:cNvSpPr>
                <a:spLocks/>
              </p:cNvSpPr>
              <p:nvPr/>
            </p:nvSpPr>
            <p:spPr bwMode="gray">
              <a:xfrm>
                <a:off x="6985105" y="3755260"/>
                <a:ext cx="238666" cy="306688"/>
              </a:xfrm>
              <a:custGeom>
                <a:avLst/>
                <a:gdLst>
                  <a:gd name="T0" fmla="*/ 2147483647 w 600"/>
                  <a:gd name="T1" fmla="*/ 2147483647 h 696"/>
                  <a:gd name="T2" fmla="*/ 2147483647 w 600"/>
                  <a:gd name="T3" fmla="*/ 2147483647 h 696"/>
                  <a:gd name="T4" fmla="*/ 2147483647 w 600"/>
                  <a:gd name="T5" fmla="*/ 2147483647 h 696"/>
                  <a:gd name="T6" fmla="*/ 2147483647 w 600"/>
                  <a:gd name="T7" fmla="*/ 2147483647 h 696"/>
                  <a:gd name="T8" fmla="*/ 2147483647 w 600"/>
                  <a:gd name="T9" fmla="*/ 2147483647 h 696"/>
                  <a:gd name="T10" fmla="*/ 2147483647 w 600"/>
                  <a:gd name="T11" fmla="*/ 2147483647 h 696"/>
                  <a:gd name="T12" fmla="*/ 2147483647 w 600"/>
                  <a:gd name="T13" fmla="*/ 2147483647 h 696"/>
                  <a:gd name="T14" fmla="*/ 2147483647 w 600"/>
                  <a:gd name="T15" fmla="*/ 2147483647 h 696"/>
                  <a:gd name="T16" fmla="*/ 2147483647 w 600"/>
                  <a:gd name="T17" fmla="*/ 2147483647 h 696"/>
                  <a:gd name="T18" fmla="*/ 2147483647 w 600"/>
                  <a:gd name="T19" fmla="*/ 2147483647 h 696"/>
                  <a:gd name="T20" fmla="*/ 2147483647 w 600"/>
                  <a:gd name="T21" fmla="*/ 2147483647 h 696"/>
                  <a:gd name="T22" fmla="*/ 2147483647 w 600"/>
                  <a:gd name="T23" fmla="*/ 2147483647 h 696"/>
                  <a:gd name="T24" fmla="*/ 2147483647 w 600"/>
                  <a:gd name="T25" fmla="*/ 2147483647 h 696"/>
                  <a:gd name="T26" fmla="*/ 2147483647 w 600"/>
                  <a:gd name="T27" fmla="*/ 2147483647 h 696"/>
                  <a:gd name="T28" fmla="*/ 2147483647 w 600"/>
                  <a:gd name="T29" fmla="*/ 2147483647 h 696"/>
                  <a:gd name="T30" fmla="*/ 2147483647 w 600"/>
                  <a:gd name="T31" fmla="*/ 2147483647 h 696"/>
                  <a:gd name="T32" fmla="*/ 2147483647 w 600"/>
                  <a:gd name="T33" fmla="*/ 2147483647 h 696"/>
                  <a:gd name="T34" fmla="*/ 2147483647 w 600"/>
                  <a:gd name="T35" fmla="*/ 2147483647 h 696"/>
                  <a:gd name="T36" fmla="*/ 2147483647 w 600"/>
                  <a:gd name="T37" fmla="*/ 2147483647 h 696"/>
                  <a:gd name="T38" fmla="*/ 2147483647 w 600"/>
                  <a:gd name="T39" fmla="*/ 2147483647 h 696"/>
                  <a:gd name="T40" fmla="*/ 2147483647 w 600"/>
                  <a:gd name="T41" fmla="*/ 2147483647 h 696"/>
                  <a:gd name="T42" fmla="*/ 2147483647 w 600"/>
                  <a:gd name="T43" fmla="*/ 2147483647 h 696"/>
                  <a:gd name="T44" fmla="*/ 2147483647 w 600"/>
                  <a:gd name="T45" fmla="*/ 2147483647 h 696"/>
                  <a:gd name="T46" fmla="*/ 2147483647 w 600"/>
                  <a:gd name="T47" fmla="*/ 2147483647 h 696"/>
                  <a:gd name="T48" fmla="*/ 2147483647 w 600"/>
                  <a:gd name="T49" fmla="*/ 2147483647 h 696"/>
                  <a:gd name="T50" fmla="*/ 2147483647 w 600"/>
                  <a:gd name="T51" fmla="*/ 2147483647 h 696"/>
                  <a:gd name="T52" fmla="*/ 2147483647 w 600"/>
                  <a:gd name="T53" fmla="*/ 2147483647 h 696"/>
                  <a:gd name="T54" fmla="*/ 2147483647 w 600"/>
                  <a:gd name="T55" fmla="*/ 2147483647 h 696"/>
                  <a:gd name="T56" fmla="*/ 2147483647 w 600"/>
                  <a:gd name="T57" fmla="*/ 2147483647 h 696"/>
                  <a:gd name="T58" fmla="*/ 2147483647 w 600"/>
                  <a:gd name="T59" fmla="*/ 2147483647 h 696"/>
                  <a:gd name="T60" fmla="*/ 2147483647 w 600"/>
                  <a:gd name="T61" fmla="*/ 2147483647 h 696"/>
                  <a:gd name="T62" fmla="*/ 2147483647 w 600"/>
                  <a:gd name="T63" fmla="*/ 2147483647 h 696"/>
                  <a:gd name="T64" fmla="*/ 2147483647 w 600"/>
                  <a:gd name="T65" fmla="*/ 2147483647 h 696"/>
                  <a:gd name="T66" fmla="*/ 2147483647 w 600"/>
                  <a:gd name="T67" fmla="*/ 2147483647 h 696"/>
                  <a:gd name="T68" fmla="*/ 2147483647 w 600"/>
                  <a:gd name="T69" fmla="*/ 2147483647 h 696"/>
                  <a:gd name="T70" fmla="*/ 2147483647 w 600"/>
                  <a:gd name="T71" fmla="*/ 2147483647 h 696"/>
                  <a:gd name="T72" fmla="*/ 2147483647 w 600"/>
                  <a:gd name="T73" fmla="*/ 2147483647 h 696"/>
                  <a:gd name="T74" fmla="*/ 2147483647 w 600"/>
                  <a:gd name="T75" fmla="*/ 2147483647 h 696"/>
                  <a:gd name="T76" fmla="*/ 2147483647 w 600"/>
                  <a:gd name="T77" fmla="*/ 2147483647 h 696"/>
                  <a:gd name="T78" fmla="*/ 2147483647 w 600"/>
                  <a:gd name="T79" fmla="*/ 2147483647 h 696"/>
                  <a:gd name="T80" fmla="*/ 2147483647 w 600"/>
                  <a:gd name="T81" fmla="*/ 2147483647 h 696"/>
                  <a:gd name="T82" fmla="*/ 2147483647 w 600"/>
                  <a:gd name="T83" fmla="*/ 2147483647 h 696"/>
                  <a:gd name="T84" fmla="*/ 2147483647 w 600"/>
                  <a:gd name="T85" fmla="*/ 2147483647 h 696"/>
                  <a:gd name="T86" fmla="*/ 2147483647 w 600"/>
                  <a:gd name="T87" fmla="*/ 2147483647 h 696"/>
                  <a:gd name="T88" fmla="*/ 2147483647 w 600"/>
                  <a:gd name="T89" fmla="*/ 2147483647 h 696"/>
                  <a:gd name="T90" fmla="*/ 2147483647 w 600"/>
                  <a:gd name="T91" fmla="*/ 2147483647 h 696"/>
                  <a:gd name="T92" fmla="*/ 2147483647 w 600"/>
                  <a:gd name="T93" fmla="*/ 2147483647 h 696"/>
                  <a:gd name="T94" fmla="*/ 2147483647 w 600"/>
                  <a:gd name="T95" fmla="*/ 2147483647 h 696"/>
                  <a:gd name="T96" fmla="*/ 2147483647 w 600"/>
                  <a:gd name="T97" fmla="*/ 2147483647 h 696"/>
                  <a:gd name="T98" fmla="*/ 2147483647 w 600"/>
                  <a:gd name="T99" fmla="*/ 2147483647 h 696"/>
                  <a:gd name="T100" fmla="*/ 2147483647 w 600"/>
                  <a:gd name="T101" fmla="*/ 2147483647 h 696"/>
                  <a:gd name="T102" fmla="*/ 2147483647 w 600"/>
                  <a:gd name="T103" fmla="*/ 2147483647 h 696"/>
                  <a:gd name="T104" fmla="*/ 2147483647 w 600"/>
                  <a:gd name="T105" fmla="*/ 2147483647 h 696"/>
                  <a:gd name="T106" fmla="*/ 2147483647 w 600"/>
                  <a:gd name="T107" fmla="*/ 2147483647 h 696"/>
                  <a:gd name="T108" fmla="*/ 2147483647 w 600"/>
                  <a:gd name="T109" fmla="*/ 2147483647 h 696"/>
                  <a:gd name="T110" fmla="*/ 2147483647 w 600"/>
                  <a:gd name="T111" fmla="*/ 2147483647 h 696"/>
                  <a:gd name="T112" fmla="*/ 2147483647 w 600"/>
                  <a:gd name="T113" fmla="*/ 2147483647 h 696"/>
                  <a:gd name="T114" fmla="*/ 2147483647 w 600"/>
                  <a:gd name="T115" fmla="*/ 2147483647 h 696"/>
                  <a:gd name="T116" fmla="*/ 2147483647 w 600"/>
                  <a:gd name="T117" fmla="*/ 2147483647 h 696"/>
                  <a:gd name="T118" fmla="*/ 0 w 600"/>
                  <a:gd name="T119" fmla="*/ 2147483647 h 696"/>
                  <a:gd name="T120" fmla="*/ 2147483647 w 600"/>
                  <a:gd name="T121" fmla="*/ 2147483647 h 69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600"/>
                  <a:gd name="T184" fmla="*/ 0 h 696"/>
                  <a:gd name="T185" fmla="*/ 600 w 600"/>
                  <a:gd name="T186" fmla="*/ 696 h 69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600" h="696">
                    <a:moveTo>
                      <a:pt x="24" y="180"/>
                    </a:moveTo>
                    <a:lnTo>
                      <a:pt x="36" y="180"/>
                    </a:lnTo>
                    <a:lnTo>
                      <a:pt x="42" y="186"/>
                    </a:lnTo>
                    <a:lnTo>
                      <a:pt x="42" y="198"/>
                    </a:lnTo>
                    <a:lnTo>
                      <a:pt x="36" y="204"/>
                    </a:lnTo>
                    <a:lnTo>
                      <a:pt x="36" y="228"/>
                    </a:lnTo>
                    <a:lnTo>
                      <a:pt x="42" y="240"/>
                    </a:lnTo>
                    <a:lnTo>
                      <a:pt x="48" y="246"/>
                    </a:lnTo>
                    <a:lnTo>
                      <a:pt x="66" y="246"/>
                    </a:lnTo>
                    <a:lnTo>
                      <a:pt x="66" y="234"/>
                    </a:lnTo>
                    <a:lnTo>
                      <a:pt x="78" y="234"/>
                    </a:lnTo>
                    <a:lnTo>
                      <a:pt x="84" y="228"/>
                    </a:lnTo>
                    <a:lnTo>
                      <a:pt x="90" y="228"/>
                    </a:lnTo>
                    <a:lnTo>
                      <a:pt x="102" y="234"/>
                    </a:lnTo>
                    <a:lnTo>
                      <a:pt x="102" y="264"/>
                    </a:lnTo>
                    <a:lnTo>
                      <a:pt x="96" y="270"/>
                    </a:lnTo>
                    <a:lnTo>
                      <a:pt x="102" y="276"/>
                    </a:lnTo>
                    <a:lnTo>
                      <a:pt x="108" y="288"/>
                    </a:lnTo>
                    <a:lnTo>
                      <a:pt x="108" y="300"/>
                    </a:lnTo>
                    <a:lnTo>
                      <a:pt x="102" y="312"/>
                    </a:lnTo>
                    <a:lnTo>
                      <a:pt x="90" y="324"/>
                    </a:lnTo>
                    <a:lnTo>
                      <a:pt x="102" y="324"/>
                    </a:lnTo>
                    <a:lnTo>
                      <a:pt x="108" y="330"/>
                    </a:lnTo>
                    <a:lnTo>
                      <a:pt x="108" y="342"/>
                    </a:lnTo>
                    <a:lnTo>
                      <a:pt x="84" y="390"/>
                    </a:lnTo>
                    <a:lnTo>
                      <a:pt x="84" y="402"/>
                    </a:lnTo>
                    <a:lnTo>
                      <a:pt x="102" y="402"/>
                    </a:lnTo>
                    <a:lnTo>
                      <a:pt x="126" y="390"/>
                    </a:lnTo>
                    <a:lnTo>
                      <a:pt x="132" y="384"/>
                    </a:lnTo>
                    <a:lnTo>
                      <a:pt x="132" y="378"/>
                    </a:lnTo>
                    <a:lnTo>
                      <a:pt x="144" y="366"/>
                    </a:lnTo>
                    <a:lnTo>
                      <a:pt x="150" y="354"/>
                    </a:lnTo>
                    <a:lnTo>
                      <a:pt x="156" y="348"/>
                    </a:lnTo>
                    <a:lnTo>
                      <a:pt x="168" y="348"/>
                    </a:lnTo>
                    <a:lnTo>
                      <a:pt x="174" y="354"/>
                    </a:lnTo>
                    <a:lnTo>
                      <a:pt x="198" y="366"/>
                    </a:lnTo>
                    <a:lnTo>
                      <a:pt x="216" y="366"/>
                    </a:lnTo>
                    <a:lnTo>
                      <a:pt x="234" y="348"/>
                    </a:lnTo>
                    <a:lnTo>
                      <a:pt x="234" y="336"/>
                    </a:lnTo>
                    <a:lnTo>
                      <a:pt x="240" y="330"/>
                    </a:lnTo>
                    <a:lnTo>
                      <a:pt x="258" y="330"/>
                    </a:lnTo>
                    <a:lnTo>
                      <a:pt x="264" y="336"/>
                    </a:lnTo>
                    <a:lnTo>
                      <a:pt x="276" y="342"/>
                    </a:lnTo>
                    <a:lnTo>
                      <a:pt x="300" y="342"/>
                    </a:lnTo>
                    <a:lnTo>
                      <a:pt x="306" y="348"/>
                    </a:lnTo>
                    <a:lnTo>
                      <a:pt x="306" y="360"/>
                    </a:lnTo>
                    <a:lnTo>
                      <a:pt x="318" y="372"/>
                    </a:lnTo>
                    <a:lnTo>
                      <a:pt x="336" y="384"/>
                    </a:lnTo>
                    <a:lnTo>
                      <a:pt x="348" y="390"/>
                    </a:lnTo>
                    <a:lnTo>
                      <a:pt x="366" y="408"/>
                    </a:lnTo>
                    <a:lnTo>
                      <a:pt x="372" y="450"/>
                    </a:lnTo>
                    <a:lnTo>
                      <a:pt x="372" y="462"/>
                    </a:lnTo>
                    <a:lnTo>
                      <a:pt x="384" y="486"/>
                    </a:lnTo>
                    <a:lnTo>
                      <a:pt x="420" y="522"/>
                    </a:lnTo>
                    <a:lnTo>
                      <a:pt x="420" y="528"/>
                    </a:lnTo>
                    <a:lnTo>
                      <a:pt x="426" y="534"/>
                    </a:lnTo>
                    <a:lnTo>
                      <a:pt x="426" y="546"/>
                    </a:lnTo>
                    <a:lnTo>
                      <a:pt x="432" y="540"/>
                    </a:lnTo>
                    <a:lnTo>
                      <a:pt x="432" y="546"/>
                    </a:lnTo>
                    <a:lnTo>
                      <a:pt x="444" y="558"/>
                    </a:lnTo>
                    <a:lnTo>
                      <a:pt x="432" y="582"/>
                    </a:lnTo>
                    <a:lnTo>
                      <a:pt x="426" y="588"/>
                    </a:lnTo>
                    <a:lnTo>
                      <a:pt x="426" y="594"/>
                    </a:lnTo>
                    <a:lnTo>
                      <a:pt x="438" y="606"/>
                    </a:lnTo>
                    <a:lnTo>
                      <a:pt x="450" y="612"/>
                    </a:lnTo>
                    <a:lnTo>
                      <a:pt x="456" y="618"/>
                    </a:lnTo>
                    <a:lnTo>
                      <a:pt x="456" y="630"/>
                    </a:lnTo>
                    <a:lnTo>
                      <a:pt x="450" y="636"/>
                    </a:lnTo>
                    <a:lnTo>
                      <a:pt x="444" y="648"/>
                    </a:lnTo>
                    <a:lnTo>
                      <a:pt x="432" y="654"/>
                    </a:lnTo>
                    <a:lnTo>
                      <a:pt x="426" y="660"/>
                    </a:lnTo>
                    <a:lnTo>
                      <a:pt x="426" y="672"/>
                    </a:lnTo>
                    <a:lnTo>
                      <a:pt x="450" y="672"/>
                    </a:lnTo>
                    <a:lnTo>
                      <a:pt x="456" y="678"/>
                    </a:lnTo>
                    <a:lnTo>
                      <a:pt x="462" y="678"/>
                    </a:lnTo>
                    <a:lnTo>
                      <a:pt x="462" y="684"/>
                    </a:lnTo>
                    <a:lnTo>
                      <a:pt x="474" y="696"/>
                    </a:lnTo>
                    <a:lnTo>
                      <a:pt x="486" y="696"/>
                    </a:lnTo>
                    <a:lnTo>
                      <a:pt x="492" y="690"/>
                    </a:lnTo>
                    <a:lnTo>
                      <a:pt x="492" y="678"/>
                    </a:lnTo>
                    <a:lnTo>
                      <a:pt x="480" y="666"/>
                    </a:lnTo>
                    <a:lnTo>
                      <a:pt x="498" y="654"/>
                    </a:lnTo>
                    <a:lnTo>
                      <a:pt x="510" y="642"/>
                    </a:lnTo>
                    <a:lnTo>
                      <a:pt x="546" y="654"/>
                    </a:lnTo>
                    <a:lnTo>
                      <a:pt x="558" y="642"/>
                    </a:lnTo>
                    <a:lnTo>
                      <a:pt x="582" y="648"/>
                    </a:lnTo>
                    <a:lnTo>
                      <a:pt x="588" y="648"/>
                    </a:lnTo>
                    <a:lnTo>
                      <a:pt x="600" y="636"/>
                    </a:lnTo>
                    <a:lnTo>
                      <a:pt x="600" y="630"/>
                    </a:lnTo>
                    <a:lnTo>
                      <a:pt x="588" y="618"/>
                    </a:lnTo>
                    <a:lnTo>
                      <a:pt x="582" y="618"/>
                    </a:lnTo>
                    <a:lnTo>
                      <a:pt x="600" y="582"/>
                    </a:lnTo>
                    <a:lnTo>
                      <a:pt x="594" y="582"/>
                    </a:lnTo>
                    <a:lnTo>
                      <a:pt x="588" y="576"/>
                    </a:lnTo>
                    <a:lnTo>
                      <a:pt x="564" y="564"/>
                    </a:lnTo>
                    <a:lnTo>
                      <a:pt x="540" y="540"/>
                    </a:lnTo>
                    <a:lnTo>
                      <a:pt x="546" y="540"/>
                    </a:lnTo>
                    <a:lnTo>
                      <a:pt x="552" y="534"/>
                    </a:lnTo>
                    <a:lnTo>
                      <a:pt x="558" y="534"/>
                    </a:lnTo>
                    <a:lnTo>
                      <a:pt x="564" y="528"/>
                    </a:lnTo>
                    <a:lnTo>
                      <a:pt x="564" y="516"/>
                    </a:lnTo>
                    <a:lnTo>
                      <a:pt x="558" y="510"/>
                    </a:lnTo>
                    <a:lnTo>
                      <a:pt x="546" y="504"/>
                    </a:lnTo>
                    <a:lnTo>
                      <a:pt x="540" y="498"/>
                    </a:lnTo>
                    <a:lnTo>
                      <a:pt x="528" y="498"/>
                    </a:lnTo>
                    <a:lnTo>
                      <a:pt x="516" y="486"/>
                    </a:lnTo>
                    <a:lnTo>
                      <a:pt x="504" y="462"/>
                    </a:lnTo>
                    <a:lnTo>
                      <a:pt x="498" y="456"/>
                    </a:lnTo>
                    <a:lnTo>
                      <a:pt x="498" y="450"/>
                    </a:lnTo>
                    <a:lnTo>
                      <a:pt x="480" y="450"/>
                    </a:lnTo>
                    <a:lnTo>
                      <a:pt x="474" y="432"/>
                    </a:lnTo>
                    <a:lnTo>
                      <a:pt x="456" y="414"/>
                    </a:lnTo>
                    <a:lnTo>
                      <a:pt x="438" y="402"/>
                    </a:lnTo>
                    <a:lnTo>
                      <a:pt x="426" y="378"/>
                    </a:lnTo>
                    <a:lnTo>
                      <a:pt x="426" y="354"/>
                    </a:lnTo>
                    <a:lnTo>
                      <a:pt x="420" y="354"/>
                    </a:lnTo>
                    <a:lnTo>
                      <a:pt x="414" y="348"/>
                    </a:lnTo>
                    <a:lnTo>
                      <a:pt x="402" y="342"/>
                    </a:lnTo>
                    <a:lnTo>
                      <a:pt x="390" y="342"/>
                    </a:lnTo>
                    <a:lnTo>
                      <a:pt x="384" y="336"/>
                    </a:lnTo>
                    <a:lnTo>
                      <a:pt x="384" y="306"/>
                    </a:lnTo>
                    <a:lnTo>
                      <a:pt x="372" y="306"/>
                    </a:lnTo>
                    <a:lnTo>
                      <a:pt x="366" y="300"/>
                    </a:lnTo>
                    <a:lnTo>
                      <a:pt x="354" y="294"/>
                    </a:lnTo>
                    <a:lnTo>
                      <a:pt x="342" y="282"/>
                    </a:lnTo>
                    <a:lnTo>
                      <a:pt x="306" y="264"/>
                    </a:lnTo>
                    <a:lnTo>
                      <a:pt x="300" y="258"/>
                    </a:lnTo>
                    <a:lnTo>
                      <a:pt x="288" y="252"/>
                    </a:lnTo>
                    <a:lnTo>
                      <a:pt x="288" y="234"/>
                    </a:lnTo>
                    <a:lnTo>
                      <a:pt x="282" y="228"/>
                    </a:lnTo>
                    <a:lnTo>
                      <a:pt x="306" y="228"/>
                    </a:lnTo>
                    <a:lnTo>
                      <a:pt x="312" y="234"/>
                    </a:lnTo>
                    <a:lnTo>
                      <a:pt x="330" y="234"/>
                    </a:lnTo>
                    <a:lnTo>
                      <a:pt x="336" y="228"/>
                    </a:lnTo>
                    <a:lnTo>
                      <a:pt x="342" y="216"/>
                    </a:lnTo>
                    <a:lnTo>
                      <a:pt x="354" y="210"/>
                    </a:lnTo>
                    <a:lnTo>
                      <a:pt x="360" y="198"/>
                    </a:lnTo>
                    <a:lnTo>
                      <a:pt x="360" y="186"/>
                    </a:lnTo>
                    <a:lnTo>
                      <a:pt x="348" y="180"/>
                    </a:lnTo>
                    <a:lnTo>
                      <a:pt x="330" y="174"/>
                    </a:lnTo>
                    <a:lnTo>
                      <a:pt x="306" y="162"/>
                    </a:lnTo>
                    <a:lnTo>
                      <a:pt x="306" y="156"/>
                    </a:lnTo>
                    <a:lnTo>
                      <a:pt x="312" y="150"/>
                    </a:lnTo>
                    <a:lnTo>
                      <a:pt x="318" y="150"/>
                    </a:lnTo>
                    <a:lnTo>
                      <a:pt x="294" y="126"/>
                    </a:lnTo>
                    <a:lnTo>
                      <a:pt x="282" y="120"/>
                    </a:lnTo>
                    <a:lnTo>
                      <a:pt x="270" y="120"/>
                    </a:lnTo>
                    <a:lnTo>
                      <a:pt x="264" y="132"/>
                    </a:lnTo>
                    <a:lnTo>
                      <a:pt x="264" y="138"/>
                    </a:lnTo>
                    <a:lnTo>
                      <a:pt x="258" y="150"/>
                    </a:lnTo>
                    <a:lnTo>
                      <a:pt x="252" y="156"/>
                    </a:lnTo>
                    <a:lnTo>
                      <a:pt x="240" y="144"/>
                    </a:lnTo>
                    <a:lnTo>
                      <a:pt x="240" y="138"/>
                    </a:lnTo>
                    <a:lnTo>
                      <a:pt x="222" y="138"/>
                    </a:lnTo>
                    <a:lnTo>
                      <a:pt x="216" y="126"/>
                    </a:lnTo>
                    <a:lnTo>
                      <a:pt x="198" y="108"/>
                    </a:lnTo>
                    <a:lnTo>
                      <a:pt x="186" y="84"/>
                    </a:lnTo>
                    <a:lnTo>
                      <a:pt x="186" y="54"/>
                    </a:lnTo>
                    <a:lnTo>
                      <a:pt x="180" y="54"/>
                    </a:lnTo>
                    <a:lnTo>
                      <a:pt x="174" y="60"/>
                    </a:lnTo>
                    <a:lnTo>
                      <a:pt x="168" y="48"/>
                    </a:lnTo>
                    <a:lnTo>
                      <a:pt x="156" y="42"/>
                    </a:lnTo>
                    <a:lnTo>
                      <a:pt x="150" y="30"/>
                    </a:lnTo>
                    <a:lnTo>
                      <a:pt x="144" y="24"/>
                    </a:lnTo>
                    <a:lnTo>
                      <a:pt x="138" y="12"/>
                    </a:lnTo>
                    <a:lnTo>
                      <a:pt x="132" y="6"/>
                    </a:lnTo>
                    <a:lnTo>
                      <a:pt x="96" y="0"/>
                    </a:lnTo>
                    <a:lnTo>
                      <a:pt x="90" y="6"/>
                    </a:lnTo>
                    <a:lnTo>
                      <a:pt x="90" y="48"/>
                    </a:lnTo>
                    <a:lnTo>
                      <a:pt x="114" y="72"/>
                    </a:lnTo>
                    <a:lnTo>
                      <a:pt x="114" y="108"/>
                    </a:lnTo>
                    <a:lnTo>
                      <a:pt x="72" y="108"/>
                    </a:lnTo>
                    <a:lnTo>
                      <a:pt x="72" y="84"/>
                    </a:lnTo>
                    <a:lnTo>
                      <a:pt x="36" y="102"/>
                    </a:lnTo>
                    <a:lnTo>
                      <a:pt x="36" y="114"/>
                    </a:lnTo>
                    <a:lnTo>
                      <a:pt x="30" y="126"/>
                    </a:lnTo>
                    <a:lnTo>
                      <a:pt x="36" y="132"/>
                    </a:lnTo>
                    <a:lnTo>
                      <a:pt x="30" y="138"/>
                    </a:lnTo>
                    <a:lnTo>
                      <a:pt x="18" y="138"/>
                    </a:lnTo>
                    <a:lnTo>
                      <a:pt x="0" y="156"/>
                    </a:lnTo>
                    <a:lnTo>
                      <a:pt x="0" y="168"/>
                    </a:lnTo>
                    <a:lnTo>
                      <a:pt x="6" y="168"/>
                    </a:lnTo>
                    <a:lnTo>
                      <a:pt x="12" y="174"/>
                    </a:lnTo>
                    <a:lnTo>
                      <a:pt x="24" y="180"/>
                    </a:lnTo>
                    <a:close/>
                  </a:path>
                </a:pathLst>
              </a:custGeom>
              <a:solidFill>
                <a:srgbClr val="9D90A0">
                  <a:lumMod val="40000"/>
                  <a:lumOff val="60000"/>
                </a:srgbClr>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25" name="Indonesia" descr="© INSCALE GmbH, 05.05.2010&#10;http://www.presentationload.com/">
                <a:extLst>
                  <a:ext uri="{FF2B5EF4-FFF2-40B4-BE49-F238E27FC236}">
                    <a16:creationId xmlns:a16="http://schemas.microsoft.com/office/drawing/2014/main" id="{1B06FD2B-56EA-4E37-B2D6-8FA482E552BB}"/>
                  </a:ext>
                </a:extLst>
              </p:cNvPr>
              <p:cNvSpPr>
                <a:spLocks noEditPoints="1"/>
              </p:cNvSpPr>
              <p:nvPr/>
            </p:nvSpPr>
            <p:spPr bwMode="gray">
              <a:xfrm>
                <a:off x="6891510" y="4353042"/>
                <a:ext cx="1291606" cy="571791"/>
              </a:xfrm>
              <a:custGeom>
                <a:avLst/>
                <a:gdLst>
                  <a:gd name="T0" fmla="*/ 2147483647 w 3264"/>
                  <a:gd name="T1" fmla="*/ 2147483647 h 1302"/>
                  <a:gd name="T2" fmla="*/ 2147483647 w 3264"/>
                  <a:gd name="T3" fmla="*/ 2147483647 h 1302"/>
                  <a:gd name="T4" fmla="*/ 2147483647 w 3264"/>
                  <a:gd name="T5" fmla="*/ 2147483647 h 1302"/>
                  <a:gd name="T6" fmla="*/ 2147483647 w 3264"/>
                  <a:gd name="T7" fmla="*/ 2147483647 h 1302"/>
                  <a:gd name="T8" fmla="*/ 2147483647 w 3264"/>
                  <a:gd name="T9" fmla="*/ 2147483647 h 1302"/>
                  <a:gd name="T10" fmla="*/ 2147483647 w 3264"/>
                  <a:gd name="T11" fmla="*/ 2147483647 h 1302"/>
                  <a:gd name="T12" fmla="*/ 2147483647 w 3264"/>
                  <a:gd name="T13" fmla="*/ 2147483647 h 1302"/>
                  <a:gd name="T14" fmla="*/ 2147483647 w 3264"/>
                  <a:gd name="T15" fmla="*/ 2147483647 h 1302"/>
                  <a:gd name="T16" fmla="*/ 2147483647 w 3264"/>
                  <a:gd name="T17" fmla="*/ 2147483647 h 1302"/>
                  <a:gd name="T18" fmla="*/ 2147483647 w 3264"/>
                  <a:gd name="T19" fmla="*/ 2147483647 h 1302"/>
                  <a:gd name="T20" fmla="*/ 2147483647 w 3264"/>
                  <a:gd name="T21" fmla="*/ 2147483647 h 1302"/>
                  <a:gd name="T22" fmla="*/ 2147483647 w 3264"/>
                  <a:gd name="T23" fmla="*/ 2147483647 h 1302"/>
                  <a:gd name="T24" fmla="*/ 2147483647 w 3264"/>
                  <a:gd name="T25" fmla="*/ 2147483647 h 1302"/>
                  <a:gd name="T26" fmla="*/ 2147483647 w 3264"/>
                  <a:gd name="T27" fmla="*/ 2147483647 h 1302"/>
                  <a:gd name="T28" fmla="*/ 2147483647 w 3264"/>
                  <a:gd name="T29" fmla="*/ 2147483647 h 1302"/>
                  <a:gd name="T30" fmla="*/ 2147483647 w 3264"/>
                  <a:gd name="T31" fmla="*/ 2147483647 h 1302"/>
                  <a:gd name="T32" fmla="*/ 2147483647 w 3264"/>
                  <a:gd name="T33" fmla="*/ 2147483647 h 1302"/>
                  <a:gd name="T34" fmla="*/ 2147483647 w 3264"/>
                  <a:gd name="T35" fmla="*/ 2147483647 h 1302"/>
                  <a:gd name="T36" fmla="*/ 2147483647 w 3264"/>
                  <a:gd name="T37" fmla="*/ 2147483647 h 1302"/>
                  <a:gd name="T38" fmla="*/ 2147483647 w 3264"/>
                  <a:gd name="T39" fmla="*/ 2147483647 h 1302"/>
                  <a:gd name="T40" fmla="*/ 2147483647 w 3264"/>
                  <a:gd name="T41" fmla="*/ 2147483647 h 1302"/>
                  <a:gd name="T42" fmla="*/ 2147483647 w 3264"/>
                  <a:gd name="T43" fmla="*/ 2147483647 h 1302"/>
                  <a:gd name="T44" fmla="*/ 2147483647 w 3264"/>
                  <a:gd name="T45" fmla="*/ 2147483647 h 1302"/>
                  <a:gd name="T46" fmla="*/ 2147483647 w 3264"/>
                  <a:gd name="T47" fmla="*/ 2147483647 h 1302"/>
                  <a:gd name="T48" fmla="*/ 2147483647 w 3264"/>
                  <a:gd name="T49" fmla="*/ 2147483647 h 1302"/>
                  <a:gd name="T50" fmla="*/ 2147483647 w 3264"/>
                  <a:gd name="T51" fmla="*/ 2147483647 h 1302"/>
                  <a:gd name="T52" fmla="*/ 2147483647 w 3264"/>
                  <a:gd name="T53" fmla="*/ 2147483647 h 1302"/>
                  <a:gd name="T54" fmla="*/ 2147483647 w 3264"/>
                  <a:gd name="T55" fmla="*/ 2147483647 h 1302"/>
                  <a:gd name="T56" fmla="*/ 2147483647 w 3264"/>
                  <a:gd name="T57" fmla="*/ 2147483647 h 1302"/>
                  <a:gd name="T58" fmla="*/ 2147483647 w 3264"/>
                  <a:gd name="T59" fmla="*/ 2147483647 h 1302"/>
                  <a:gd name="T60" fmla="*/ 2147483647 w 3264"/>
                  <a:gd name="T61" fmla="*/ 2147483647 h 1302"/>
                  <a:gd name="T62" fmla="*/ 2147483647 w 3264"/>
                  <a:gd name="T63" fmla="*/ 2147483647 h 1302"/>
                  <a:gd name="T64" fmla="*/ 2147483647 w 3264"/>
                  <a:gd name="T65" fmla="*/ 2147483647 h 1302"/>
                  <a:gd name="T66" fmla="*/ 2147483647 w 3264"/>
                  <a:gd name="T67" fmla="*/ 2147483647 h 1302"/>
                  <a:gd name="T68" fmla="*/ 2147483647 w 3264"/>
                  <a:gd name="T69" fmla="*/ 2147483647 h 1302"/>
                  <a:gd name="T70" fmla="*/ 2147483647 w 3264"/>
                  <a:gd name="T71" fmla="*/ 2147483647 h 1302"/>
                  <a:gd name="T72" fmla="*/ 2147483647 w 3264"/>
                  <a:gd name="T73" fmla="*/ 2147483647 h 1302"/>
                  <a:gd name="T74" fmla="*/ 2147483647 w 3264"/>
                  <a:gd name="T75" fmla="*/ 2147483647 h 1302"/>
                  <a:gd name="T76" fmla="*/ 2147483647 w 3264"/>
                  <a:gd name="T77" fmla="*/ 2147483647 h 1302"/>
                  <a:gd name="T78" fmla="*/ 2147483647 w 3264"/>
                  <a:gd name="T79" fmla="*/ 2147483647 h 1302"/>
                  <a:gd name="T80" fmla="*/ 2147483647 w 3264"/>
                  <a:gd name="T81" fmla="*/ 2147483647 h 1302"/>
                  <a:gd name="T82" fmla="*/ 2147483647 w 3264"/>
                  <a:gd name="T83" fmla="*/ 2147483647 h 1302"/>
                  <a:gd name="T84" fmla="*/ 2147483647 w 3264"/>
                  <a:gd name="T85" fmla="*/ 2147483647 h 1302"/>
                  <a:gd name="T86" fmla="*/ 2147483647 w 3264"/>
                  <a:gd name="T87" fmla="*/ 2147483647 h 1302"/>
                  <a:gd name="T88" fmla="*/ 2147483647 w 3264"/>
                  <a:gd name="T89" fmla="*/ 2147483647 h 1302"/>
                  <a:gd name="T90" fmla="*/ 2147483647 w 3264"/>
                  <a:gd name="T91" fmla="*/ 2147483647 h 1302"/>
                  <a:gd name="T92" fmla="*/ 2147483647 w 3264"/>
                  <a:gd name="T93" fmla="*/ 2147483647 h 1302"/>
                  <a:gd name="T94" fmla="*/ 2147483647 w 3264"/>
                  <a:gd name="T95" fmla="*/ 2147483647 h 1302"/>
                  <a:gd name="T96" fmla="*/ 2147483647 w 3264"/>
                  <a:gd name="T97" fmla="*/ 2147483647 h 1302"/>
                  <a:gd name="T98" fmla="*/ 2147483647 w 3264"/>
                  <a:gd name="T99" fmla="*/ 2147483647 h 1302"/>
                  <a:gd name="T100" fmla="*/ 2147483647 w 3264"/>
                  <a:gd name="T101" fmla="*/ 2147483647 h 1302"/>
                  <a:gd name="T102" fmla="*/ 2147483647 w 3264"/>
                  <a:gd name="T103" fmla="*/ 2147483647 h 1302"/>
                  <a:gd name="T104" fmla="*/ 2147483647 w 3264"/>
                  <a:gd name="T105" fmla="*/ 2147483647 h 1302"/>
                  <a:gd name="T106" fmla="*/ 2147483647 w 3264"/>
                  <a:gd name="T107" fmla="*/ 2147483647 h 1302"/>
                  <a:gd name="T108" fmla="*/ 2147483647 w 3264"/>
                  <a:gd name="T109" fmla="*/ 2147483647 h 1302"/>
                  <a:gd name="T110" fmla="*/ 2147483647 w 3264"/>
                  <a:gd name="T111" fmla="*/ 2147483647 h 1302"/>
                  <a:gd name="T112" fmla="*/ 2147483647 w 3264"/>
                  <a:gd name="T113" fmla="*/ 2147483647 h 1302"/>
                  <a:gd name="T114" fmla="*/ 2147483647 w 3264"/>
                  <a:gd name="T115" fmla="*/ 2147483647 h 1302"/>
                  <a:gd name="T116" fmla="*/ 2147483647 w 3264"/>
                  <a:gd name="T117" fmla="*/ 2147483647 h 1302"/>
                  <a:gd name="T118" fmla="*/ 2147483647 w 3264"/>
                  <a:gd name="T119" fmla="*/ 2147483647 h 1302"/>
                  <a:gd name="T120" fmla="*/ 2147483647 w 3264"/>
                  <a:gd name="T121" fmla="*/ 2147483647 h 1302"/>
                  <a:gd name="T122" fmla="*/ 2147483647 w 3264"/>
                  <a:gd name="T123" fmla="*/ 2147483647 h 1302"/>
                  <a:gd name="T124" fmla="*/ 2147483647 w 3264"/>
                  <a:gd name="T125" fmla="*/ 2147483647 h 130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264"/>
                  <a:gd name="T190" fmla="*/ 0 h 1302"/>
                  <a:gd name="T191" fmla="*/ 3264 w 3264"/>
                  <a:gd name="T192" fmla="*/ 1302 h 130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264" h="1302">
                    <a:moveTo>
                      <a:pt x="1788" y="984"/>
                    </a:moveTo>
                    <a:lnTo>
                      <a:pt x="1806" y="978"/>
                    </a:lnTo>
                    <a:lnTo>
                      <a:pt x="1818" y="954"/>
                    </a:lnTo>
                    <a:lnTo>
                      <a:pt x="1812" y="930"/>
                    </a:lnTo>
                    <a:lnTo>
                      <a:pt x="1788" y="984"/>
                    </a:lnTo>
                    <a:close/>
                    <a:moveTo>
                      <a:pt x="672" y="462"/>
                    </a:moveTo>
                    <a:lnTo>
                      <a:pt x="702" y="480"/>
                    </a:lnTo>
                    <a:lnTo>
                      <a:pt x="702" y="450"/>
                    </a:lnTo>
                    <a:lnTo>
                      <a:pt x="672" y="426"/>
                    </a:lnTo>
                    <a:lnTo>
                      <a:pt x="672" y="462"/>
                    </a:lnTo>
                    <a:close/>
                    <a:moveTo>
                      <a:pt x="678" y="492"/>
                    </a:moveTo>
                    <a:lnTo>
                      <a:pt x="654" y="516"/>
                    </a:lnTo>
                    <a:lnTo>
                      <a:pt x="678" y="546"/>
                    </a:lnTo>
                    <a:lnTo>
                      <a:pt x="678" y="492"/>
                    </a:lnTo>
                    <a:close/>
                    <a:moveTo>
                      <a:pt x="906" y="714"/>
                    </a:moveTo>
                    <a:lnTo>
                      <a:pt x="930" y="732"/>
                    </a:lnTo>
                    <a:lnTo>
                      <a:pt x="936" y="708"/>
                    </a:lnTo>
                    <a:lnTo>
                      <a:pt x="936" y="702"/>
                    </a:lnTo>
                    <a:lnTo>
                      <a:pt x="930" y="696"/>
                    </a:lnTo>
                    <a:lnTo>
                      <a:pt x="930" y="690"/>
                    </a:lnTo>
                    <a:lnTo>
                      <a:pt x="912" y="672"/>
                    </a:lnTo>
                    <a:lnTo>
                      <a:pt x="900" y="666"/>
                    </a:lnTo>
                    <a:lnTo>
                      <a:pt x="888" y="666"/>
                    </a:lnTo>
                    <a:lnTo>
                      <a:pt x="882" y="672"/>
                    </a:lnTo>
                    <a:lnTo>
                      <a:pt x="876" y="684"/>
                    </a:lnTo>
                    <a:lnTo>
                      <a:pt x="882" y="696"/>
                    </a:lnTo>
                    <a:lnTo>
                      <a:pt x="882" y="708"/>
                    </a:lnTo>
                    <a:lnTo>
                      <a:pt x="888" y="720"/>
                    </a:lnTo>
                    <a:lnTo>
                      <a:pt x="906" y="714"/>
                    </a:lnTo>
                    <a:close/>
                    <a:moveTo>
                      <a:pt x="684" y="372"/>
                    </a:moveTo>
                    <a:lnTo>
                      <a:pt x="672" y="360"/>
                    </a:lnTo>
                    <a:lnTo>
                      <a:pt x="660" y="372"/>
                    </a:lnTo>
                    <a:lnTo>
                      <a:pt x="672" y="396"/>
                    </a:lnTo>
                    <a:lnTo>
                      <a:pt x="684" y="396"/>
                    </a:lnTo>
                    <a:lnTo>
                      <a:pt x="684" y="372"/>
                    </a:lnTo>
                    <a:close/>
                    <a:moveTo>
                      <a:pt x="750" y="624"/>
                    </a:moveTo>
                    <a:lnTo>
                      <a:pt x="750" y="630"/>
                    </a:lnTo>
                    <a:lnTo>
                      <a:pt x="756" y="636"/>
                    </a:lnTo>
                    <a:lnTo>
                      <a:pt x="756" y="648"/>
                    </a:lnTo>
                    <a:lnTo>
                      <a:pt x="774" y="684"/>
                    </a:lnTo>
                    <a:lnTo>
                      <a:pt x="786" y="690"/>
                    </a:lnTo>
                    <a:lnTo>
                      <a:pt x="804" y="696"/>
                    </a:lnTo>
                    <a:lnTo>
                      <a:pt x="816" y="702"/>
                    </a:lnTo>
                    <a:lnTo>
                      <a:pt x="834" y="702"/>
                    </a:lnTo>
                    <a:lnTo>
                      <a:pt x="828" y="660"/>
                    </a:lnTo>
                    <a:lnTo>
                      <a:pt x="810" y="648"/>
                    </a:lnTo>
                    <a:lnTo>
                      <a:pt x="810" y="618"/>
                    </a:lnTo>
                    <a:lnTo>
                      <a:pt x="804" y="606"/>
                    </a:lnTo>
                    <a:lnTo>
                      <a:pt x="792" y="600"/>
                    </a:lnTo>
                    <a:lnTo>
                      <a:pt x="786" y="588"/>
                    </a:lnTo>
                    <a:lnTo>
                      <a:pt x="768" y="582"/>
                    </a:lnTo>
                    <a:lnTo>
                      <a:pt x="756" y="576"/>
                    </a:lnTo>
                    <a:lnTo>
                      <a:pt x="732" y="576"/>
                    </a:lnTo>
                    <a:lnTo>
                      <a:pt x="732" y="582"/>
                    </a:lnTo>
                    <a:lnTo>
                      <a:pt x="726" y="588"/>
                    </a:lnTo>
                    <a:lnTo>
                      <a:pt x="726" y="600"/>
                    </a:lnTo>
                    <a:lnTo>
                      <a:pt x="714" y="600"/>
                    </a:lnTo>
                    <a:lnTo>
                      <a:pt x="714" y="606"/>
                    </a:lnTo>
                    <a:lnTo>
                      <a:pt x="708" y="612"/>
                    </a:lnTo>
                    <a:lnTo>
                      <a:pt x="714" y="624"/>
                    </a:lnTo>
                    <a:lnTo>
                      <a:pt x="750" y="624"/>
                    </a:lnTo>
                    <a:close/>
                    <a:moveTo>
                      <a:pt x="246" y="438"/>
                    </a:moveTo>
                    <a:lnTo>
                      <a:pt x="222" y="462"/>
                    </a:lnTo>
                    <a:lnTo>
                      <a:pt x="234" y="492"/>
                    </a:lnTo>
                    <a:lnTo>
                      <a:pt x="234" y="498"/>
                    </a:lnTo>
                    <a:lnTo>
                      <a:pt x="228" y="504"/>
                    </a:lnTo>
                    <a:lnTo>
                      <a:pt x="228" y="510"/>
                    </a:lnTo>
                    <a:lnTo>
                      <a:pt x="240" y="510"/>
                    </a:lnTo>
                    <a:lnTo>
                      <a:pt x="246" y="504"/>
                    </a:lnTo>
                    <a:lnTo>
                      <a:pt x="246" y="468"/>
                    </a:lnTo>
                    <a:lnTo>
                      <a:pt x="252" y="456"/>
                    </a:lnTo>
                    <a:lnTo>
                      <a:pt x="246" y="438"/>
                    </a:lnTo>
                    <a:close/>
                    <a:moveTo>
                      <a:pt x="264" y="534"/>
                    </a:moveTo>
                    <a:lnTo>
                      <a:pt x="258" y="546"/>
                    </a:lnTo>
                    <a:lnTo>
                      <a:pt x="258" y="588"/>
                    </a:lnTo>
                    <a:lnTo>
                      <a:pt x="264" y="600"/>
                    </a:lnTo>
                    <a:lnTo>
                      <a:pt x="276" y="612"/>
                    </a:lnTo>
                    <a:lnTo>
                      <a:pt x="288" y="612"/>
                    </a:lnTo>
                    <a:lnTo>
                      <a:pt x="294" y="606"/>
                    </a:lnTo>
                    <a:lnTo>
                      <a:pt x="294" y="588"/>
                    </a:lnTo>
                    <a:lnTo>
                      <a:pt x="288" y="576"/>
                    </a:lnTo>
                    <a:lnTo>
                      <a:pt x="282" y="558"/>
                    </a:lnTo>
                    <a:lnTo>
                      <a:pt x="282" y="546"/>
                    </a:lnTo>
                    <a:lnTo>
                      <a:pt x="276" y="534"/>
                    </a:lnTo>
                    <a:lnTo>
                      <a:pt x="264" y="534"/>
                    </a:lnTo>
                    <a:close/>
                    <a:moveTo>
                      <a:pt x="48" y="222"/>
                    </a:moveTo>
                    <a:lnTo>
                      <a:pt x="42" y="228"/>
                    </a:lnTo>
                    <a:lnTo>
                      <a:pt x="42" y="246"/>
                    </a:lnTo>
                    <a:lnTo>
                      <a:pt x="48" y="258"/>
                    </a:lnTo>
                    <a:lnTo>
                      <a:pt x="66" y="258"/>
                    </a:lnTo>
                    <a:lnTo>
                      <a:pt x="84" y="276"/>
                    </a:lnTo>
                    <a:lnTo>
                      <a:pt x="90" y="270"/>
                    </a:lnTo>
                    <a:lnTo>
                      <a:pt x="90" y="252"/>
                    </a:lnTo>
                    <a:lnTo>
                      <a:pt x="78" y="246"/>
                    </a:lnTo>
                    <a:lnTo>
                      <a:pt x="72" y="234"/>
                    </a:lnTo>
                    <a:lnTo>
                      <a:pt x="60" y="228"/>
                    </a:lnTo>
                    <a:lnTo>
                      <a:pt x="54" y="222"/>
                    </a:lnTo>
                    <a:lnTo>
                      <a:pt x="48" y="222"/>
                    </a:lnTo>
                    <a:close/>
                    <a:moveTo>
                      <a:pt x="162" y="330"/>
                    </a:moveTo>
                    <a:lnTo>
                      <a:pt x="156" y="330"/>
                    </a:lnTo>
                    <a:lnTo>
                      <a:pt x="144" y="342"/>
                    </a:lnTo>
                    <a:lnTo>
                      <a:pt x="144" y="354"/>
                    </a:lnTo>
                    <a:lnTo>
                      <a:pt x="156" y="366"/>
                    </a:lnTo>
                    <a:lnTo>
                      <a:pt x="162" y="378"/>
                    </a:lnTo>
                    <a:lnTo>
                      <a:pt x="174" y="390"/>
                    </a:lnTo>
                    <a:lnTo>
                      <a:pt x="180" y="402"/>
                    </a:lnTo>
                    <a:lnTo>
                      <a:pt x="192" y="414"/>
                    </a:lnTo>
                    <a:lnTo>
                      <a:pt x="198" y="408"/>
                    </a:lnTo>
                    <a:lnTo>
                      <a:pt x="198" y="402"/>
                    </a:lnTo>
                    <a:lnTo>
                      <a:pt x="204" y="390"/>
                    </a:lnTo>
                    <a:lnTo>
                      <a:pt x="204" y="384"/>
                    </a:lnTo>
                    <a:lnTo>
                      <a:pt x="198" y="372"/>
                    </a:lnTo>
                    <a:lnTo>
                      <a:pt x="198" y="366"/>
                    </a:lnTo>
                    <a:lnTo>
                      <a:pt x="192" y="360"/>
                    </a:lnTo>
                    <a:lnTo>
                      <a:pt x="186" y="348"/>
                    </a:lnTo>
                    <a:lnTo>
                      <a:pt x="180" y="342"/>
                    </a:lnTo>
                    <a:lnTo>
                      <a:pt x="168" y="336"/>
                    </a:lnTo>
                    <a:lnTo>
                      <a:pt x="162" y="330"/>
                    </a:lnTo>
                    <a:close/>
                    <a:moveTo>
                      <a:pt x="2574" y="486"/>
                    </a:moveTo>
                    <a:lnTo>
                      <a:pt x="2574" y="474"/>
                    </a:lnTo>
                    <a:lnTo>
                      <a:pt x="2568" y="474"/>
                    </a:lnTo>
                    <a:lnTo>
                      <a:pt x="2556" y="468"/>
                    </a:lnTo>
                    <a:lnTo>
                      <a:pt x="2520" y="468"/>
                    </a:lnTo>
                    <a:lnTo>
                      <a:pt x="2514" y="474"/>
                    </a:lnTo>
                    <a:lnTo>
                      <a:pt x="2520" y="498"/>
                    </a:lnTo>
                    <a:lnTo>
                      <a:pt x="2526" y="498"/>
                    </a:lnTo>
                    <a:lnTo>
                      <a:pt x="2538" y="492"/>
                    </a:lnTo>
                    <a:lnTo>
                      <a:pt x="2562" y="492"/>
                    </a:lnTo>
                    <a:lnTo>
                      <a:pt x="2568" y="486"/>
                    </a:lnTo>
                    <a:lnTo>
                      <a:pt x="2574" y="486"/>
                    </a:lnTo>
                    <a:close/>
                    <a:moveTo>
                      <a:pt x="336" y="648"/>
                    </a:moveTo>
                    <a:lnTo>
                      <a:pt x="342" y="648"/>
                    </a:lnTo>
                    <a:lnTo>
                      <a:pt x="342" y="636"/>
                    </a:lnTo>
                    <a:lnTo>
                      <a:pt x="330" y="624"/>
                    </a:lnTo>
                    <a:lnTo>
                      <a:pt x="318" y="624"/>
                    </a:lnTo>
                    <a:lnTo>
                      <a:pt x="318" y="636"/>
                    </a:lnTo>
                    <a:lnTo>
                      <a:pt x="330" y="648"/>
                    </a:lnTo>
                    <a:lnTo>
                      <a:pt x="336" y="648"/>
                    </a:lnTo>
                    <a:close/>
                    <a:moveTo>
                      <a:pt x="2472" y="654"/>
                    </a:moveTo>
                    <a:lnTo>
                      <a:pt x="2484" y="648"/>
                    </a:lnTo>
                    <a:lnTo>
                      <a:pt x="2502" y="630"/>
                    </a:lnTo>
                    <a:lnTo>
                      <a:pt x="2502" y="618"/>
                    </a:lnTo>
                    <a:lnTo>
                      <a:pt x="2430" y="612"/>
                    </a:lnTo>
                    <a:lnTo>
                      <a:pt x="2430" y="624"/>
                    </a:lnTo>
                    <a:lnTo>
                      <a:pt x="2436" y="630"/>
                    </a:lnTo>
                    <a:lnTo>
                      <a:pt x="2442" y="642"/>
                    </a:lnTo>
                    <a:lnTo>
                      <a:pt x="2448" y="648"/>
                    </a:lnTo>
                    <a:lnTo>
                      <a:pt x="2460" y="654"/>
                    </a:lnTo>
                    <a:lnTo>
                      <a:pt x="2472" y="654"/>
                    </a:lnTo>
                    <a:close/>
                    <a:moveTo>
                      <a:pt x="2406" y="288"/>
                    </a:moveTo>
                    <a:lnTo>
                      <a:pt x="2418" y="276"/>
                    </a:lnTo>
                    <a:lnTo>
                      <a:pt x="2418" y="264"/>
                    </a:lnTo>
                    <a:lnTo>
                      <a:pt x="2412" y="258"/>
                    </a:lnTo>
                    <a:lnTo>
                      <a:pt x="2400" y="252"/>
                    </a:lnTo>
                    <a:lnTo>
                      <a:pt x="2376" y="252"/>
                    </a:lnTo>
                    <a:lnTo>
                      <a:pt x="2370" y="258"/>
                    </a:lnTo>
                    <a:lnTo>
                      <a:pt x="2370" y="264"/>
                    </a:lnTo>
                    <a:lnTo>
                      <a:pt x="2394" y="288"/>
                    </a:lnTo>
                    <a:lnTo>
                      <a:pt x="2406" y="288"/>
                    </a:lnTo>
                    <a:close/>
                    <a:moveTo>
                      <a:pt x="2868" y="528"/>
                    </a:moveTo>
                    <a:lnTo>
                      <a:pt x="2886" y="534"/>
                    </a:lnTo>
                    <a:lnTo>
                      <a:pt x="2892" y="534"/>
                    </a:lnTo>
                    <a:lnTo>
                      <a:pt x="2898" y="528"/>
                    </a:lnTo>
                    <a:lnTo>
                      <a:pt x="2898" y="522"/>
                    </a:lnTo>
                    <a:lnTo>
                      <a:pt x="2874" y="510"/>
                    </a:lnTo>
                    <a:lnTo>
                      <a:pt x="2868" y="516"/>
                    </a:lnTo>
                    <a:lnTo>
                      <a:pt x="2862" y="516"/>
                    </a:lnTo>
                    <a:lnTo>
                      <a:pt x="2862" y="522"/>
                    </a:lnTo>
                    <a:lnTo>
                      <a:pt x="2868" y="528"/>
                    </a:lnTo>
                    <a:close/>
                    <a:moveTo>
                      <a:pt x="2916" y="618"/>
                    </a:moveTo>
                    <a:lnTo>
                      <a:pt x="2928" y="618"/>
                    </a:lnTo>
                    <a:lnTo>
                      <a:pt x="2940" y="612"/>
                    </a:lnTo>
                    <a:lnTo>
                      <a:pt x="2958" y="612"/>
                    </a:lnTo>
                    <a:lnTo>
                      <a:pt x="2964" y="606"/>
                    </a:lnTo>
                    <a:lnTo>
                      <a:pt x="2970" y="606"/>
                    </a:lnTo>
                    <a:lnTo>
                      <a:pt x="2964" y="606"/>
                    </a:lnTo>
                    <a:lnTo>
                      <a:pt x="2958" y="600"/>
                    </a:lnTo>
                    <a:lnTo>
                      <a:pt x="2946" y="594"/>
                    </a:lnTo>
                    <a:lnTo>
                      <a:pt x="2934" y="594"/>
                    </a:lnTo>
                    <a:lnTo>
                      <a:pt x="2928" y="588"/>
                    </a:lnTo>
                    <a:lnTo>
                      <a:pt x="2922" y="588"/>
                    </a:lnTo>
                    <a:lnTo>
                      <a:pt x="2910" y="594"/>
                    </a:lnTo>
                    <a:lnTo>
                      <a:pt x="2892" y="594"/>
                    </a:lnTo>
                    <a:lnTo>
                      <a:pt x="2886" y="600"/>
                    </a:lnTo>
                    <a:lnTo>
                      <a:pt x="2880" y="600"/>
                    </a:lnTo>
                    <a:lnTo>
                      <a:pt x="2892" y="606"/>
                    </a:lnTo>
                    <a:lnTo>
                      <a:pt x="2898" y="612"/>
                    </a:lnTo>
                    <a:lnTo>
                      <a:pt x="2910" y="618"/>
                    </a:lnTo>
                    <a:lnTo>
                      <a:pt x="2916" y="618"/>
                    </a:lnTo>
                    <a:close/>
                    <a:moveTo>
                      <a:pt x="1710" y="552"/>
                    </a:moveTo>
                    <a:lnTo>
                      <a:pt x="1710" y="564"/>
                    </a:lnTo>
                    <a:lnTo>
                      <a:pt x="1716" y="570"/>
                    </a:lnTo>
                    <a:lnTo>
                      <a:pt x="1716" y="582"/>
                    </a:lnTo>
                    <a:lnTo>
                      <a:pt x="1722" y="594"/>
                    </a:lnTo>
                    <a:lnTo>
                      <a:pt x="1722" y="612"/>
                    </a:lnTo>
                    <a:lnTo>
                      <a:pt x="1716" y="618"/>
                    </a:lnTo>
                    <a:lnTo>
                      <a:pt x="1692" y="630"/>
                    </a:lnTo>
                    <a:lnTo>
                      <a:pt x="1686" y="636"/>
                    </a:lnTo>
                    <a:lnTo>
                      <a:pt x="1674" y="642"/>
                    </a:lnTo>
                    <a:lnTo>
                      <a:pt x="1674" y="678"/>
                    </a:lnTo>
                    <a:lnTo>
                      <a:pt x="1680" y="684"/>
                    </a:lnTo>
                    <a:lnTo>
                      <a:pt x="1686" y="696"/>
                    </a:lnTo>
                    <a:lnTo>
                      <a:pt x="1674" y="708"/>
                    </a:lnTo>
                    <a:lnTo>
                      <a:pt x="1674" y="720"/>
                    </a:lnTo>
                    <a:lnTo>
                      <a:pt x="1680" y="726"/>
                    </a:lnTo>
                    <a:lnTo>
                      <a:pt x="1692" y="732"/>
                    </a:lnTo>
                    <a:lnTo>
                      <a:pt x="1698" y="726"/>
                    </a:lnTo>
                    <a:lnTo>
                      <a:pt x="1722" y="726"/>
                    </a:lnTo>
                    <a:lnTo>
                      <a:pt x="1728" y="732"/>
                    </a:lnTo>
                    <a:lnTo>
                      <a:pt x="1728" y="756"/>
                    </a:lnTo>
                    <a:lnTo>
                      <a:pt x="1722" y="762"/>
                    </a:lnTo>
                    <a:lnTo>
                      <a:pt x="1740" y="780"/>
                    </a:lnTo>
                    <a:lnTo>
                      <a:pt x="1728" y="846"/>
                    </a:lnTo>
                    <a:lnTo>
                      <a:pt x="1710" y="864"/>
                    </a:lnTo>
                    <a:lnTo>
                      <a:pt x="1704" y="876"/>
                    </a:lnTo>
                    <a:lnTo>
                      <a:pt x="1704" y="888"/>
                    </a:lnTo>
                    <a:lnTo>
                      <a:pt x="1710" y="906"/>
                    </a:lnTo>
                    <a:lnTo>
                      <a:pt x="1722" y="924"/>
                    </a:lnTo>
                    <a:lnTo>
                      <a:pt x="1746" y="936"/>
                    </a:lnTo>
                    <a:lnTo>
                      <a:pt x="1764" y="930"/>
                    </a:lnTo>
                    <a:lnTo>
                      <a:pt x="1788" y="906"/>
                    </a:lnTo>
                    <a:lnTo>
                      <a:pt x="1788" y="864"/>
                    </a:lnTo>
                    <a:lnTo>
                      <a:pt x="1782" y="858"/>
                    </a:lnTo>
                    <a:lnTo>
                      <a:pt x="1776" y="846"/>
                    </a:lnTo>
                    <a:lnTo>
                      <a:pt x="1800" y="822"/>
                    </a:lnTo>
                    <a:lnTo>
                      <a:pt x="1806" y="804"/>
                    </a:lnTo>
                    <a:lnTo>
                      <a:pt x="1806" y="774"/>
                    </a:lnTo>
                    <a:lnTo>
                      <a:pt x="1812" y="756"/>
                    </a:lnTo>
                    <a:lnTo>
                      <a:pt x="1812" y="726"/>
                    </a:lnTo>
                    <a:lnTo>
                      <a:pt x="1806" y="714"/>
                    </a:lnTo>
                    <a:lnTo>
                      <a:pt x="1800" y="696"/>
                    </a:lnTo>
                    <a:lnTo>
                      <a:pt x="1794" y="684"/>
                    </a:lnTo>
                    <a:lnTo>
                      <a:pt x="1794" y="636"/>
                    </a:lnTo>
                    <a:lnTo>
                      <a:pt x="1800" y="630"/>
                    </a:lnTo>
                    <a:lnTo>
                      <a:pt x="1800" y="624"/>
                    </a:lnTo>
                    <a:lnTo>
                      <a:pt x="1806" y="618"/>
                    </a:lnTo>
                    <a:lnTo>
                      <a:pt x="1812" y="618"/>
                    </a:lnTo>
                    <a:lnTo>
                      <a:pt x="1818" y="624"/>
                    </a:lnTo>
                    <a:lnTo>
                      <a:pt x="1824" y="642"/>
                    </a:lnTo>
                    <a:lnTo>
                      <a:pt x="1830" y="666"/>
                    </a:lnTo>
                    <a:lnTo>
                      <a:pt x="1836" y="684"/>
                    </a:lnTo>
                    <a:lnTo>
                      <a:pt x="1836" y="702"/>
                    </a:lnTo>
                    <a:lnTo>
                      <a:pt x="1866" y="738"/>
                    </a:lnTo>
                    <a:lnTo>
                      <a:pt x="1866" y="792"/>
                    </a:lnTo>
                    <a:lnTo>
                      <a:pt x="1890" y="822"/>
                    </a:lnTo>
                    <a:lnTo>
                      <a:pt x="1890" y="858"/>
                    </a:lnTo>
                    <a:lnTo>
                      <a:pt x="1902" y="930"/>
                    </a:lnTo>
                    <a:lnTo>
                      <a:pt x="1920" y="918"/>
                    </a:lnTo>
                    <a:lnTo>
                      <a:pt x="1962" y="930"/>
                    </a:lnTo>
                    <a:lnTo>
                      <a:pt x="1962" y="870"/>
                    </a:lnTo>
                    <a:lnTo>
                      <a:pt x="1968" y="864"/>
                    </a:lnTo>
                    <a:lnTo>
                      <a:pt x="1974" y="852"/>
                    </a:lnTo>
                    <a:lnTo>
                      <a:pt x="1980" y="876"/>
                    </a:lnTo>
                    <a:lnTo>
                      <a:pt x="1998" y="876"/>
                    </a:lnTo>
                    <a:lnTo>
                      <a:pt x="2004" y="870"/>
                    </a:lnTo>
                    <a:lnTo>
                      <a:pt x="2010" y="858"/>
                    </a:lnTo>
                    <a:lnTo>
                      <a:pt x="2010" y="828"/>
                    </a:lnTo>
                    <a:lnTo>
                      <a:pt x="2004" y="822"/>
                    </a:lnTo>
                    <a:lnTo>
                      <a:pt x="2004" y="816"/>
                    </a:lnTo>
                    <a:lnTo>
                      <a:pt x="1992" y="810"/>
                    </a:lnTo>
                    <a:lnTo>
                      <a:pt x="1986" y="798"/>
                    </a:lnTo>
                    <a:lnTo>
                      <a:pt x="1974" y="792"/>
                    </a:lnTo>
                    <a:lnTo>
                      <a:pt x="1962" y="780"/>
                    </a:lnTo>
                    <a:lnTo>
                      <a:pt x="1956" y="768"/>
                    </a:lnTo>
                    <a:lnTo>
                      <a:pt x="1944" y="756"/>
                    </a:lnTo>
                    <a:lnTo>
                      <a:pt x="1944" y="750"/>
                    </a:lnTo>
                    <a:lnTo>
                      <a:pt x="1956" y="726"/>
                    </a:lnTo>
                    <a:lnTo>
                      <a:pt x="1968" y="720"/>
                    </a:lnTo>
                    <a:lnTo>
                      <a:pt x="1968" y="708"/>
                    </a:lnTo>
                    <a:lnTo>
                      <a:pt x="1962" y="696"/>
                    </a:lnTo>
                    <a:lnTo>
                      <a:pt x="1938" y="684"/>
                    </a:lnTo>
                    <a:lnTo>
                      <a:pt x="1932" y="672"/>
                    </a:lnTo>
                    <a:lnTo>
                      <a:pt x="1932" y="642"/>
                    </a:lnTo>
                    <a:lnTo>
                      <a:pt x="1938" y="636"/>
                    </a:lnTo>
                    <a:lnTo>
                      <a:pt x="1938" y="630"/>
                    </a:lnTo>
                    <a:lnTo>
                      <a:pt x="1926" y="618"/>
                    </a:lnTo>
                    <a:lnTo>
                      <a:pt x="1914" y="612"/>
                    </a:lnTo>
                    <a:lnTo>
                      <a:pt x="1896" y="594"/>
                    </a:lnTo>
                    <a:lnTo>
                      <a:pt x="1884" y="588"/>
                    </a:lnTo>
                    <a:lnTo>
                      <a:pt x="1878" y="582"/>
                    </a:lnTo>
                    <a:lnTo>
                      <a:pt x="1914" y="582"/>
                    </a:lnTo>
                    <a:lnTo>
                      <a:pt x="1926" y="576"/>
                    </a:lnTo>
                    <a:lnTo>
                      <a:pt x="1932" y="570"/>
                    </a:lnTo>
                    <a:lnTo>
                      <a:pt x="1944" y="546"/>
                    </a:lnTo>
                    <a:lnTo>
                      <a:pt x="1950" y="540"/>
                    </a:lnTo>
                    <a:lnTo>
                      <a:pt x="1956" y="528"/>
                    </a:lnTo>
                    <a:lnTo>
                      <a:pt x="1992" y="528"/>
                    </a:lnTo>
                    <a:lnTo>
                      <a:pt x="2004" y="522"/>
                    </a:lnTo>
                    <a:lnTo>
                      <a:pt x="2010" y="522"/>
                    </a:lnTo>
                    <a:lnTo>
                      <a:pt x="2016" y="516"/>
                    </a:lnTo>
                    <a:lnTo>
                      <a:pt x="2016" y="504"/>
                    </a:lnTo>
                    <a:lnTo>
                      <a:pt x="1998" y="486"/>
                    </a:lnTo>
                    <a:lnTo>
                      <a:pt x="1986" y="480"/>
                    </a:lnTo>
                    <a:lnTo>
                      <a:pt x="1974" y="486"/>
                    </a:lnTo>
                    <a:lnTo>
                      <a:pt x="1956" y="504"/>
                    </a:lnTo>
                    <a:lnTo>
                      <a:pt x="1956" y="510"/>
                    </a:lnTo>
                    <a:lnTo>
                      <a:pt x="1944" y="510"/>
                    </a:lnTo>
                    <a:lnTo>
                      <a:pt x="1932" y="504"/>
                    </a:lnTo>
                    <a:lnTo>
                      <a:pt x="1896" y="504"/>
                    </a:lnTo>
                    <a:lnTo>
                      <a:pt x="1890" y="510"/>
                    </a:lnTo>
                    <a:lnTo>
                      <a:pt x="1884" y="522"/>
                    </a:lnTo>
                    <a:lnTo>
                      <a:pt x="1854" y="552"/>
                    </a:lnTo>
                    <a:lnTo>
                      <a:pt x="1848" y="546"/>
                    </a:lnTo>
                    <a:lnTo>
                      <a:pt x="1836" y="540"/>
                    </a:lnTo>
                    <a:lnTo>
                      <a:pt x="1824" y="516"/>
                    </a:lnTo>
                    <a:lnTo>
                      <a:pt x="1788" y="498"/>
                    </a:lnTo>
                    <a:lnTo>
                      <a:pt x="1776" y="498"/>
                    </a:lnTo>
                    <a:lnTo>
                      <a:pt x="1776" y="486"/>
                    </a:lnTo>
                    <a:lnTo>
                      <a:pt x="1782" y="468"/>
                    </a:lnTo>
                    <a:lnTo>
                      <a:pt x="1782" y="456"/>
                    </a:lnTo>
                    <a:lnTo>
                      <a:pt x="1794" y="420"/>
                    </a:lnTo>
                    <a:lnTo>
                      <a:pt x="1806" y="408"/>
                    </a:lnTo>
                    <a:lnTo>
                      <a:pt x="1824" y="408"/>
                    </a:lnTo>
                    <a:lnTo>
                      <a:pt x="1842" y="414"/>
                    </a:lnTo>
                    <a:lnTo>
                      <a:pt x="1896" y="414"/>
                    </a:lnTo>
                    <a:lnTo>
                      <a:pt x="1902" y="408"/>
                    </a:lnTo>
                    <a:lnTo>
                      <a:pt x="1908" y="408"/>
                    </a:lnTo>
                    <a:lnTo>
                      <a:pt x="1908" y="402"/>
                    </a:lnTo>
                    <a:lnTo>
                      <a:pt x="1914" y="396"/>
                    </a:lnTo>
                    <a:lnTo>
                      <a:pt x="1920" y="396"/>
                    </a:lnTo>
                    <a:lnTo>
                      <a:pt x="1944" y="402"/>
                    </a:lnTo>
                    <a:lnTo>
                      <a:pt x="1980" y="420"/>
                    </a:lnTo>
                    <a:lnTo>
                      <a:pt x="2010" y="432"/>
                    </a:lnTo>
                    <a:lnTo>
                      <a:pt x="2034" y="438"/>
                    </a:lnTo>
                    <a:lnTo>
                      <a:pt x="2040" y="438"/>
                    </a:lnTo>
                    <a:lnTo>
                      <a:pt x="2052" y="432"/>
                    </a:lnTo>
                    <a:lnTo>
                      <a:pt x="2064" y="420"/>
                    </a:lnTo>
                    <a:lnTo>
                      <a:pt x="2082" y="420"/>
                    </a:lnTo>
                    <a:lnTo>
                      <a:pt x="2094" y="414"/>
                    </a:lnTo>
                    <a:lnTo>
                      <a:pt x="2106" y="414"/>
                    </a:lnTo>
                    <a:lnTo>
                      <a:pt x="2112" y="408"/>
                    </a:lnTo>
                    <a:lnTo>
                      <a:pt x="2112" y="402"/>
                    </a:lnTo>
                    <a:lnTo>
                      <a:pt x="2106" y="396"/>
                    </a:lnTo>
                    <a:lnTo>
                      <a:pt x="2106" y="390"/>
                    </a:lnTo>
                    <a:lnTo>
                      <a:pt x="2118" y="378"/>
                    </a:lnTo>
                    <a:lnTo>
                      <a:pt x="2142" y="366"/>
                    </a:lnTo>
                    <a:lnTo>
                      <a:pt x="2148" y="360"/>
                    </a:lnTo>
                    <a:lnTo>
                      <a:pt x="2160" y="354"/>
                    </a:lnTo>
                    <a:lnTo>
                      <a:pt x="2148" y="324"/>
                    </a:lnTo>
                    <a:lnTo>
                      <a:pt x="2070" y="360"/>
                    </a:lnTo>
                    <a:lnTo>
                      <a:pt x="2076" y="366"/>
                    </a:lnTo>
                    <a:lnTo>
                      <a:pt x="2076" y="372"/>
                    </a:lnTo>
                    <a:lnTo>
                      <a:pt x="2070" y="378"/>
                    </a:lnTo>
                    <a:lnTo>
                      <a:pt x="2046" y="378"/>
                    </a:lnTo>
                    <a:lnTo>
                      <a:pt x="2022" y="366"/>
                    </a:lnTo>
                    <a:lnTo>
                      <a:pt x="2004" y="366"/>
                    </a:lnTo>
                    <a:lnTo>
                      <a:pt x="1968" y="384"/>
                    </a:lnTo>
                    <a:lnTo>
                      <a:pt x="1950" y="384"/>
                    </a:lnTo>
                    <a:lnTo>
                      <a:pt x="1938" y="378"/>
                    </a:lnTo>
                    <a:lnTo>
                      <a:pt x="1926" y="378"/>
                    </a:lnTo>
                    <a:lnTo>
                      <a:pt x="1902" y="366"/>
                    </a:lnTo>
                    <a:lnTo>
                      <a:pt x="1860" y="366"/>
                    </a:lnTo>
                    <a:lnTo>
                      <a:pt x="1872" y="348"/>
                    </a:lnTo>
                    <a:lnTo>
                      <a:pt x="1860" y="348"/>
                    </a:lnTo>
                    <a:lnTo>
                      <a:pt x="1848" y="342"/>
                    </a:lnTo>
                    <a:lnTo>
                      <a:pt x="1824" y="342"/>
                    </a:lnTo>
                    <a:lnTo>
                      <a:pt x="1824" y="366"/>
                    </a:lnTo>
                    <a:lnTo>
                      <a:pt x="1812" y="378"/>
                    </a:lnTo>
                    <a:lnTo>
                      <a:pt x="1788" y="390"/>
                    </a:lnTo>
                    <a:lnTo>
                      <a:pt x="1764" y="390"/>
                    </a:lnTo>
                    <a:lnTo>
                      <a:pt x="1758" y="396"/>
                    </a:lnTo>
                    <a:lnTo>
                      <a:pt x="1758" y="426"/>
                    </a:lnTo>
                    <a:lnTo>
                      <a:pt x="1740" y="432"/>
                    </a:lnTo>
                    <a:lnTo>
                      <a:pt x="1752" y="498"/>
                    </a:lnTo>
                    <a:lnTo>
                      <a:pt x="1740" y="498"/>
                    </a:lnTo>
                    <a:lnTo>
                      <a:pt x="1734" y="510"/>
                    </a:lnTo>
                    <a:lnTo>
                      <a:pt x="1728" y="516"/>
                    </a:lnTo>
                    <a:lnTo>
                      <a:pt x="1710" y="552"/>
                    </a:lnTo>
                    <a:close/>
                    <a:moveTo>
                      <a:pt x="1986" y="576"/>
                    </a:moveTo>
                    <a:lnTo>
                      <a:pt x="1986" y="594"/>
                    </a:lnTo>
                    <a:lnTo>
                      <a:pt x="1992" y="600"/>
                    </a:lnTo>
                    <a:lnTo>
                      <a:pt x="2004" y="600"/>
                    </a:lnTo>
                    <a:lnTo>
                      <a:pt x="2016" y="588"/>
                    </a:lnTo>
                    <a:lnTo>
                      <a:pt x="2016" y="576"/>
                    </a:lnTo>
                    <a:lnTo>
                      <a:pt x="1986" y="576"/>
                    </a:lnTo>
                    <a:close/>
                    <a:moveTo>
                      <a:pt x="1686" y="1110"/>
                    </a:moveTo>
                    <a:lnTo>
                      <a:pt x="1674" y="1110"/>
                    </a:lnTo>
                    <a:lnTo>
                      <a:pt x="1668" y="1116"/>
                    </a:lnTo>
                    <a:lnTo>
                      <a:pt x="1662" y="1116"/>
                    </a:lnTo>
                    <a:lnTo>
                      <a:pt x="1614" y="1104"/>
                    </a:lnTo>
                    <a:lnTo>
                      <a:pt x="1644" y="1146"/>
                    </a:lnTo>
                    <a:lnTo>
                      <a:pt x="1650" y="1152"/>
                    </a:lnTo>
                    <a:lnTo>
                      <a:pt x="1662" y="1158"/>
                    </a:lnTo>
                    <a:lnTo>
                      <a:pt x="1668" y="1164"/>
                    </a:lnTo>
                    <a:lnTo>
                      <a:pt x="1680" y="1170"/>
                    </a:lnTo>
                    <a:lnTo>
                      <a:pt x="1692" y="1158"/>
                    </a:lnTo>
                    <a:lnTo>
                      <a:pt x="1698" y="1140"/>
                    </a:lnTo>
                    <a:lnTo>
                      <a:pt x="1698" y="1128"/>
                    </a:lnTo>
                    <a:lnTo>
                      <a:pt x="1692" y="1116"/>
                    </a:lnTo>
                    <a:lnTo>
                      <a:pt x="1686" y="1110"/>
                    </a:lnTo>
                    <a:close/>
                    <a:moveTo>
                      <a:pt x="2094" y="1104"/>
                    </a:moveTo>
                    <a:lnTo>
                      <a:pt x="2064" y="1128"/>
                    </a:lnTo>
                    <a:lnTo>
                      <a:pt x="2094" y="1134"/>
                    </a:lnTo>
                    <a:lnTo>
                      <a:pt x="2094" y="1104"/>
                    </a:lnTo>
                    <a:close/>
                    <a:moveTo>
                      <a:pt x="486" y="294"/>
                    </a:moveTo>
                    <a:lnTo>
                      <a:pt x="474" y="288"/>
                    </a:lnTo>
                    <a:lnTo>
                      <a:pt x="468" y="288"/>
                    </a:lnTo>
                    <a:lnTo>
                      <a:pt x="456" y="294"/>
                    </a:lnTo>
                    <a:lnTo>
                      <a:pt x="456" y="312"/>
                    </a:lnTo>
                    <a:lnTo>
                      <a:pt x="468" y="324"/>
                    </a:lnTo>
                    <a:lnTo>
                      <a:pt x="474" y="318"/>
                    </a:lnTo>
                    <a:lnTo>
                      <a:pt x="486" y="318"/>
                    </a:lnTo>
                    <a:lnTo>
                      <a:pt x="486" y="312"/>
                    </a:lnTo>
                    <a:lnTo>
                      <a:pt x="492" y="300"/>
                    </a:lnTo>
                    <a:lnTo>
                      <a:pt x="486" y="294"/>
                    </a:lnTo>
                    <a:close/>
                    <a:moveTo>
                      <a:pt x="2346" y="588"/>
                    </a:moveTo>
                    <a:lnTo>
                      <a:pt x="2340" y="576"/>
                    </a:lnTo>
                    <a:lnTo>
                      <a:pt x="2328" y="570"/>
                    </a:lnTo>
                    <a:lnTo>
                      <a:pt x="2310" y="552"/>
                    </a:lnTo>
                    <a:lnTo>
                      <a:pt x="2304" y="552"/>
                    </a:lnTo>
                    <a:lnTo>
                      <a:pt x="2304" y="600"/>
                    </a:lnTo>
                    <a:lnTo>
                      <a:pt x="2316" y="600"/>
                    </a:lnTo>
                    <a:lnTo>
                      <a:pt x="2328" y="606"/>
                    </a:lnTo>
                    <a:lnTo>
                      <a:pt x="2334" y="606"/>
                    </a:lnTo>
                    <a:lnTo>
                      <a:pt x="2346" y="600"/>
                    </a:lnTo>
                    <a:lnTo>
                      <a:pt x="2346" y="588"/>
                    </a:lnTo>
                    <a:close/>
                    <a:moveTo>
                      <a:pt x="2310" y="474"/>
                    </a:moveTo>
                    <a:lnTo>
                      <a:pt x="2340" y="504"/>
                    </a:lnTo>
                    <a:lnTo>
                      <a:pt x="2358" y="516"/>
                    </a:lnTo>
                    <a:lnTo>
                      <a:pt x="2382" y="528"/>
                    </a:lnTo>
                    <a:lnTo>
                      <a:pt x="2400" y="528"/>
                    </a:lnTo>
                    <a:lnTo>
                      <a:pt x="2400" y="522"/>
                    </a:lnTo>
                    <a:lnTo>
                      <a:pt x="2358" y="480"/>
                    </a:lnTo>
                    <a:lnTo>
                      <a:pt x="2358" y="468"/>
                    </a:lnTo>
                    <a:lnTo>
                      <a:pt x="2364" y="456"/>
                    </a:lnTo>
                    <a:lnTo>
                      <a:pt x="2376" y="450"/>
                    </a:lnTo>
                    <a:lnTo>
                      <a:pt x="2394" y="450"/>
                    </a:lnTo>
                    <a:lnTo>
                      <a:pt x="2406" y="456"/>
                    </a:lnTo>
                    <a:lnTo>
                      <a:pt x="2424" y="444"/>
                    </a:lnTo>
                    <a:lnTo>
                      <a:pt x="2400" y="432"/>
                    </a:lnTo>
                    <a:lnTo>
                      <a:pt x="2412" y="426"/>
                    </a:lnTo>
                    <a:lnTo>
                      <a:pt x="2424" y="402"/>
                    </a:lnTo>
                    <a:lnTo>
                      <a:pt x="2412" y="378"/>
                    </a:lnTo>
                    <a:lnTo>
                      <a:pt x="2400" y="372"/>
                    </a:lnTo>
                    <a:lnTo>
                      <a:pt x="2382" y="372"/>
                    </a:lnTo>
                    <a:lnTo>
                      <a:pt x="2358" y="396"/>
                    </a:lnTo>
                    <a:lnTo>
                      <a:pt x="2346" y="402"/>
                    </a:lnTo>
                    <a:lnTo>
                      <a:pt x="2340" y="408"/>
                    </a:lnTo>
                    <a:lnTo>
                      <a:pt x="2334" y="408"/>
                    </a:lnTo>
                    <a:lnTo>
                      <a:pt x="2328" y="402"/>
                    </a:lnTo>
                    <a:lnTo>
                      <a:pt x="2328" y="366"/>
                    </a:lnTo>
                    <a:lnTo>
                      <a:pt x="2334" y="360"/>
                    </a:lnTo>
                    <a:lnTo>
                      <a:pt x="2346" y="336"/>
                    </a:lnTo>
                    <a:lnTo>
                      <a:pt x="2346" y="318"/>
                    </a:lnTo>
                    <a:lnTo>
                      <a:pt x="2340" y="312"/>
                    </a:lnTo>
                    <a:lnTo>
                      <a:pt x="2358" y="276"/>
                    </a:lnTo>
                    <a:lnTo>
                      <a:pt x="2316" y="312"/>
                    </a:lnTo>
                    <a:lnTo>
                      <a:pt x="2316" y="342"/>
                    </a:lnTo>
                    <a:lnTo>
                      <a:pt x="2304" y="348"/>
                    </a:lnTo>
                    <a:lnTo>
                      <a:pt x="2298" y="354"/>
                    </a:lnTo>
                    <a:lnTo>
                      <a:pt x="2286" y="378"/>
                    </a:lnTo>
                    <a:lnTo>
                      <a:pt x="2286" y="408"/>
                    </a:lnTo>
                    <a:lnTo>
                      <a:pt x="2298" y="420"/>
                    </a:lnTo>
                    <a:lnTo>
                      <a:pt x="2304" y="432"/>
                    </a:lnTo>
                    <a:lnTo>
                      <a:pt x="2310" y="438"/>
                    </a:lnTo>
                    <a:lnTo>
                      <a:pt x="2310" y="444"/>
                    </a:lnTo>
                    <a:lnTo>
                      <a:pt x="2304" y="450"/>
                    </a:lnTo>
                    <a:lnTo>
                      <a:pt x="2304" y="468"/>
                    </a:lnTo>
                    <a:lnTo>
                      <a:pt x="2310" y="474"/>
                    </a:lnTo>
                    <a:close/>
                    <a:moveTo>
                      <a:pt x="2250" y="708"/>
                    </a:moveTo>
                    <a:lnTo>
                      <a:pt x="2238" y="696"/>
                    </a:lnTo>
                    <a:lnTo>
                      <a:pt x="2214" y="708"/>
                    </a:lnTo>
                    <a:lnTo>
                      <a:pt x="2214" y="732"/>
                    </a:lnTo>
                    <a:lnTo>
                      <a:pt x="2220" y="744"/>
                    </a:lnTo>
                    <a:lnTo>
                      <a:pt x="2226" y="750"/>
                    </a:lnTo>
                    <a:lnTo>
                      <a:pt x="2250" y="762"/>
                    </a:lnTo>
                    <a:lnTo>
                      <a:pt x="2274" y="762"/>
                    </a:lnTo>
                    <a:lnTo>
                      <a:pt x="2280" y="750"/>
                    </a:lnTo>
                    <a:lnTo>
                      <a:pt x="2280" y="738"/>
                    </a:lnTo>
                    <a:lnTo>
                      <a:pt x="2274" y="726"/>
                    </a:lnTo>
                    <a:lnTo>
                      <a:pt x="2274" y="714"/>
                    </a:lnTo>
                    <a:lnTo>
                      <a:pt x="2268" y="708"/>
                    </a:lnTo>
                    <a:lnTo>
                      <a:pt x="2268" y="702"/>
                    </a:lnTo>
                    <a:lnTo>
                      <a:pt x="2250" y="708"/>
                    </a:lnTo>
                    <a:close/>
                    <a:moveTo>
                      <a:pt x="2148" y="1104"/>
                    </a:moveTo>
                    <a:lnTo>
                      <a:pt x="2226" y="1092"/>
                    </a:lnTo>
                    <a:lnTo>
                      <a:pt x="2166" y="1074"/>
                    </a:lnTo>
                    <a:lnTo>
                      <a:pt x="2148" y="1104"/>
                    </a:lnTo>
                    <a:close/>
                    <a:moveTo>
                      <a:pt x="2544" y="750"/>
                    </a:moveTo>
                    <a:lnTo>
                      <a:pt x="2520" y="732"/>
                    </a:lnTo>
                    <a:lnTo>
                      <a:pt x="2526" y="714"/>
                    </a:lnTo>
                    <a:lnTo>
                      <a:pt x="2514" y="702"/>
                    </a:lnTo>
                    <a:lnTo>
                      <a:pt x="2508" y="690"/>
                    </a:lnTo>
                    <a:lnTo>
                      <a:pt x="2490" y="684"/>
                    </a:lnTo>
                    <a:lnTo>
                      <a:pt x="2472" y="672"/>
                    </a:lnTo>
                    <a:lnTo>
                      <a:pt x="2442" y="666"/>
                    </a:lnTo>
                    <a:lnTo>
                      <a:pt x="2424" y="666"/>
                    </a:lnTo>
                    <a:lnTo>
                      <a:pt x="2388" y="684"/>
                    </a:lnTo>
                    <a:lnTo>
                      <a:pt x="2358" y="684"/>
                    </a:lnTo>
                    <a:lnTo>
                      <a:pt x="2346" y="696"/>
                    </a:lnTo>
                    <a:lnTo>
                      <a:pt x="2340" y="708"/>
                    </a:lnTo>
                    <a:lnTo>
                      <a:pt x="2340" y="726"/>
                    </a:lnTo>
                    <a:lnTo>
                      <a:pt x="2346" y="732"/>
                    </a:lnTo>
                    <a:lnTo>
                      <a:pt x="2364" y="714"/>
                    </a:lnTo>
                    <a:lnTo>
                      <a:pt x="2364" y="726"/>
                    </a:lnTo>
                    <a:lnTo>
                      <a:pt x="2370" y="738"/>
                    </a:lnTo>
                    <a:lnTo>
                      <a:pt x="2376" y="744"/>
                    </a:lnTo>
                    <a:lnTo>
                      <a:pt x="2388" y="738"/>
                    </a:lnTo>
                    <a:lnTo>
                      <a:pt x="2394" y="732"/>
                    </a:lnTo>
                    <a:lnTo>
                      <a:pt x="2394" y="726"/>
                    </a:lnTo>
                    <a:lnTo>
                      <a:pt x="2400" y="720"/>
                    </a:lnTo>
                    <a:lnTo>
                      <a:pt x="2400" y="714"/>
                    </a:lnTo>
                    <a:lnTo>
                      <a:pt x="2406" y="726"/>
                    </a:lnTo>
                    <a:lnTo>
                      <a:pt x="2418" y="732"/>
                    </a:lnTo>
                    <a:lnTo>
                      <a:pt x="2430" y="732"/>
                    </a:lnTo>
                    <a:lnTo>
                      <a:pt x="2442" y="720"/>
                    </a:lnTo>
                    <a:lnTo>
                      <a:pt x="2454" y="714"/>
                    </a:lnTo>
                    <a:lnTo>
                      <a:pt x="2460" y="708"/>
                    </a:lnTo>
                    <a:lnTo>
                      <a:pt x="2472" y="762"/>
                    </a:lnTo>
                    <a:lnTo>
                      <a:pt x="2502" y="738"/>
                    </a:lnTo>
                    <a:lnTo>
                      <a:pt x="2538" y="774"/>
                    </a:lnTo>
                    <a:lnTo>
                      <a:pt x="2544" y="750"/>
                    </a:lnTo>
                    <a:close/>
                    <a:moveTo>
                      <a:pt x="3264" y="678"/>
                    </a:moveTo>
                    <a:lnTo>
                      <a:pt x="3222" y="648"/>
                    </a:lnTo>
                    <a:lnTo>
                      <a:pt x="3210" y="648"/>
                    </a:lnTo>
                    <a:lnTo>
                      <a:pt x="3198" y="654"/>
                    </a:lnTo>
                    <a:lnTo>
                      <a:pt x="3180" y="654"/>
                    </a:lnTo>
                    <a:lnTo>
                      <a:pt x="3162" y="648"/>
                    </a:lnTo>
                    <a:lnTo>
                      <a:pt x="3126" y="630"/>
                    </a:lnTo>
                    <a:lnTo>
                      <a:pt x="3096" y="612"/>
                    </a:lnTo>
                    <a:lnTo>
                      <a:pt x="3060" y="594"/>
                    </a:lnTo>
                    <a:lnTo>
                      <a:pt x="3042" y="582"/>
                    </a:lnTo>
                    <a:lnTo>
                      <a:pt x="3030" y="582"/>
                    </a:lnTo>
                    <a:lnTo>
                      <a:pt x="3006" y="594"/>
                    </a:lnTo>
                    <a:lnTo>
                      <a:pt x="3000" y="600"/>
                    </a:lnTo>
                    <a:lnTo>
                      <a:pt x="2988" y="606"/>
                    </a:lnTo>
                    <a:lnTo>
                      <a:pt x="3006" y="630"/>
                    </a:lnTo>
                    <a:lnTo>
                      <a:pt x="2928" y="642"/>
                    </a:lnTo>
                    <a:lnTo>
                      <a:pt x="2934" y="666"/>
                    </a:lnTo>
                    <a:lnTo>
                      <a:pt x="2928" y="678"/>
                    </a:lnTo>
                    <a:lnTo>
                      <a:pt x="2922" y="684"/>
                    </a:lnTo>
                    <a:lnTo>
                      <a:pt x="2916" y="696"/>
                    </a:lnTo>
                    <a:lnTo>
                      <a:pt x="2880" y="720"/>
                    </a:lnTo>
                    <a:lnTo>
                      <a:pt x="2862" y="726"/>
                    </a:lnTo>
                    <a:lnTo>
                      <a:pt x="2844" y="726"/>
                    </a:lnTo>
                    <a:lnTo>
                      <a:pt x="2832" y="720"/>
                    </a:lnTo>
                    <a:lnTo>
                      <a:pt x="2826" y="714"/>
                    </a:lnTo>
                    <a:lnTo>
                      <a:pt x="2820" y="702"/>
                    </a:lnTo>
                    <a:lnTo>
                      <a:pt x="2820" y="678"/>
                    </a:lnTo>
                    <a:lnTo>
                      <a:pt x="2814" y="672"/>
                    </a:lnTo>
                    <a:lnTo>
                      <a:pt x="2814" y="660"/>
                    </a:lnTo>
                    <a:lnTo>
                      <a:pt x="2808" y="666"/>
                    </a:lnTo>
                    <a:lnTo>
                      <a:pt x="2808" y="672"/>
                    </a:lnTo>
                    <a:lnTo>
                      <a:pt x="2802" y="684"/>
                    </a:lnTo>
                    <a:lnTo>
                      <a:pt x="2796" y="690"/>
                    </a:lnTo>
                    <a:lnTo>
                      <a:pt x="2796" y="696"/>
                    </a:lnTo>
                    <a:lnTo>
                      <a:pt x="2796" y="690"/>
                    </a:lnTo>
                    <a:lnTo>
                      <a:pt x="2790" y="684"/>
                    </a:lnTo>
                    <a:lnTo>
                      <a:pt x="2790" y="672"/>
                    </a:lnTo>
                    <a:lnTo>
                      <a:pt x="2784" y="660"/>
                    </a:lnTo>
                    <a:lnTo>
                      <a:pt x="2784" y="576"/>
                    </a:lnTo>
                    <a:lnTo>
                      <a:pt x="2778" y="558"/>
                    </a:lnTo>
                    <a:lnTo>
                      <a:pt x="2760" y="522"/>
                    </a:lnTo>
                    <a:lnTo>
                      <a:pt x="2724" y="522"/>
                    </a:lnTo>
                    <a:lnTo>
                      <a:pt x="2718" y="510"/>
                    </a:lnTo>
                    <a:lnTo>
                      <a:pt x="2694" y="498"/>
                    </a:lnTo>
                    <a:lnTo>
                      <a:pt x="2676" y="486"/>
                    </a:lnTo>
                    <a:lnTo>
                      <a:pt x="2652" y="486"/>
                    </a:lnTo>
                    <a:lnTo>
                      <a:pt x="2634" y="498"/>
                    </a:lnTo>
                    <a:lnTo>
                      <a:pt x="2628" y="504"/>
                    </a:lnTo>
                    <a:lnTo>
                      <a:pt x="2616" y="510"/>
                    </a:lnTo>
                    <a:lnTo>
                      <a:pt x="2610" y="522"/>
                    </a:lnTo>
                    <a:lnTo>
                      <a:pt x="2586" y="528"/>
                    </a:lnTo>
                    <a:lnTo>
                      <a:pt x="2580" y="546"/>
                    </a:lnTo>
                    <a:lnTo>
                      <a:pt x="2562" y="558"/>
                    </a:lnTo>
                    <a:lnTo>
                      <a:pt x="2562" y="540"/>
                    </a:lnTo>
                    <a:lnTo>
                      <a:pt x="2556" y="534"/>
                    </a:lnTo>
                    <a:lnTo>
                      <a:pt x="2532" y="534"/>
                    </a:lnTo>
                    <a:lnTo>
                      <a:pt x="2532" y="546"/>
                    </a:lnTo>
                    <a:lnTo>
                      <a:pt x="2544" y="570"/>
                    </a:lnTo>
                    <a:lnTo>
                      <a:pt x="2568" y="582"/>
                    </a:lnTo>
                    <a:lnTo>
                      <a:pt x="2604" y="582"/>
                    </a:lnTo>
                    <a:lnTo>
                      <a:pt x="2616" y="588"/>
                    </a:lnTo>
                    <a:lnTo>
                      <a:pt x="2622" y="594"/>
                    </a:lnTo>
                    <a:lnTo>
                      <a:pt x="2628" y="594"/>
                    </a:lnTo>
                    <a:lnTo>
                      <a:pt x="2628" y="618"/>
                    </a:lnTo>
                    <a:lnTo>
                      <a:pt x="2634" y="630"/>
                    </a:lnTo>
                    <a:lnTo>
                      <a:pt x="2640" y="636"/>
                    </a:lnTo>
                    <a:lnTo>
                      <a:pt x="2652" y="642"/>
                    </a:lnTo>
                    <a:lnTo>
                      <a:pt x="2694" y="642"/>
                    </a:lnTo>
                    <a:lnTo>
                      <a:pt x="2712" y="636"/>
                    </a:lnTo>
                    <a:lnTo>
                      <a:pt x="2754" y="636"/>
                    </a:lnTo>
                    <a:lnTo>
                      <a:pt x="2760" y="642"/>
                    </a:lnTo>
                    <a:lnTo>
                      <a:pt x="2760" y="660"/>
                    </a:lnTo>
                    <a:lnTo>
                      <a:pt x="2700" y="660"/>
                    </a:lnTo>
                    <a:lnTo>
                      <a:pt x="2688" y="666"/>
                    </a:lnTo>
                    <a:lnTo>
                      <a:pt x="2676" y="678"/>
                    </a:lnTo>
                    <a:lnTo>
                      <a:pt x="2640" y="678"/>
                    </a:lnTo>
                    <a:lnTo>
                      <a:pt x="2616" y="690"/>
                    </a:lnTo>
                    <a:lnTo>
                      <a:pt x="2616" y="696"/>
                    </a:lnTo>
                    <a:lnTo>
                      <a:pt x="2622" y="696"/>
                    </a:lnTo>
                    <a:lnTo>
                      <a:pt x="2646" y="708"/>
                    </a:lnTo>
                    <a:lnTo>
                      <a:pt x="2658" y="708"/>
                    </a:lnTo>
                    <a:lnTo>
                      <a:pt x="2676" y="726"/>
                    </a:lnTo>
                    <a:lnTo>
                      <a:pt x="2682" y="738"/>
                    </a:lnTo>
                    <a:lnTo>
                      <a:pt x="2688" y="744"/>
                    </a:lnTo>
                    <a:lnTo>
                      <a:pt x="2682" y="750"/>
                    </a:lnTo>
                    <a:lnTo>
                      <a:pt x="2676" y="762"/>
                    </a:lnTo>
                    <a:lnTo>
                      <a:pt x="2676" y="774"/>
                    </a:lnTo>
                    <a:lnTo>
                      <a:pt x="2670" y="780"/>
                    </a:lnTo>
                    <a:lnTo>
                      <a:pt x="2676" y="792"/>
                    </a:lnTo>
                    <a:lnTo>
                      <a:pt x="2682" y="798"/>
                    </a:lnTo>
                    <a:lnTo>
                      <a:pt x="2694" y="792"/>
                    </a:lnTo>
                    <a:lnTo>
                      <a:pt x="2706" y="780"/>
                    </a:lnTo>
                    <a:lnTo>
                      <a:pt x="2712" y="768"/>
                    </a:lnTo>
                    <a:lnTo>
                      <a:pt x="2718" y="762"/>
                    </a:lnTo>
                    <a:lnTo>
                      <a:pt x="2718" y="750"/>
                    </a:lnTo>
                    <a:lnTo>
                      <a:pt x="2724" y="744"/>
                    </a:lnTo>
                    <a:lnTo>
                      <a:pt x="2736" y="720"/>
                    </a:lnTo>
                    <a:lnTo>
                      <a:pt x="2742" y="714"/>
                    </a:lnTo>
                    <a:lnTo>
                      <a:pt x="2748" y="702"/>
                    </a:lnTo>
                    <a:lnTo>
                      <a:pt x="2748" y="744"/>
                    </a:lnTo>
                    <a:lnTo>
                      <a:pt x="2754" y="750"/>
                    </a:lnTo>
                    <a:lnTo>
                      <a:pt x="2766" y="756"/>
                    </a:lnTo>
                    <a:lnTo>
                      <a:pt x="2772" y="768"/>
                    </a:lnTo>
                    <a:lnTo>
                      <a:pt x="2784" y="774"/>
                    </a:lnTo>
                    <a:lnTo>
                      <a:pt x="2790" y="780"/>
                    </a:lnTo>
                    <a:lnTo>
                      <a:pt x="2814" y="780"/>
                    </a:lnTo>
                    <a:lnTo>
                      <a:pt x="2820" y="774"/>
                    </a:lnTo>
                    <a:lnTo>
                      <a:pt x="2826" y="774"/>
                    </a:lnTo>
                    <a:lnTo>
                      <a:pt x="2814" y="792"/>
                    </a:lnTo>
                    <a:lnTo>
                      <a:pt x="2844" y="822"/>
                    </a:lnTo>
                    <a:lnTo>
                      <a:pt x="2904" y="822"/>
                    </a:lnTo>
                    <a:lnTo>
                      <a:pt x="2940" y="846"/>
                    </a:lnTo>
                    <a:lnTo>
                      <a:pt x="2976" y="864"/>
                    </a:lnTo>
                    <a:lnTo>
                      <a:pt x="3006" y="876"/>
                    </a:lnTo>
                    <a:lnTo>
                      <a:pt x="3036" y="894"/>
                    </a:lnTo>
                    <a:lnTo>
                      <a:pt x="3066" y="924"/>
                    </a:lnTo>
                    <a:lnTo>
                      <a:pt x="3066" y="972"/>
                    </a:lnTo>
                    <a:lnTo>
                      <a:pt x="3090" y="996"/>
                    </a:lnTo>
                    <a:lnTo>
                      <a:pt x="3102" y="1002"/>
                    </a:lnTo>
                    <a:lnTo>
                      <a:pt x="3096" y="1002"/>
                    </a:lnTo>
                    <a:lnTo>
                      <a:pt x="3084" y="1008"/>
                    </a:lnTo>
                    <a:lnTo>
                      <a:pt x="3078" y="1014"/>
                    </a:lnTo>
                    <a:lnTo>
                      <a:pt x="3078" y="1020"/>
                    </a:lnTo>
                    <a:lnTo>
                      <a:pt x="3090" y="1032"/>
                    </a:lnTo>
                    <a:lnTo>
                      <a:pt x="3114" y="1032"/>
                    </a:lnTo>
                    <a:lnTo>
                      <a:pt x="3090" y="1044"/>
                    </a:lnTo>
                    <a:lnTo>
                      <a:pt x="3090" y="1056"/>
                    </a:lnTo>
                    <a:lnTo>
                      <a:pt x="3102" y="1062"/>
                    </a:lnTo>
                    <a:lnTo>
                      <a:pt x="3108" y="1092"/>
                    </a:lnTo>
                    <a:lnTo>
                      <a:pt x="3096" y="1122"/>
                    </a:lnTo>
                    <a:lnTo>
                      <a:pt x="3120" y="1122"/>
                    </a:lnTo>
                    <a:lnTo>
                      <a:pt x="3126" y="1116"/>
                    </a:lnTo>
                    <a:lnTo>
                      <a:pt x="3138" y="1116"/>
                    </a:lnTo>
                    <a:lnTo>
                      <a:pt x="3150" y="1110"/>
                    </a:lnTo>
                    <a:lnTo>
                      <a:pt x="3162" y="1110"/>
                    </a:lnTo>
                    <a:lnTo>
                      <a:pt x="3168" y="1104"/>
                    </a:lnTo>
                    <a:lnTo>
                      <a:pt x="3174" y="1104"/>
                    </a:lnTo>
                    <a:lnTo>
                      <a:pt x="3174" y="1134"/>
                    </a:lnTo>
                    <a:lnTo>
                      <a:pt x="3234" y="1194"/>
                    </a:lnTo>
                    <a:lnTo>
                      <a:pt x="3240" y="1194"/>
                    </a:lnTo>
                    <a:lnTo>
                      <a:pt x="3240" y="1146"/>
                    </a:lnTo>
                    <a:lnTo>
                      <a:pt x="3234" y="1122"/>
                    </a:lnTo>
                    <a:lnTo>
                      <a:pt x="3234" y="1116"/>
                    </a:lnTo>
                    <a:lnTo>
                      <a:pt x="3240" y="1110"/>
                    </a:lnTo>
                    <a:lnTo>
                      <a:pt x="3240" y="1098"/>
                    </a:lnTo>
                    <a:lnTo>
                      <a:pt x="3246" y="1086"/>
                    </a:lnTo>
                    <a:lnTo>
                      <a:pt x="3246" y="1062"/>
                    </a:lnTo>
                    <a:lnTo>
                      <a:pt x="3252" y="1050"/>
                    </a:lnTo>
                    <a:lnTo>
                      <a:pt x="3252" y="1020"/>
                    </a:lnTo>
                    <a:lnTo>
                      <a:pt x="3240" y="1020"/>
                    </a:lnTo>
                    <a:lnTo>
                      <a:pt x="3228" y="1014"/>
                    </a:lnTo>
                    <a:lnTo>
                      <a:pt x="3222" y="1008"/>
                    </a:lnTo>
                    <a:lnTo>
                      <a:pt x="3222" y="1002"/>
                    </a:lnTo>
                    <a:lnTo>
                      <a:pt x="3234" y="990"/>
                    </a:lnTo>
                    <a:lnTo>
                      <a:pt x="3246" y="984"/>
                    </a:lnTo>
                    <a:lnTo>
                      <a:pt x="3252" y="978"/>
                    </a:lnTo>
                    <a:lnTo>
                      <a:pt x="3252" y="864"/>
                    </a:lnTo>
                    <a:lnTo>
                      <a:pt x="3258" y="846"/>
                    </a:lnTo>
                    <a:lnTo>
                      <a:pt x="3258" y="708"/>
                    </a:lnTo>
                    <a:lnTo>
                      <a:pt x="3264" y="678"/>
                    </a:lnTo>
                    <a:close/>
                    <a:moveTo>
                      <a:pt x="336" y="666"/>
                    </a:moveTo>
                    <a:lnTo>
                      <a:pt x="330" y="672"/>
                    </a:lnTo>
                    <a:lnTo>
                      <a:pt x="354" y="696"/>
                    </a:lnTo>
                    <a:lnTo>
                      <a:pt x="360" y="708"/>
                    </a:lnTo>
                    <a:lnTo>
                      <a:pt x="366" y="714"/>
                    </a:lnTo>
                    <a:lnTo>
                      <a:pt x="378" y="714"/>
                    </a:lnTo>
                    <a:lnTo>
                      <a:pt x="378" y="696"/>
                    </a:lnTo>
                    <a:lnTo>
                      <a:pt x="366" y="690"/>
                    </a:lnTo>
                    <a:lnTo>
                      <a:pt x="360" y="678"/>
                    </a:lnTo>
                    <a:lnTo>
                      <a:pt x="348" y="672"/>
                    </a:lnTo>
                    <a:lnTo>
                      <a:pt x="342" y="666"/>
                    </a:lnTo>
                    <a:lnTo>
                      <a:pt x="336" y="666"/>
                    </a:lnTo>
                    <a:close/>
                    <a:moveTo>
                      <a:pt x="2526" y="1104"/>
                    </a:moveTo>
                    <a:lnTo>
                      <a:pt x="2544" y="1116"/>
                    </a:lnTo>
                    <a:lnTo>
                      <a:pt x="2574" y="1092"/>
                    </a:lnTo>
                    <a:lnTo>
                      <a:pt x="2592" y="1092"/>
                    </a:lnTo>
                    <a:lnTo>
                      <a:pt x="2604" y="1080"/>
                    </a:lnTo>
                    <a:lnTo>
                      <a:pt x="2604" y="1062"/>
                    </a:lnTo>
                    <a:lnTo>
                      <a:pt x="2592" y="1056"/>
                    </a:lnTo>
                    <a:lnTo>
                      <a:pt x="2586" y="1056"/>
                    </a:lnTo>
                    <a:lnTo>
                      <a:pt x="2574" y="1062"/>
                    </a:lnTo>
                    <a:lnTo>
                      <a:pt x="2556" y="1068"/>
                    </a:lnTo>
                    <a:lnTo>
                      <a:pt x="2526" y="1098"/>
                    </a:lnTo>
                    <a:lnTo>
                      <a:pt x="2526" y="1104"/>
                    </a:lnTo>
                    <a:close/>
                    <a:moveTo>
                      <a:pt x="3096" y="1068"/>
                    </a:moveTo>
                    <a:lnTo>
                      <a:pt x="3090" y="1068"/>
                    </a:lnTo>
                    <a:lnTo>
                      <a:pt x="3090" y="1062"/>
                    </a:lnTo>
                    <a:lnTo>
                      <a:pt x="3084" y="1062"/>
                    </a:lnTo>
                    <a:lnTo>
                      <a:pt x="3078" y="1056"/>
                    </a:lnTo>
                    <a:lnTo>
                      <a:pt x="3066" y="1056"/>
                    </a:lnTo>
                    <a:lnTo>
                      <a:pt x="3048" y="1062"/>
                    </a:lnTo>
                    <a:lnTo>
                      <a:pt x="3024" y="1086"/>
                    </a:lnTo>
                    <a:lnTo>
                      <a:pt x="3012" y="1122"/>
                    </a:lnTo>
                    <a:lnTo>
                      <a:pt x="3012" y="1134"/>
                    </a:lnTo>
                    <a:lnTo>
                      <a:pt x="3072" y="1128"/>
                    </a:lnTo>
                    <a:lnTo>
                      <a:pt x="3084" y="1128"/>
                    </a:lnTo>
                    <a:lnTo>
                      <a:pt x="3090" y="1122"/>
                    </a:lnTo>
                    <a:lnTo>
                      <a:pt x="3102" y="1092"/>
                    </a:lnTo>
                    <a:lnTo>
                      <a:pt x="3096" y="1068"/>
                    </a:lnTo>
                    <a:close/>
                    <a:moveTo>
                      <a:pt x="2778" y="942"/>
                    </a:moveTo>
                    <a:lnTo>
                      <a:pt x="2766" y="960"/>
                    </a:lnTo>
                    <a:lnTo>
                      <a:pt x="2766" y="1014"/>
                    </a:lnTo>
                    <a:lnTo>
                      <a:pt x="2784" y="1014"/>
                    </a:lnTo>
                    <a:lnTo>
                      <a:pt x="2778" y="996"/>
                    </a:lnTo>
                    <a:lnTo>
                      <a:pt x="2790" y="990"/>
                    </a:lnTo>
                    <a:lnTo>
                      <a:pt x="2790" y="972"/>
                    </a:lnTo>
                    <a:lnTo>
                      <a:pt x="2778" y="972"/>
                    </a:lnTo>
                    <a:lnTo>
                      <a:pt x="2796" y="936"/>
                    </a:lnTo>
                    <a:lnTo>
                      <a:pt x="2814" y="906"/>
                    </a:lnTo>
                    <a:lnTo>
                      <a:pt x="2784" y="912"/>
                    </a:lnTo>
                    <a:lnTo>
                      <a:pt x="2778" y="942"/>
                    </a:lnTo>
                    <a:close/>
                    <a:moveTo>
                      <a:pt x="2136" y="600"/>
                    </a:moveTo>
                    <a:lnTo>
                      <a:pt x="2124" y="594"/>
                    </a:lnTo>
                    <a:lnTo>
                      <a:pt x="2118" y="594"/>
                    </a:lnTo>
                    <a:lnTo>
                      <a:pt x="2106" y="588"/>
                    </a:lnTo>
                    <a:lnTo>
                      <a:pt x="2088" y="588"/>
                    </a:lnTo>
                    <a:lnTo>
                      <a:pt x="2082" y="594"/>
                    </a:lnTo>
                    <a:lnTo>
                      <a:pt x="2082" y="600"/>
                    </a:lnTo>
                    <a:lnTo>
                      <a:pt x="2076" y="606"/>
                    </a:lnTo>
                    <a:lnTo>
                      <a:pt x="2082" y="612"/>
                    </a:lnTo>
                    <a:lnTo>
                      <a:pt x="2094" y="618"/>
                    </a:lnTo>
                    <a:lnTo>
                      <a:pt x="2136" y="618"/>
                    </a:lnTo>
                    <a:lnTo>
                      <a:pt x="2214" y="606"/>
                    </a:lnTo>
                    <a:lnTo>
                      <a:pt x="2136" y="600"/>
                    </a:lnTo>
                    <a:close/>
                    <a:moveTo>
                      <a:pt x="1308" y="1038"/>
                    </a:moveTo>
                    <a:lnTo>
                      <a:pt x="1368" y="1002"/>
                    </a:lnTo>
                    <a:lnTo>
                      <a:pt x="1362" y="990"/>
                    </a:lnTo>
                    <a:lnTo>
                      <a:pt x="1350" y="990"/>
                    </a:lnTo>
                    <a:lnTo>
                      <a:pt x="1332" y="996"/>
                    </a:lnTo>
                    <a:lnTo>
                      <a:pt x="1320" y="996"/>
                    </a:lnTo>
                    <a:lnTo>
                      <a:pt x="1302" y="1002"/>
                    </a:lnTo>
                    <a:lnTo>
                      <a:pt x="1290" y="1008"/>
                    </a:lnTo>
                    <a:lnTo>
                      <a:pt x="1284" y="1014"/>
                    </a:lnTo>
                    <a:lnTo>
                      <a:pt x="1284" y="1032"/>
                    </a:lnTo>
                    <a:lnTo>
                      <a:pt x="1290" y="1038"/>
                    </a:lnTo>
                    <a:lnTo>
                      <a:pt x="1308" y="1038"/>
                    </a:lnTo>
                    <a:close/>
                    <a:moveTo>
                      <a:pt x="1428" y="1116"/>
                    </a:moveTo>
                    <a:lnTo>
                      <a:pt x="1392" y="1116"/>
                    </a:lnTo>
                    <a:lnTo>
                      <a:pt x="1386" y="1146"/>
                    </a:lnTo>
                    <a:lnTo>
                      <a:pt x="1386" y="1152"/>
                    </a:lnTo>
                    <a:lnTo>
                      <a:pt x="1404" y="1170"/>
                    </a:lnTo>
                    <a:lnTo>
                      <a:pt x="1416" y="1176"/>
                    </a:lnTo>
                    <a:lnTo>
                      <a:pt x="1428" y="1164"/>
                    </a:lnTo>
                    <a:lnTo>
                      <a:pt x="1440" y="1140"/>
                    </a:lnTo>
                    <a:lnTo>
                      <a:pt x="1440" y="1128"/>
                    </a:lnTo>
                    <a:lnTo>
                      <a:pt x="1428" y="1116"/>
                    </a:lnTo>
                    <a:close/>
                    <a:moveTo>
                      <a:pt x="708" y="930"/>
                    </a:moveTo>
                    <a:lnTo>
                      <a:pt x="714" y="924"/>
                    </a:lnTo>
                    <a:lnTo>
                      <a:pt x="714" y="900"/>
                    </a:lnTo>
                    <a:lnTo>
                      <a:pt x="744" y="924"/>
                    </a:lnTo>
                    <a:lnTo>
                      <a:pt x="744" y="918"/>
                    </a:lnTo>
                    <a:lnTo>
                      <a:pt x="750" y="912"/>
                    </a:lnTo>
                    <a:lnTo>
                      <a:pt x="750" y="900"/>
                    </a:lnTo>
                    <a:lnTo>
                      <a:pt x="756" y="882"/>
                    </a:lnTo>
                    <a:lnTo>
                      <a:pt x="756" y="840"/>
                    </a:lnTo>
                    <a:lnTo>
                      <a:pt x="762" y="822"/>
                    </a:lnTo>
                    <a:lnTo>
                      <a:pt x="762" y="810"/>
                    </a:lnTo>
                    <a:lnTo>
                      <a:pt x="768" y="792"/>
                    </a:lnTo>
                    <a:lnTo>
                      <a:pt x="768" y="780"/>
                    </a:lnTo>
                    <a:lnTo>
                      <a:pt x="762" y="774"/>
                    </a:lnTo>
                    <a:lnTo>
                      <a:pt x="756" y="762"/>
                    </a:lnTo>
                    <a:lnTo>
                      <a:pt x="756" y="750"/>
                    </a:lnTo>
                    <a:lnTo>
                      <a:pt x="768" y="726"/>
                    </a:lnTo>
                    <a:lnTo>
                      <a:pt x="774" y="720"/>
                    </a:lnTo>
                    <a:lnTo>
                      <a:pt x="774" y="714"/>
                    </a:lnTo>
                    <a:lnTo>
                      <a:pt x="756" y="696"/>
                    </a:lnTo>
                    <a:lnTo>
                      <a:pt x="744" y="654"/>
                    </a:lnTo>
                    <a:lnTo>
                      <a:pt x="702" y="654"/>
                    </a:lnTo>
                    <a:lnTo>
                      <a:pt x="702" y="618"/>
                    </a:lnTo>
                    <a:lnTo>
                      <a:pt x="666" y="618"/>
                    </a:lnTo>
                    <a:lnTo>
                      <a:pt x="660" y="546"/>
                    </a:lnTo>
                    <a:lnTo>
                      <a:pt x="606" y="546"/>
                    </a:lnTo>
                    <a:lnTo>
                      <a:pt x="594" y="534"/>
                    </a:lnTo>
                    <a:lnTo>
                      <a:pt x="594" y="504"/>
                    </a:lnTo>
                    <a:lnTo>
                      <a:pt x="600" y="498"/>
                    </a:lnTo>
                    <a:lnTo>
                      <a:pt x="606" y="486"/>
                    </a:lnTo>
                    <a:lnTo>
                      <a:pt x="582" y="486"/>
                    </a:lnTo>
                    <a:lnTo>
                      <a:pt x="600" y="468"/>
                    </a:lnTo>
                    <a:lnTo>
                      <a:pt x="606" y="456"/>
                    </a:lnTo>
                    <a:lnTo>
                      <a:pt x="612" y="450"/>
                    </a:lnTo>
                    <a:lnTo>
                      <a:pt x="612" y="438"/>
                    </a:lnTo>
                    <a:lnTo>
                      <a:pt x="600" y="426"/>
                    </a:lnTo>
                    <a:lnTo>
                      <a:pt x="588" y="432"/>
                    </a:lnTo>
                    <a:lnTo>
                      <a:pt x="570" y="432"/>
                    </a:lnTo>
                    <a:lnTo>
                      <a:pt x="552" y="438"/>
                    </a:lnTo>
                    <a:lnTo>
                      <a:pt x="540" y="438"/>
                    </a:lnTo>
                    <a:lnTo>
                      <a:pt x="534" y="444"/>
                    </a:lnTo>
                    <a:lnTo>
                      <a:pt x="528" y="444"/>
                    </a:lnTo>
                    <a:lnTo>
                      <a:pt x="534" y="438"/>
                    </a:lnTo>
                    <a:lnTo>
                      <a:pt x="546" y="432"/>
                    </a:lnTo>
                    <a:lnTo>
                      <a:pt x="552" y="420"/>
                    </a:lnTo>
                    <a:lnTo>
                      <a:pt x="558" y="414"/>
                    </a:lnTo>
                    <a:lnTo>
                      <a:pt x="558" y="402"/>
                    </a:lnTo>
                    <a:lnTo>
                      <a:pt x="546" y="396"/>
                    </a:lnTo>
                    <a:lnTo>
                      <a:pt x="534" y="396"/>
                    </a:lnTo>
                    <a:lnTo>
                      <a:pt x="522" y="390"/>
                    </a:lnTo>
                    <a:lnTo>
                      <a:pt x="510" y="390"/>
                    </a:lnTo>
                    <a:lnTo>
                      <a:pt x="516" y="384"/>
                    </a:lnTo>
                    <a:lnTo>
                      <a:pt x="516" y="378"/>
                    </a:lnTo>
                    <a:lnTo>
                      <a:pt x="504" y="354"/>
                    </a:lnTo>
                    <a:lnTo>
                      <a:pt x="492" y="342"/>
                    </a:lnTo>
                    <a:lnTo>
                      <a:pt x="480" y="336"/>
                    </a:lnTo>
                    <a:lnTo>
                      <a:pt x="462" y="330"/>
                    </a:lnTo>
                    <a:lnTo>
                      <a:pt x="456" y="324"/>
                    </a:lnTo>
                    <a:lnTo>
                      <a:pt x="450" y="324"/>
                    </a:lnTo>
                    <a:lnTo>
                      <a:pt x="450" y="318"/>
                    </a:lnTo>
                    <a:lnTo>
                      <a:pt x="444" y="312"/>
                    </a:lnTo>
                    <a:lnTo>
                      <a:pt x="438" y="300"/>
                    </a:lnTo>
                    <a:lnTo>
                      <a:pt x="438" y="288"/>
                    </a:lnTo>
                    <a:lnTo>
                      <a:pt x="426" y="276"/>
                    </a:lnTo>
                    <a:lnTo>
                      <a:pt x="414" y="276"/>
                    </a:lnTo>
                    <a:lnTo>
                      <a:pt x="408" y="282"/>
                    </a:lnTo>
                    <a:lnTo>
                      <a:pt x="414" y="306"/>
                    </a:lnTo>
                    <a:lnTo>
                      <a:pt x="408" y="300"/>
                    </a:lnTo>
                    <a:lnTo>
                      <a:pt x="396" y="294"/>
                    </a:lnTo>
                    <a:lnTo>
                      <a:pt x="360" y="258"/>
                    </a:lnTo>
                    <a:lnTo>
                      <a:pt x="360" y="246"/>
                    </a:lnTo>
                    <a:lnTo>
                      <a:pt x="354" y="240"/>
                    </a:lnTo>
                    <a:lnTo>
                      <a:pt x="348" y="228"/>
                    </a:lnTo>
                    <a:lnTo>
                      <a:pt x="342" y="222"/>
                    </a:lnTo>
                    <a:lnTo>
                      <a:pt x="342" y="216"/>
                    </a:lnTo>
                    <a:lnTo>
                      <a:pt x="330" y="210"/>
                    </a:lnTo>
                    <a:lnTo>
                      <a:pt x="312" y="192"/>
                    </a:lnTo>
                    <a:lnTo>
                      <a:pt x="294" y="186"/>
                    </a:lnTo>
                    <a:lnTo>
                      <a:pt x="288" y="174"/>
                    </a:lnTo>
                    <a:lnTo>
                      <a:pt x="276" y="168"/>
                    </a:lnTo>
                    <a:lnTo>
                      <a:pt x="264" y="156"/>
                    </a:lnTo>
                    <a:lnTo>
                      <a:pt x="252" y="150"/>
                    </a:lnTo>
                    <a:lnTo>
                      <a:pt x="240" y="138"/>
                    </a:lnTo>
                    <a:lnTo>
                      <a:pt x="234" y="126"/>
                    </a:lnTo>
                    <a:lnTo>
                      <a:pt x="222" y="120"/>
                    </a:lnTo>
                    <a:lnTo>
                      <a:pt x="222" y="102"/>
                    </a:lnTo>
                    <a:lnTo>
                      <a:pt x="204" y="84"/>
                    </a:lnTo>
                    <a:lnTo>
                      <a:pt x="198" y="72"/>
                    </a:lnTo>
                    <a:lnTo>
                      <a:pt x="168" y="42"/>
                    </a:lnTo>
                    <a:lnTo>
                      <a:pt x="150" y="42"/>
                    </a:lnTo>
                    <a:lnTo>
                      <a:pt x="66" y="36"/>
                    </a:lnTo>
                    <a:lnTo>
                      <a:pt x="42" y="12"/>
                    </a:lnTo>
                    <a:lnTo>
                      <a:pt x="30" y="6"/>
                    </a:lnTo>
                    <a:lnTo>
                      <a:pt x="24" y="0"/>
                    </a:lnTo>
                    <a:lnTo>
                      <a:pt x="18" y="0"/>
                    </a:lnTo>
                    <a:lnTo>
                      <a:pt x="6" y="6"/>
                    </a:lnTo>
                    <a:lnTo>
                      <a:pt x="0" y="18"/>
                    </a:lnTo>
                    <a:lnTo>
                      <a:pt x="0" y="48"/>
                    </a:lnTo>
                    <a:lnTo>
                      <a:pt x="6" y="60"/>
                    </a:lnTo>
                    <a:lnTo>
                      <a:pt x="18" y="78"/>
                    </a:lnTo>
                    <a:lnTo>
                      <a:pt x="66" y="126"/>
                    </a:lnTo>
                    <a:lnTo>
                      <a:pt x="96" y="150"/>
                    </a:lnTo>
                    <a:lnTo>
                      <a:pt x="126" y="180"/>
                    </a:lnTo>
                    <a:lnTo>
                      <a:pt x="162" y="234"/>
                    </a:lnTo>
                    <a:lnTo>
                      <a:pt x="174" y="228"/>
                    </a:lnTo>
                    <a:lnTo>
                      <a:pt x="174" y="252"/>
                    </a:lnTo>
                    <a:lnTo>
                      <a:pt x="180" y="264"/>
                    </a:lnTo>
                    <a:lnTo>
                      <a:pt x="186" y="270"/>
                    </a:lnTo>
                    <a:lnTo>
                      <a:pt x="198" y="276"/>
                    </a:lnTo>
                    <a:lnTo>
                      <a:pt x="216" y="288"/>
                    </a:lnTo>
                    <a:lnTo>
                      <a:pt x="228" y="300"/>
                    </a:lnTo>
                    <a:lnTo>
                      <a:pt x="246" y="312"/>
                    </a:lnTo>
                    <a:lnTo>
                      <a:pt x="258" y="324"/>
                    </a:lnTo>
                    <a:lnTo>
                      <a:pt x="264" y="336"/>
                    </a:lnTo>
                    <a:lnTo>
                      <a:pt x="276" y="372"/>
                    </a:lnTo>
                    <a:lnTo>
                      <a:pt x="276" y="384"/>
                    </a:lnTo>
                    <a:lnTo>
                      <a:pt x="282" y="390"/>
                    </a:lnTo>
                    <a:lnTo>
                      <a:pt x="282" y="426"/>
                    </a:lnTo>
                    <a:lnTo>
                      <a:pt x="288" y="438"/>
                    </a:lnTo>
                    <a:lnTo>
                      <a:pt x="288" y="444"/>
                    </a:lnTo>
                    <a:lnTo>
                      <a:pt x="294" y="450"/>
                    </a:lnTo>
                    <a:lnTo>
                      <a:pt x="300" y="450"/>
                    </a:lnTo>
                    <a:lnTo>
                      <a:pt x="312" y="444"/>
                    </a:lnTo>
                    <a:lnTo>
                      <a:pt x="324" y="444"/>
                    </a:lnTo>
                    <a:lnTo>
                      <a:pt x="324" y="450"/>
                    </a:lnTo>
                    <a:lnTo>
                      <a:pt x="330" y="462"/>
                    </a:lnTo>
                    <a:lnTo>
                      <a:pt x="330" y="474"/>
                    </a:lnTo>
                    <a:lnTo>
                      <a:pt x="336" y="480"/>
                    </a:lnTo>
                    <a:lnTo>
                      <a:pt x="336" y="486"/>
                    </a:lnTo>
                    <a:lnTo>
                      <a:pt x="378" y="522"/>
                    </a:lnTo>
                    <a:lnTo>
                      <a:pt x="372" y="546"/>
                    </a:lnTo>
                    <a:lnTo>
                      <a:pt x="408" y="606"/>
                    </a:lnTo>
                    <a:lnTo>
                      <a:pt x="402" y="618"/>
                    </a:lnTo>
                    <a:lnTo>
                      <a:pt x="402" y="636"/>
                    </a:lnTo>
                    <a:lnTo>
                      <a:pt x="408" y="648"/>
                    </a:lnTo>
                    <a:lnTo>
                      <a:pt x="438" y="678"/>
                    </a:lnTo>
                    <a:lnTo>
                      <a:pt x="438" y="684"/>
                    </a:lnTo>
                    <a:lnTo>
                      <a:pt x="444" y="690"/>
                    </a:lnTo>
                    <a:lnTo>
                      <a:pt x="462" y="726"/>
                    </a:lnTo>
                    <a:lnTo>
                      <a:pt x="498" y="744"/>
                    </a:lnTo>
                    <a:lnTo>
                      <a:pt x="504" y="750"/>
                    </a:lnTo>
                    <a:lnTo>
                      <a:pt x="510" y="750"/>
                    </a:lnTo>
                    <a:lnTo>
                      <a:pt x="510" y="786"/>
                    </a:lnTo>
                    <a:lnTo>
                      <a:pt x="522" y="792"/>
                    </a:lnTo>
                    <a:lnTo>
                      <a:pt x="528" y="804"/>
                    </a:lnTo>
                    <a:lnTo>
                      <a:pt x="540" y="810"/>
                    </a:lnTo>
                    <a:lnTo>
                      <a:pt x="564" y="834"/>
                    </a:lnTo>
                    <a:lnTo>
                      <a:pt x="576" y="840"/>
                    </a:lnTo>
                    <a:lnTo>
                      <a:pt x="594" y="858"/>
                    </a:lnTo>
                    <a:lnTo>
                      <a:pt x="600" y="858"/>
                    </a:lnTo>
                    <a:lnTo>
                      <a:pt x="606" y="864"/>
                    </a:lnTo>
                    <a:lnTo>
                      <a:pt x="612" y="864"/>
                    </a:lnTo>
                    <a:lnTo>
                      <a:pt x="612" y="870"/>
                    </a:lnTo>
                    <a:lnTo>
                      <a:pt x="618" y="876"/>
                    </a:lnTo>
                    <a:lnTo>
                      <a:pt x="630" y="900"/>
                    </a:lnTo>
                    <a:lnTo>
                      <a:pt x="642" y="912"/>
                    </a:lnTo>
                    <a:lnTo>
                      <a:pt x="654" y="936"/>
                    </a:lnTo>
                    <a:lnTo>
                      <a:pt x="660" y="942"/>
                    </a:lnTo>
                    <a:lnTo>
                      <a:pt x="660" y="906"/>
                    </a:lnTo>
                    <a:lnTo>
                      <a:pt x="672" y="906"/>
                    </a:lnTo>
                    <a:lnTo>
                      <a:pt x="684" y="918"/>
                    </a:lnTo>
                    <a:lnTo>
                      <a:pt x="696" y="924"/>
                    </a:lnTo>
                    <a:lnTo>
                      <a:pt x="702" y="930"/>
                    </a:lnTo>
                    <a:lnTo>
                      <a:pt x="708" y="930"/>
                    </a:lnTo>
                    <a:close/>
                    <a:moveTo>
                      <a:pt x="2118" y="1194"/>
                    </a:moveTo>
                    <a:lnTo>
                      <a:pt x="2106" y="1176"/>
                    </a:lnTo>
                    <a:lnTo>
                      <a:pt x="2088" y="1176"/>
                    </a:lnTo>
                    <a:lnTo>
                      <a:pt x="2064" y="1200"/>
                    </a:lnTo>
                    <a:lnTo>
                      <a:pt x="2064" y="1212"/>
                    </a:lnTo>
                    <a:lnTo>
                      <a:pt x="2052" y="1212"/>
                    </a:lnTo>
                    <a:lnTo>
                      <a:pt x="2040" y="1218"/>
                    </a:lnTo>
                    <a:lnTo>
                      <a:pt x="2010" y="1248"/>
                    </a:lnTo>
                    <a:lnTo>
                      <a:pt x="1998" y="1272"/>
                    </a:lnTo>
                    <a:lnTo>
                      <a:pt x="1992" y="1278"/>
                    </a:lnTo>
                    <a:lnTo>
                      <a:pt x="1992" y="1290"/>
                    </a:lnTo>
                    <a:lnTo>
                      <a:pt x="2004" y="1302"/>
                    </a:lnTo>
                    <a:lnTo>
                      <a:pt x="2022" y="1302"/>
                    </a:lnTo>
                    <a:lnTo>
                      <a:pt x="2052" y="1284"/>
                    </a:lnTo>
                    <a:lnTo>
                      <a:pt x="2082" y="1260"/>
                    </a:lnTo>
                    <a:lnTo>
                      <a:pt x="2106" y="1242"/>
                    </a:lnTo>
                    <a:lnTo>
                      <a:pt x="2100" y="1236"/>
                    </a:lnTo>
                    <a:lnTo>
                      <a:pt x="2100" y="1224"/>
                    </a:lnTo>
                    <a:lnTo>
                      <a:pt x="2112" y="1200"/>
                    </a:lnTo>
                    <a:lnTo>
                      <a:pt x="2118" y="1194"/>
                    </a:lnTo>
                    <a:close/>
                    <a:moveTo>
                      <a:pt x="1374" y="1128"/>
                    </a:moveTo>
                    <a:lnTo>
                      <a:pt x="1374" y="1116"/>
                    </a:lnTo>
                    <a:lnTo>
                      <a:pt x="1368" y="1110"/>
                    </a:lnTo>
                    <a:lnTo>
                      <a:pt x="1344" y="1098"/>
                    </a:lnTo>
                    <a:lnTo>
                      <a:pt x="1332" y="1098"/>
                    </a:lnTo>
                    <a:lnTo>
                      <a:pt x="1320" y="1092"/>
                    </a:lnTo>
                    <a:lnTo>
                      <a:pt x="1314" y="1092"/>
                    </a:lnTo>
                    <a:lnTo>
                      <a:pt x="1302" y="1098"/>
                    </a:lnTo>
                    <a:lnTo>
                      <a:pt x="1296" y="1104"/>
                    </a:lnTo>
                    <a:lnTo>
                      <a:pt x="1296" y="1116"/>
                    </a:lnTo>
                    <a:lnTo>
                      <a:pt x="1290" y="1122"/>
                    </a:lnTo>
                    <a:lnTo>
                      <a:pt x="1290" y="1134"/>
                    </a:lnTo>
                    <a:lnTo>
                      <a:pt x="1254" y="1104"/>
                    </a:lnTo>
                    <a:lnTo>
                      <a:pt x="1260" y="1092"/>
                    </a:lnTo>
                    <a:lnTo>
                      <a:pt x="1260" y="1080"/>
                    </a:lnTo>
                    <a:lnTo>
                      <a:pt x="1266" y="1068"/>
                    </a:lnTo>
                    <a:lnTo>
                      <a:pt x="1266" y="1050"/>
                    </a:lnTo>
                    <a:lnTo>
                      <a:pt x="1260" y="1038"/>
                    </a:lnTo>
                    <a:lnTo>
                      <a:pt x="1254" y="1032"/>
                    </a:lnTo>
                    <a:lnTo>
                      <a:pt x="1242" y="1026"/>
                    </a:lnTo>
                    <a:lnTo>
                      <a:pt x="1188" y="1026"/>
                    </a:lnTo>
                    <a:lnTo>
                      <a:pt x="1158" y="1008"/>
                    </a:lnTo>
                    <a:lnTo>
                      <a:pt x="1158" y="984"/>
                    </a:lnTo>
                    <a:lnTo>
                      <a:pt x="1116" y="984"/>
                    </a:lnTo>
                    <a:lnTo>
                      <a:pt x="1116" y="996"/>
                    </a:lnTo>
                    <a:lnTo>
                      <a:pt x="1110" y="1008"/>
                    </a:lnTo>
                    <a:lnTo>
                      <a:pt x="1110" y="1026"/>
                    </a:lnTo>
                    <a:lnTo>
                      <a:pt x="1086" y="1026"/>
                    </a:lnTo>
                    <a:lnTo>
                      <a:pt x="1074" y="1020"/>
                    </a:lnTo>
                    <a:lnTo>
                      <a:pt x="1056" y="1014"/>
                    </a:lnTo>
                    <a:lnTo>
                      <a:pt x="1044" y="1014"/>
                    </a:lnTo>
                    <a:lnTo>
                      <a:pt x="1032" y="1008"/>
                    </a:lnTo>
                    <a:lnTo>
                      <a:pt x="966" y="1008"/>
                    </a:lnTo>
                    <a:lnTo>
                      <a:pt x="960" y="996"/>
                    </a:lnTo>
                    <a:lnTo>
                      <a:pt x="948" y="990"/>
                    </a:lnTo>
                    <a:lnTo>
                      <a:pt x="942" y="978"/>
                    </a:lnTo>
                    <a:lnTo>
                      <a:pt x="918" y="954"/>
                    </a:lnTo>
                    <a:lnTo>
                      <a:pt x="900" y="954"/>
                    </a:lnTo>
                    <a:lnTo>
                      <a:pt x="888" y="960"/>
                    </a:lnTo>
                    <a:lnTo>
                      <a:pt x="876" y="954"/>
                    </a:lnTo>
                    <a:lnTo>
                      <a:pt x="870" y="948"/>
                    </a:lnTo>
                    <a:lnTo>
                      <a:pt x="858" y="942"/>
                    </a:lnTo>
                    <a:lnTo>
                      <a:pt x="846" y="942"/>
                    </a:lnTo>
                    <a:lnTo>
                      <a:pt x="840" y="936"/>
                    </a:lnTo>
                    <a:lnTo>
                      <a:pt x="822" y="936"/>
                    </a:lnTo>
                    <a:lnTo>
                      <a:pt x="810" y="930"/>
                    </a:lnTo>
                    <a:lnTo>
                      <a:pt x="792" y="930"/>
                    </a:lnTo>
                    <a:lnTo>
                      <a:pt x="786" y="924"/>
                    </a:lnTo>
                    <a:lnTo>
                      <a:pt x="762" y="924"/>
                    </a:lnTo>
                    <a:lnTo>
                      <a:pt x="750" y="930"/>
                    </a:lnTo>
                    <a:lnTo>
                      <a:pt x="738" y="954"/>
                    </a:lnTo>
                    <a:lnTo>
                      <a:pt x="738" y="966"/>
                    </a:lnTo>
                    <a:lnTo>
                      <a:pt x="732" y="978"/>
                    </a:lnTo>
                    <a:lnTo>
                      <a:pt x="720" y="990"/>
                    </a:lnTo>
                    <a:lnTo>
                      <a:pt x="714" y="990"/>
                    </a:lnTo>
                    <a:lnTo>
                      <a:pt x="702" y="1002"/>
                    </a:lnTo>
                    <a:lnTo>
                      <a:pt x="702" y="1014"/>
                    </a:lnTo>
                    <a:lnTo>
                      <a:pt x="738" y="1008"/>
                    </a:lnTo>
                    <a:lnTo>
                      <a:pt x="786" y="1008"/>
                    </a:lnTo>
                    <a:lnTo>
                      <a:pt x="780" y="1014"/>
                    </a:lnTo>
                    <a:lnTo>
                      <a:pt x="768" y="1020"/>
                    </a:lnTo>
                    <a:lnTo>
                      <a:pt x="762" y="1032"/>
                    </a:lnTo>
                    <a:lnTo>
                      <a:pt x="762" y="1044"/>
                    </a:lnTo>
                    <a:lnTo>
                      <a:pt x="774" y="1050"/>
                    </a:lnTo>
                    <a:lnTo>
                      <a:pt x="780" y="1050"/>
                    </a:lnTo>
                    <a:lnTo>
                      <a:pt x="798" y="1044"/>
                    </a:lnTo>
                    <a:lnTo>
                      <a:pt x="810" y="1044"/>
                    </a:lnTo>
                    <a:lnTo>
                      <a:pt x="816" y="1038"/>
                    </a:lnTo>
                    <a:lnTo>
                      <a:pt x="828" y="1032"/>
                    </a:lnTo>
                    <a:lnTo>
                      <a:pt x="840" y="1038"/>
                    </a:lnTo>
                    <a:lnTo>
                      <a:pt x="870" y="1056"/>
                    </a:lnTo>
                    <a:lnTo>
                      <a:pt x="900" y="1068"/>
                    </a:lnTo>
                    <a:lnTo>
                      <a:pt x="924" y="1080"/>
                    </a:lnTo>
                    <a:lnTo>
                      <a:pt x="960" y="1086"/>
                    </a:lnTo>
                    <a:lnTo>
                      <a:pt x="1014" y="1092"/>
                    </a:lnTo>
                    <a:lnTo>
                      <a:pt x="1062" y="1092"/>
                    </a:lnTo>
                    <a:lnTo>
                      <a:pt x="1080" y="1110"/>
                    </a:lnTo>
                    <a:lnTo>
                      <a:pt x="1086" y="1122"/>
                    </a:lnTo>
                    <a:lnTo>
                      <a:pt x="1098" y="1128"/>
                    </a:lnTo>
                    <a:lnTo>
                      <a:pt x="1110" y="1140"/>
                    </a:lnTo>
                    <a:lnTo>
                      <a:pt x="1128" y="1146"/>
                    </a:lnTo>
                    <a:lnTo>
                      <a:pt x="1152" y="1152"/>
                    </a:lnTo>
                    <a:lnTo>
                      <a:pt x="1170" y="1152"/>
                    </a:lnTo>
                    <a:lnTo>
                      <a:pt x="1182" y="1158"/>
                    </a:lnTo>
                    <a:lnTo>
                      <a:pt x="1248" y="1158"/>
                    </a:lnTo>
                    <a:lnTo>
                      <a:pt x="1260" y="1164"/>
                    </a:lnTo>
                    <a:lnTo>
                      <a:pt x="1278" y="1170"/>
                    </a:lnTo>
                    <a:lnTo>
                      <a:pt x="1290" y="1182"/>
                    </a:lnTo>
                    <a:lnTo>
                      <a:pt x="1302" y="1188"/>
                    </a:lnTo>
                    <a:lnTo>
                      <a:pt x="1320" y="1206"/>
                    </a:lnTo>
                    <a:lnTo>
                      <a:pt x="1338" y="1206"/>
                    </a:lnTo>
                    <a:lnTo>
                      <a:pt x="1350" y="1200"/>
                    </a:lnTo>
                    <a:lnTo>
                      <a:pt x="1356" y="1206"/>
                    </a:lnTo>
                    <a:lnTo>
                      <a:pt x="1374" y="1206"/>
                    </a:lnTo>
                    <a:lnTo>
                      <a:pt x="1374" y="1194"/>
                    </a:lnTo>
                    <a:lnTo>
                      <a:pt x="1368" y="1182"/>
                    </a:lnTo>
                    <a:lnTo>
                      <a:pt x="1362" y="1176"/>
                    </a:lnTo>
                    <a:lnTo>
                      <a:pt x="1356" y="1164"/>
                    </a:lnTo>
                    <a:lnTo>
                      <a:pt x="1374" y="1146"/>
                    </a:lnTo>
                    <a:lnTo>
                      <a:pt x="1374" y="1128"/>
                    </a:lnTo>
                    <a:close/>
                    <a:moveTo>
                      <a:pt x="1500" y="726"/>
                    </a:moveTo>
                    <a:lnTo>
                      <a:pt x="1542" y="684"/>
                    </a:lnTo>
                    <a:lnTo>
                      <a:pt x="1548" y="672"/>
                    </a:lnTo>
                    <a:lnTo>
                      <a:pt x="1554" y="654"/>
                    </a:lnTo>
                    <a:lnTo>
                      <a:pt x="1560" y="642"/>
                    </a:lnTo>
                    <a:lnTo>
                      <a:pt x="1566" y="624"/>
                    </a:lnTo>
                    <a:lnTo>
                      <a:pt x="1566" y="612"/>
                    </a:lnTo>
                    <a:lnTo>
                      <a:pt x="1572" y="606"/>
                    </a:lnTo>
                    <a:lnTo>
                      <a:pt x="1572" y="600"/>
                    </a:lnTo>
                    <a:lnTo>
                      <a:pt x="1566" y="600"/>
                    </a:lnTo>
                    <a:lnTo>
                      <a:pt x="1554" y="594"/>
                    </a:lnTo>
                    <a:lnTo>
                      <a:pt x="1542" y="582"/>
                    </a:lnTo>
                    <a:lnTo>
                      <a:pt x="1542" y="564"/>
                    </a:lnTo>
                    <a:lnTo>
                      <a:pt x="1554" y="516"/>
                    </a:lnTo>
                    <a:lnTo>
                      <a:pt x="1590" y="498"/>
                    </a:lnTo>
                    <a:lnTo>
                      <a:pt x="1626" y="498"/>
                    </a:lnTo>
                    <a:lnTo>
                      <a:pt x="1632" y="486"/>
                    </a:lnTo>
                    <a:lnTo>
                      <a:pt x="1638" y="480"/>
                    </a:lnTo>
                    <a:lnTo>
                      <a:pt x="1644" y="468"/>
                    </a:lnTo>
                    <a:lnTo>
                      <a:pt x="1644" y="444"/>
                    </a:lnTo>
                    <a:lnTo>
                      <a:pt x="1626" y="444"/>
                    </a:lnTo>
                    <a:lnTo>
                      <a:pt x="1620" y="450"/>
                    </a:lnTo>
                    <a:lnTo>
                      <a:pt x="1608" y="450"/>
                    </a:lnTo>
                    <a:lnTo>
                      <a:pt x="1608" y="438"/>
                    </a:lnTo>
                    <a:lnTo>
                      <a:pt x="1614" y="420"/>
                    </a:lnTo>
                    <a:lnTo>
                      <a:pt x="1626" y="408"/>
                    </a:lnTo>
                    <a:lnTo>
                      <a:pt x="1650" y="396"/>
                    </a:lnTo>
                    <a:lnTo>
                      <a:pt x="1662" y="396"/>
                    </a:lnTo>
                    <a:lnTo>
                      <a:pt x="1680" y="402"/>
                    </a:lnTo>
                    <a:lnTo>
                      <a:pt x="1704" y="402"/>
                    </a:lnTo>
                    <a:lnTo>
                      <a:pt x="1716" y="390"/>
                    </a:lnTo>
                    <a:lnTo>
                      <a:pt x="1716" y="384"/>
                    </a:lnTo>
                    <a:lnTo>
                      <a:pt x="1680" y="348"/>
                    </a:lnTo>
                    <a:lnTo>
                      <a:pt x="1680" y="312"/>
                    </a:lnTo>
                    <a:lnTo>
                      <a:pt x="1668" y="312"/>
                    </a:lnTo>
                    <a:lnTo>
                      <a:pt x="1650" y="294"/>
                    </a:lnTo>
                    <a:lnTo>
                      <a:pt x="1650" y="282"/>
                    </a:lnTo>
                    <a:lnTo>
                      <a:pt x="1662" y="270"/>
                    </a:lnTo>
                    <a:lnTo>
                      <a:pt x="1668" y="258"/>
                    </a:lnTo>
                    <a:lnTo>
                      <a:pt x="1668" y="246"/>
                    </a:lnTo>
                    <a:lnTo>
                      <a:pt x="1662" y="240"/>
                    </a:lnTo>
                    <a:lnTo>
                      <a:pt x="1638" y="228"/>
                    </a:lnTo>
                    <a:lnTo>
                      <a:pt x="1614" y="228"/>
                    </a:lnTo>
                    <a:lnTo>
                      <a:pt x="1632" y="198"/>
                    </a:lnTo>
                    <a:lnTo>
                      <a:pt x="1614" y="192"/>
                    </a:lnTo>
                    <a:lnTo>
                      <a:pt x="1620" y="162"/>
                    </a:lnTo>
                    <a:lnTo>
                      <a:pt x="1608" y="144"/>
                    </a:lnTo>
                    <a:lnTo>
                      <a:pt x="1602" y="138"/>
                    </a:lnTo>
                    <a:lnTo>
                      <a:pt x="1590" y="132"/>
                    </a:lnTo>
                    <a:lnTo>
                      <a:pt x="1566" y="108"/>
                    </a:lnTo>
                    <a:lnTo>
                      <a:pt x="1470" y="108"/>
                    </a:lnTo>
                    <a:lnTo>
                      <a:pt x="1464" y="114"/>
                    </a:lnTo>
                    <a:lnTo>
                      <a:pt x="1458" y="126"/>
                    </a:lnTo>
                    <a:lnTo>
                      <a:pt x="1458" y="180"/>
                    </a:lnTo>
                    <a:lnTo>
                      <a:pt x="1452" y="198"/>
                    </a:lnTo>
                    <a:lnTo>
                      <a:pt x="1452" y="204"/>
                    </a:lnTo>
                    <a:lnTo>
                      <a:pt x="1446" y="216"/>
                    </a:lnTo>
                    <a:lnTo>
                      <a:pt x="1428" y="216"/>
                    </a:lnTo>
                    <a:lnTo>
                      <a:pt x="1422" y="222"/>
                    </a:lnTo>
                    <a:lnTo>
                      <a:pt x="1422" y="246"/>
                    </a:lnTo>
                    <a:lnTo>
                      <a:pt x="1428" y="252"/>
                    </a:lnTo>
                    <a:lnTo>
                      <a:pt x="1434" y="264"/>
                    </a:lnTo>
                    <a:lnTo>
                      <a:pt x="1398" y="294"/>
                    </a:lnTo>
                    <a:lnTo>
                      <a:pt x="1404" y="306"/>
                    </a:lnTo>
                    <a:lnTo>
                      <a:pt x="1374" y="342"/>
                    </a:lnTo>
                    <a:lnTo>
                      <a:pt x="1350" y="342"/>
                    </a:lnTo>
                    <a:lnTo>
                      <a:pt x="1344" y="348"/>
                    </a:lnTo>
                    <a:lnTo>
                      <a:pt x="1332" y="354"/>
                    </a:lnTo>
                    <a:lnTo>
                      <a:pt x="1320" y="366"/>
                    </a:lnTo>
                    <a:lnTo>
                      <a:pt x="1314" y="366"/>
                    </a:lnTo>
                    <a:lnTo>
                      <a:pt x="1308" y="360"/>
                    </a:lnTo>
                    <a:lnTo>
                      <a:pt x="1284" y="348"/>
                    </a:lnTo>
                    <a:lnTo>
                      <a:pt x="1272" y="336"/>
                    </a:lnTo>
                    <a:lnTo>
                      <a:pt x="1230" y="336"/>
                    </a:lnTo>
                    <a:lnTo>
                      <a:pt x="1224" y="348"/>
                    </a:lnTo>
                    <a:lnTo>
                      <a:pt x="1194" y="378"/>
                    </a:lnTo>
                    <a:lnTo>
                      <a:pt x="1170" y="378"/>
                    </a:lnTo>
                    <a:lnTo>
                      <a:pt x="1152" y="372"/>
                    </a:lnTo>
                    <a:lnTo>
                      <a:pt x="1128" y="372"/>
                    </a:lnTo>
                    <a:lnTo>
                      <a:pt x="1110" y="390"/>
                    </a:lnTo>
                    <a:lnTo>
                      <a:pt x="1104" y="390"/>
                    </a:lnTo>
                    <a:lnTo>
                      <a:pt x="1080" y="378"/>
                    </a:lnTo>
                    <a:lnTo>
                      <a:pt x="1074" y="372"/>
                    </a:lnTo>
                    <a:lnTo>
                      <a:pt x="1062" y="366"/>
                    </a:lnTo>
                    <a:lnTo>
                      <a:pt x="1050" y="354"/>
                    </a:lnTo>
                    <a:lnTo>
                      <a:pt x="1050" y="342"/>
                    </a:lnTo>
                    <a:lnTo>
                      <a:pt x="1044" y="336"/>
                    </a:lnTo>
                    <a:lnTo>
                      <a:pt x="1032" y="330"/>
                    </a:lnTo>
                    <a:lnTo>
                      <a:pt x="1008" y="330"/>
                    </a:lnTo>
                    <a:lnTo>
                      <a:pt x="996" y="336"/>
                    </a:lnTo>
                    <a:lnTo>
                      <a:pt x="990" y="348"/>
                    </a:lnTo>
                    <a:lnTo>
                      <a:pt x="978" y="366"/>
                    </a:lnTo>
                    <a:lnTo>
                      <a:pt x="972" y="384"/>
                    </a:lnTo>
                    <a:lnTo>
                      <a:pt x="972" y="402"/>
                    </a:lnTo>
                    <a:lnTo>
                      <a:pt x="966" y="408"/>
                    </a:lnTo>
                    <a:lnTo>
                      <a:pt x="966" y="414"/>
                    </a:lnTo>
                    <a:lnTo>
                      <a:pt x="990" y="444"/>
                    </a:lnTo>
                    <a:lnTo>
                      <a:pt x="1002" y="498"/>
                    </a:lnTo>
                    <a:lnTo>
                      <a:pt x="1050" y="528"/>
                    </a:lnTo>
                    <a:lnTo>
                      <a:pt x="1038" y="564"/>
                    </a:lnTo>
                    <a:lnTo>
                      <a:pt x="1068" y="582"/>
                    </a:lnTo>
                    <a:lnTo>
                      <a:pt x="1050" y="606"/>
                    </a:lnTo>
                    <a:lnTo>
                      <a:pt x="1068" y="636"/>
                    </a:lnTo>
                    <a:lnTo>
                      <a:pt x="1056" y="648"/>
                    </a:lnTo>
                    <a:lnTo>
                      <a:pt x="1068" y="702"/>
                    </a:lnTo>
                    <a:lnTo>
                      <a:pt x="1110" y="696"/>
                    </a:lnTo>
                    <a:lnTo>
                      <a:pt x="1140" y="708"/>
                    </a:lnTo>
                    <a:lnTo>
                      <a:pt x="1146" y="696"/>
                    </a:lnTo>
                    <a:lnTo>
                      <a:pt x="1170" y="672"/>
                    </a:lnTo>
                    <a:lnTo>
                      <a:pt x="1182" y="672"/>
                    </a:lnTo>
                    <a:lnTo>
                      <a:pt x="1182" y="690"/>
                    </a:lnTo>
                    <a:lnTo>
                      <a:pt x="1188" y="702"/>
                    </a:lnTo>
                    <a:lnTo>
                      <a:pt x="1188" y="726"/>
                    </a:lnTo>
                    <a:lnTo>
                      <a:pt x="1194" y="738"/>
                    </a:lnTo>
                    <a:lnTo>
                      <a:pt x="1212" y="738"/>
                    </a:lnTo>
                    <a:lnTo>
                      <a:pt x="1218" y="726"/>
                    </a:lnTo>
                    <a:lnTo>
                      <a:pt x="1218" y="720"/>
                    </a:lnTo>
                    <a:lnTo>
                      <a:pt x="1224" y="714"/>
                    </a:lnTo>
                    <a:lnTo>
                      <a:pt x="1224" y="708"/>
                    </a:lnTo>
                    <a:lnTo>
                      <a:pt x="1254" y="726"/>
                    </a:lnTo>
                    <a:lnTo>
                      <a:pt x="1266" y="720"/>
                    </a:lnTo>
                    <a:lnTo>
                      <a:pt x="1272" y="708"/>
                    </a:lnTo>
                    <a:lnTo>
                      <a:pt x="1284" y="702"/>
                    </a:lnTo>
                    <a:lnTo>
                      <a:pt x="1296" y="702"/>
                    </a:lnTo>
                    <a:lnTo>
                      <a:pt x="1296" y="714"/>
                    </a:lnTo>
                    <a:lnTo>
                      <a:pt x="1302" y="720"/>
                    </a:lnTo>
                    <a:lnTo>
                      <a:pt x="1302" y="738"/>
                    </a:lnTo>
                    <a:lnTo>
                      <a:pt x="1308" y="744"/>
                    </a:lnTo>
                    <a:lnTo>
                      <a:pt x="1332" y="744"/>
                    </a:lnTo>
                    <a:lnTo>
                      <a:pt x="1350" y="738"/>
                    </a:lnTo>
                    <a:lnTo>
                      <a:pt x="1362" y="732"/>
                    </a:lnTo>
                    <a:lnTo>
                      <a:pt x="1392" y="732"/>
                    </a:lnTo>
                    <a:lnTo>
                      <a:pt x="1404" y="744"/>
                    </a:lnTo>
                    <a:lnTo>
                      <a:pt x="1404" y="786"/>
                    </a:lnTo>
                    <a:lnTo>
                      <a:pt x="1398" y="798"/>
                    </a:lnTo>
                    <a:lnTo>
                      <a:pt x="1398" y="810"/>
                    </a:lnTo>
                    <a:lnTo>
                      <a:pt x="1404" y="810"/>
                    </a:lnTo>
                    <a:lnTo>
                      <a:pt x="1410" y="804"/>
                    </a:lnTo>
                    <a:lnTo>
                      <a:pt x="1422" y="798"/>
                    </a:lnTo>
                    <a:lnTo>
                      <a:pt x="1440" y="792"/>
                    </a:lnTo>
                    <a:lnTo>
                      <a:pt x="1452" y="786"/>
                    </a:lnTo>
                    <a:lnTo>
                      <a:pt x="1476" y="762"/>
                    </a:lnTo>
                    <a:lnTo>
                      <a:pt x="1482" y="750"/>
                    </a:lnTo>
                    <a:lnTo>
                      <a:pt x="1500" y="732"/>
                    </a:lnTo>
                    <a:lnTo>
                      <a:pt x="1500" y="726"/>
                    </a:lnTo>
                    <a:close/>
                    <a:moveTo>
                      <a:pt x="1476" y="1116"/>
                    </a:moveTo>
                    <a:lnTo>
                      <a:pt x="1470" y="1116"/>
                    </a:lnTo>
                    <a:lnTo>
                      <a:pt x="1458" y="1122"/>
                    </a:lnTo>
                    <a:lnTo>
                      <a:pt x="1452" y="1128"/>
                    </a:lnTo>
                    <a:lnTo>
                      <a:pt x="1458" y="1134"/>
                    </a:lnTo>
                    <a:lnTo>
                      <a:pt x="1470" y="1140"/>
                    </a:lnTo>
                    <a:lnTo>
                      <a:pt x="1476" y="1140"/>
                    </a:lnTo>
                    <a:lnTo>
                      <a:pt x="1488" y="1146"/>
                    </a:lnTo>
                    <a:lnTo>
                      <a:pt x="1500" y="1134"/>
                    </a:lnTo>
                    <a:lnTo>
                      <a:pt x="1500" y="1128"/>
                    </a:lnTo>
                    <a:lnTo>
                      <a:pt x="1488" y="1116"/>
                    </a:lnTo>
                    <a:lnTo>
                      <a:pt x="1476" y="1116"/>
                    </a:lnTo>
                    <a:close/>
                    <a:moveTo>
                      <a:pt x="1716" y="1230"/>
                    </a:moveTo>
                    <a:lnTo>
                      <a:pt x="1680" y="1218"/>
                    </a:lnTo>
                    <a:lnTo>
                      <a:pt x="1674" y="1224"/>
                    </a:lnTo>
                    <a:lnTo>
                      <a:pt x="1674" y="1230"/>
                    </a:lnTo>
                    <a:lnTo>
                      <a:pt x="1686" y="1254"/>
                    </a:lnTo>
                    <a:lnTo>
                      <a:pt x="1692" y="1260"/>
                    </a:lnTo>
                    <a:lnTo>
                      <a:pt x="1704" y="1266"/>
                    </a:lnTo>
                    <a:lnTo>
                      <a:pt x="1716" y="1266"/>
                    </a:lnTo>
                    <a:lnTo>
                      <a:pt x="1722" y="1260"/>
                    </a:lnTo>
                    <a:lnTo>
                      <a:pt x="1740" y="1260"/>
                    </a:lnTo>
                    <a:lnTo>
                      <a:pt x="1746" y="1266"/>
                    </a:lnTo>
                    <a:lnTo>
                      <a:pt x="1746" y="1278"/>
                    </a:lnTo>
                    <a:lnTo>
                      <a:pt x="1752" y="1290"/>
                    </a:lnTo>
                    <a:lnTo>
                      <a:pt x="1764" y="1296"/>
                    </a:lnTo>
                    <a:lnTo>
                      <a:pt x="1788" y="1296"/>
                    </a:lnTo>
                    <a:lnTo>
                      <a:pt x="1794" y="1290"/>
                    </a:lnTo>
                    <a:lnTo>
                      <a:pt x="1800" y="1290"/>
                    </a:lnTo>
                    <a:lnTo>
                      <a:pt x="1800" y="1284"/>
                    </a:lnTo>
                    <a:lnTo>
                      <a:pt x="1794" y="1272"/>
                    </a:lnTo>
                    <a:lnTo>
                      <a:pt x="1782" y="1260"/>
                    </a:lnTo>
                    <a:lnTo>
                      <a:pt x="1770" y="1236"/>
                    </a:lnTo>
                    <a:lnTo>
                      <a:pt x="1746" y="1224"/>
                    </a:lnTo>
                    <a:lnTo>
                      <a:pt x="1728" y="1224"/>
                    </a:lnTo>
                    <a:lnTo>
                      <a:pt x="1716" y="1230"/>
                    </a:lnTo>
                    <a:close/>
                    <a:moveTo>
                      <a:pt x="1962" y="1122"/>
                    </a:moveTo>
                    <a:lnTo>
                      <a:pt x="1932" y="1146"/>
                    </a:lnTo>
                    <a:lnTo>
                      <a:pt x="1920" y="1134"/>
                    </a:lnTo>
                    <a:lnTo>
                      <a:pt x="1890" y="1134"/>
                    </a:lnTo>
                    <a:lnTo>
                      <a:pt x="1884" y="1140"/>
                    </a:lnTo>
                    <a:lnTo>
                      <a:pt x="1872" y="1146"/>
                    </a:lnTo>
                    <a:lnTo>
                      <a:pt x="1866" y="1152"/>
                    </a:lnTo>
                    <a:lnTo>
                      <a:pt x="1860" y="1140"/>
                    </a:lnTo>
                    <a:lnTo>
                      <a:pt x="1836" y="1116"/>
                    </a:lnTo>
                    <a:lnTo>
                      <a:pt x="1824" y="1116"/>
                    </a:lnTo>
                    <a:lnTo>
                      <a:pt x="1800" y="1128"/>
                    </a:lnTo>
                    <a:lnTo>
                      <a:pt x="1764" y="1164"/>
                    </a:lnTo>
                    <a:lnTo>
                      <a:pt x="1728" y="1158"/>
                    </a:lnTo>
                    <a:lnTo>
                      <a:pt x="1716" y="1176"/>
                    </a:lnTo>
                    <a:lnTo>
                      <a:pt x="1746" y="1176"/>
                    </a:lnTo>
                    <a:lnTo>
                      <a:pt x="1752" y="1182"/>
                    </a:lnTo>
                    <a:lnTo>
                      <a:pt x="1764" y="1182"/>
                    </a:lnTo>
                    <a:lnTo>
                      <a:pt x="1776" y="1188"/>
                    </a:lnTo>
                    <a:lnTo>
                      <a:pt x="1788" y="1188"/>
                    </a:lnTo>
                    <a:lnTo>
                      <a:pt x="1794" y="1182"/>
                    </a:lnTo>
                    <a:lnTo>
                      <a:pt x="1806" y="1176"/>
                    </a:lnTo>
                    <a:lnTo>
                      <a:pt x="1812" y="1170"/>
                    </a:lnTo>
                    <a:lnTo>
                      <a:pt x="1908" y="1164"/>
                    </a:lnTo>
                    <a:lnTo>
                      <a:pt x="1956" y="1158"/>
                    </a:lnTo>
                    <a:lnTo>
                      <a:pt x="1992" y="1128"/>
                    </a:lnTo>
                    <a:lnTo>
                      <a:pt x="1992" y="1110"/>
                    </a:lnTo>
                    <a:lnTo>
                      <a:pt x="1962" y="1122"/>
                    </a:lnTo>
                    <a:close/>
                    <a:moveTo>
                      <a:pt x="1578" y="1158"/>
                    </a:moveTo>
                    <a:lnTo>
                      <a:pt x="1566" y="1152"/>
                    </a:lnTo>
                    <a:lnTo>
                      <a:pt x="1560" y="1146"/>
                    </a:lnTo>
                    <a:lnTo>
                      <a:pt x="1548" y="1140"/>
                    </a:lnTo>
                    <a:lnTo>
                      <a:pt x="1536" y="1140"/>
                    </a:lnTo>
                    <a:lnTo>
                      <a:pt x="1512" y="1164"/>
                    </a:lnTo>
                    <a:lnTo>
                      <a:pt x="1506" y="1176"/>
                    </a:lnTo>
                    <a:lnTo>
                      <a:pt x="1500" y="1182"/>
                    </a:lnTo>
                    <a:lnTo>
                      <a:pt x="1554" y="1188"/>
                    </a:lnTo>
                    <a:lnTo>
                      <a:pt x="1554" y="1212"/>
                    </a:lnTo>
                    <a:lnTo>
                      <a:pt x="1578" y="1206"/>
                    </a:lnTo>
                    <a:lnTo>
                      <a:pt x="1590" y="1188"/>
                    </a:lnTo>
                    <a:lnTo>
                      <a:pt x="1614" y="1206"/>
                    </a:lnTo>
                    <a:lnTo>
                      <a:pt x="1644" y="1170"/>
                    </a:lnTo>
                    <a:lnTo>
                      <a:pt x="1596" y="1152"/>
                    </a:lnTo>
                    <a:lnTo>
                      <a:pt x="1578" y="1158"/>
                    </a:lnTo>
                    <a:close/>
                  </a:path>
                </a:pathLst>
              </a:custGeom>
              <a:solidFill>
                <a:srgbClr val="9D90A0">
                  <a:lumMod val="40000"/>
                  <a:lumOff val="60000"/>
                </a:srgbClr>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26" name="Honduras" descr="© INSCALE GmbH, 05.05.2010&#10;http://www.presentationload.com/">
                <a:extLst>
                  <a:ext uri="{FF2B5EF4-FFF2-40B4-BE49-F238E27FC236}">
                    <a16:creationId xmlns:a16="http://schemas.microsoft.com/office/drawing/2014/main" id="{0B3EF51C-3071-4D22-94AD-4D49B3D9648C}"/>
                  </a:ext>
                </a:extLst>
              </p:cNvPr>
              <p:cNvSpPr>
                <a:spLocks/>
              </p:cNvSpPr>
              <p:nvPr/>
            </p:nvSpPr>
            <p:spPr bwMode="gray">
              <a:xfrm>
                <a:off x="1723524" y="3985709"/>
                <a:ext cx="177830" cy="109160"/>
              </a:xfrm>
              <a:custGeom>
                <a:avLst/>
                <a:gdLst>
                  <a:gd name="T0" fmla="*/ 2147483647 w 444"/>
                  <a:gd name="T1" fmla="*/ 2147483647 h 246"/>
                  <a:gd name="T2" fmla="*/ 2147483647 w 444"/>
                  <a:gd name="T3" fmla="*/ 2147483647 h 246"/>
                  <a:gd name="T4" fmla="*/ 2147483647 w 444"/>
                  <a:gd name="T5" fmla="*/ 2147483647 h 246"/>
                  <a:gd name="T6" fmla="*/ 2147483647 w 444"/>
                  <a:gd name="T7" fmla="*/ 2147483647 h 246"/>
                  <a:gd name="T8" fmla="*/ 2147483647 w 444"/>
                  <a:gd name="T9" fmla="*/ 2147483647 h 246"/>
                  <a:gd name="T10" fmla="*/ 2147483647 w 444"/>
                  <a:gd name="T11" fmla="*/ 2147483647 h 246"/>
                  <a:gd name="T12" fmla="*/ 2147483647 w 444"/>
                  <a:gd name="T13" fmla="*/ 2147483647 h 246"/>
                  <a:gd name="T14" fmla="*/ 2147483647 w 444"/>
                  <a:gd name="T15" fmla="*/ 2147483647 h 246"/>
                  <a:gd name="T16" fmla="*/ 2147483647 w 444"/>
                  <a:gd name="T17" fmla="*/ 2147483647 h 246"/>
                  <a:gd name="T18" fmla="*/ 2147483647 w 444"/>
                  <a:gd name="T19" fmla="*/ 2147483647 h 246"/>
                  <a:gd name="T20" fmla="*/ 2147483647 w 444"/>
                  <a:gd name="T21" fmla="*/ 2147483647 h 246"/>
                  <a:gd name="T22" fmla="*/ 2147483647 w 444"/>
                  <a:gd name="T23" fmla="*/ 2147483647 h 246"/>
                  <a:gd name="T24" fmla="*/ 2147483647 w 444"/>
                  <a:gd name="T25" fmla="*/ 2147483647 h 246"/>
                  <a:gd name="T26" fmla="*/ 2147483647 w 444"/>
                  <a:gd name="T27" fmla="*/ 2147483647 h 246"/>
                  <a:gd name="T28" fmla="*/ 2147483647 w 444"/>
                  <a:gd name="T29" fmla="*/ 2147483647 h 246"/>
                  <a:gd name="T30" fmla="*/ 2147483647 w 444"/>
                  <a:gd name="T31" fmla="*/ 2147483647 h 246"/>
                  <a:gd name="T32" fmla="*/ 2147483647 w 444"/>
                  <a:gd name="T33" fmla="*/ 2147483647 h 246"/>
                  <a:gd name="T34" fmla="*/ 2147483647 w 444"/>
                  <a:gd name="T35" fmla="*/ 2147483647 h 246"/>
                  <a:gd name="T36" fmla="*/ 2147483647 w 444"/>
                  <a:gd name="T37" fmla="*/ 2147483647 h 246"/>
                  <a:gd name="T38" fmla="*/ 2147483647 w 444"/>
                  <a:gd name="T39" fmla="*/ 0 h 246"/>
                  <a:gd name="T40" fmla="*/ 2147483647 w 444"/>
                  <a:gd name="T41" fmla="*/ 2147483647 h 246"/>
                  <a:gd name="T42" fmla="*/ 2147483647 w 444"/>
                  <a:gd name="T43" fmla="*/ 2147483647 h 246"/>
                  <a:gd name="T44" fmla="*/ 2147483647 w 444"/>
                  <a:gd name="T45" fmla="*/ 0 h 246"/>
                  <a:gd name="T46" fmla="*/ 2147483647 w 444"/>
                  <a:gd name="T47" fmla="*/ 2147483647 h 246"/>
                  <a:gd name="T48" fmla="*/ 2147483647 w 444"/>
                  <a:gd name="T49" fmla="*/ 2147483647 h 246"/>
                  <a:gd name="T50" fmla="*/ 2147483647 w 444"/>
                  <a:gd name="T51" fmla="*/ 2147483647 h 246"/>
                  <a:gd name="T52" fmla="*/ 2147483647 w 444"/>
                  <a:gd name="T53" fmla="*/ 2147483647 h 246"/>
                  <a:gd name="T54" fmla="*/ 2147483647 w 444"/>
                  <a:gd name="T55" fmla="*/ 2147483647 h 246"/>
                  <a:gd name="T56" fmla="*/ 2147483647 w 444"/>
                  <a:gd name="T57" fmla="*/ 2147483647 h 246"/>
                  <a:gd name="T58" fmla="*/ 2147483647 w 444"/>
                  <a:gd name="T59" fmla="*/ 2147483647 h 246"/>
                  <a:gd name="T60" fmla="*/ 2147483647 w 444"/>
                  <a:gd name="T61" fmla="*/ 0 h 246"/>
                  <a:gd name="T62" fmla="*/ 2147483647 w 444"/>
                  <a:gd name="T63" fmla="*/ 2147483647 h 246"/>
                  <a:gd name="T64" fmla="*/ 2147483647 w 444"/>
                  <a:gd name="T65" fmla="*/ 2147483647 h 246"/>
                  <a:gd name="T66" fmla="*/ 2147483647 w 444"/>
                  <a:gd name="T67" fmla="*/ 2147483647 h 246"/>
                  <a:gd name="T68" fmla="*/ 2147483647 w 444"/>
                  <a:gd name="T69" fmla="*/ 2147483647 h 246"/>
                  <a:gd name="T70" fmla="*/ 2147483647 w 444"/>
                  <a:gd name="T71" fmla="*/ 2147483647 h 246"/>
                  <a:gd name="T72" fmla="*/ 0 w 444"/>
                  <a:gd name="T73" fmla="*/ 2147483647 h 246"/>
                  <a:gd name="T74" fmla="*/ 2147483647 w 444"/>
                  <a:gd name="T75" fmla="*/ 2147483647 h 246"/>
                  <a:gd name="T76" fmla="*/ 2147483647 w 444"/>
                  <a:gd name="T77" fmla="*/ 2147483647 h 246"/>
                  <a:gd name="T78" fmla="*/ 2147483647 w 444"/>
                  <a:gd name="T79" fmla="*/ 2147483647 h 246"/>
                  <a:gd name="T80" fmla="*/ 2147483647 w 444"/>
                  <a:gd name="T81" fmla="*/ 2147483647 h 246"/>
                  <a:gd name="T82" fmla="*/ 2147483647 w 444"/>
                  <a:gd name="T83" fmla="*/ 2147483647 h 246"/>
                  <a:gd name="T84" fmla="*/ 2147483647 w 444"/>
                  <a:gd name="T85" fmla="*/ 2147483647 h 246"/>
                  <a:gd name="T86" fmla="*/ 2147483647 w 444"/>
                  <a:gd name="T87" fmla="*/ 2147483647 h 24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44"/>
                  <a:gd name="T133" fmla="*/ 0 h 246"/>
                  <a:gd name="T134" fmla="*/ 444 w 444"/>
                  <a:gd name="T135" fmla="*/ 246 h 24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44" h="246">
                    <a:moveTo>
                      <a:pt x="156" y="240"/>
                    </a:moveTo>
                    <a:lnTo>
                      <a:pt x="156" y="222"/>
                    </a:lnTo>
                    <a:lnTo>
                      <a:pt x="174" y="222"/>
                    </a:lnTo>
                    <a:lnTo>
                      <a:pt x="168" y="216"/>
                    </a:lnTo>
                    <a:lnTo>
                      <a:pt x="168" y="204"/>
                    </a:lnTo>
                    <a:lnTo>
                      <a:pt x="162" y="198"/>
                    </a:lnTo>
                    <a:lnTo>
                      <a:pt x="162" y="186"/>
                    </a:lnTo>
                    <a:lnTo>
                      <a:pt x="168" y="180"/>
                    </a:lnTo>
                    <a:lnTo>
                      <a:pt x="204" y="180"/>
                    </a:lnTo>
                    <a:lnTo>
                      <a:pt x="210" y="168"/>
                    </a:lnTo>
                    <a:lnTo>
                      <a:pt x="216" y="162"/>
                    </a:lnTo>
                    <a:lnTo>
                      <a:pt x="228" y="162"/>
                    </a:lnTo>
                    <a:lnTo>
                      <a:pt x="228" y="168"/>
                    </a:lnTo>
                    <a:lnTo>
                      <a:pt x="234" y="174"/>
                    </a:lnTo>
                    <a:lnTo>
                      <a:pt x="252" y="174"/>
                    </a:lnTo>
                    <a:lnTo>
                      <a:pt x="276" y="150"/>
                    </a:lnTo>
                    <a:lnTo>
                      <a:pt x="288" y="126"/>
                    </a:lnTo>
                    <a:lnTo>
                      <a:pt x="306" y="126"/>
                    </a:lnTo>
                    <a:lnTo>
                      <a:pt x="306" y="108"/>
                    </a:lnTo>
                    <a:lnTo>
                      <a:pt x="318" y="96"/>
                    </a:lnTo>
                    <a:lnTo>
                      <a:pt x="330" y="96"/>
                    </a:lnTo>
                    <a:lnTo>
                      <a:pt x="348" y="114"/>
                    </a:lnTo>
                    <a:lnTo>
                      <a:pt x="360" y="114"/>
                    </a:lnTo>
                    <a:lnTo>
                      <a:pt x="372" y="102"/>
                    </a:lnTo>
                    <a:lnTo>
                      <a:pt x="372" y="96"/>
                    </a:lnTo>
                    <a:lnTo>
                      <a:pt x="420" y="96"/>
                    </a:lnTo>
                    <a:lnTo>
                      <a:pt x="426" y="90"/>
                    </a:lnTo>
                    <a:lnTo>
                      <a:pt x="432" y="90"/>
                    </a:lnTo>
                    <a:lnTo>
                      <a:pt x="444" y="84"/>
                    </a:lnTo>
                    <a:lnTo>
                      <a:pt x="444" y="78"/>
                    </a:lnTo>
                    <a:lnTo>
                      <a:pt x="426" y="60"/>
                    </a:lnTo>
                    <a:lnTo>
                      <a:pt x="402" y="48"/>
                    </a:lnTo>
                    <a:lnTo>
                      <a:pt x="396" y="48"/>
                    </a:lnTo>
                    <a:lnTo>
                      <a:pt x="390" y="42"/>
                    </a:lnTo>
                    <a:lnTo>
                      <a:pt x="384" y="30"/>
                    </a:lnTo>
                    <a:lnTo>
                      <a:pt x="372" y="24"/>
                    </a:lnTo>
                    <a:lnTo>
                      <a:pt x="366" y="18"/>
                    </a:lnTo>
                    <a:lnTo>
                      <a:pt x="348" y="18"/>
                    </a:lnTo>
                    <a:lnTo>
                      <a:pt x="342" y="6"/>
                    </a:lnTo>
                    <a:lnTo>
                      <a:pt x="336" y="0"/>
                    </a:lnTo>
                    <a:lnTo>
                      <a:pt x="312" y="0"/>
                    </a:lnTo>
                    <a:lnTo>
                      <a:pt x="300" y="6"/>
                    </a:lnTo>
                    <a:lnTo>
                      <a:pt x="294" y="12"/>
                    </a:lnTo>
                    <a:lnTo>
                      <a:pt x="282" y="12"/>
                    </a:lnTo>
                    <a:lnTo>
                      <a:pt x="270" y="0"/>
                    </a:lnTo>
                    <a:lnTo>
                      <a:pt x="252" y="0"/>
                    </a:lnTo>
                    <a:lnTo>
                      <a:pt x="240" y="6"/>
                    </a:lnTo>
                    <a:lnTo>
                      <a:pt x="234" y="18"/>
                    </a:lnTo>
                    <a:lnTo>
                      <a:pt x="222" y="24"/>
                    </a:lnTo>
                    <a:lnTo>
                      <a:pt x="186" y="24"/>
                    </a:lnTo>
                    <a:lnTo>
                      <a:pt x="174" y="18"/>
                    </a:lnTo>
                    <a:lnTo>
                      <a:pt x="168" y="12"/>
                    </a:lnTo>
                    <a:lnTo>
                      <a:pt x="156" y="12"/>
                    </a:lnTo>
                    <a:lnTo>
                      <a:pt x="150" y="18"/>
                    </a:lnTo>
                    <a:lnTo>
                      <a:pt x="144" y="18"/>
                    </a:lnTo>
                    <a:lnTo>
                      <a:pt x="138" y="24"/>
                    </a:lnTo>
                    <a:lnTo>
                      <a:pt x="132" y="24"/>
                    </a:lnTo>
                    <a:lnTo>
                      <a:pt x="132" y="18"/>
                    </a:lnTo>
                    <a:lnTo>
                      <a:pt x="126" y="12"/>
                    </a:lnTo>
                    <a:lnTo>
                      <a:pt x="126" y="6"/>
                    </a:lnTo>
                    <a:lnTo>
                      <a:pt x="120" y="0"/>
                    </a:lnTo>
                    <a:lnTo>
                      <a:pt x="114" y="0"/>
                    </a:lnTo>
                    <a:lnTo>
                      <a:pt x="96" y="18"/>
                    </a:lnTo>
                    <a:lnTo>
                      <a:pt x="90" y="18"/>
                    </a:lnTo>
                    <a:lnTo>
                      <a:pt x="84" y="30"/>
                    </a:lnTo>
                    <a:lnTo>
                      <a:pt x="72" y="36"/>
                    </a:lnTo>
                    <a:lnTo>
                      <a:pt x="60" y="48"/>
                    </a:lnTo>
                    <a:lnTo>
                      <a:pt x="48" y="54"/>
                    </a:lnTo>
                    <a:lnTo>
                      <a:pt x="36" y="66"/>
                    </a:lnTo>
                    <a:lnTo>
                      <a:pt x="24" y="72"/>
                    </a:lnTo>
                    <a:lnTo>
                      <a:pt x="18" y="84"/>
                    </a:lnTo>
                    <a:lnTo>
                      <a:pt x="18" y="102"/>
                    </a:lnTo>
                    <a:lnTo>
                      <a:pt x="12" y="114"/>
                    </a:lnTo>
                    <a:lnTo>
                      <a:pt x="0" y="126"/>
                    </a:lnTo>
                    <a:lnTo>
                      <a:pt x="6" y="138"/>
                    </a:lnTo>
                    <a:lnTo>
                      <a:pt x="18" y="150"/>
                    </a:lnTo>
                    <a:lnTo>
                      <a:pt x="42" y="150"/>
                    </a:lnTo>
                    <a:lnTo>
                      <a:pt x="42" y="168"/>
                    </a:lnTo>
                    <a:lnTo>
                      <a:pt x="48" y="174"/>
                    </a:lnTo>
                    <a:lnTo>
                      <a:pt x="60" y="174"/>
                    </a:lnTo>
                    <a:lnTo>
                      <a:pt x="66" y="168"/>
                    </a:lnTo>
                    <a:lnTo>
                      <a:pt x="102" y="168"/>
                    </a:lnTo>
                    <a:lnTo>
                      <a:pt x="102" y="210"/>
                    </a:lnTo>
                    <a:lnTo>
                      <a:pt x="126" y="222"/>
                    </a:lnTo>
                    <a:lnTo>
                      <a:pt x="132" y="228"/>
                    </a:lnTo>
                    <a:lnTo>
                      <a:pt x="132" y="246"/>
                    </a:lnTo>
                    <a:lnTo>
                      <a:pt x="144" y="246"/>
                    </a:lnTo>
                    <a:lnTo>
                      <a:pt x="156" y="240"/>
                    </a:lnTo>
                    <a:close/>
                  </a:path>
                </a:pathLst>
              </a:custGeom>
              <a:solidFill>
                <a:srgbClr val="9D90A0">
                  <a:lumMod val="40000"/>
                  <a:lumOff val="60000"/>
                </a:srgbClr>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27" name="Guatemala" descr="© INSCALE GmbH, 05.05.2010&#10;http://www.presentationload.com/">
                <a:extLst>
                  <a:ext uri="{FF2B5EF4-FFF2-40B4-BE49-F238E27FC236}">
                    <a16:creationId xmlns:a16="http://schemas.microsoft.com/office/drawing/2014/main" id="{AC6DF050-9695-4815-9754-CC5E4DACC35D}"/>
                  </a:ext>
                </a:extLst>
              </p:cNvPr>
              <p:cNvSpPr>
                <a:spLocks/>
              </p:cNvSpPr>
              <p:nvPr/>
            </p:nvSpPr>
            <p:spPr bwMode="gray">
              <a:xfrm>
                <a:off x="1642409" y="3919867"/>
                <a:ext cx="116993" cy="147279"/>
              </a:xfrm>
              <a:custGeom>
                <a:avLst/>
                <a:gdLst>
                  <a:gd name="T0" fmla="*/ 2147483647 w 300"/>
                  <a:gd name="T1" fmla="*/ 2147483647 h 336"/>
                  <a:gd name="T2" fmla="*/ 2147483647 w 300"/>
                  <a:gd name="T3" fmla="*/ 2147483647 h 336"/>
                  <a:gd name="T4" fmla="*/ 2147483647 w 300"/>
                  <a:gd name="T5" fmla="*/ 2147483647 h 336"/>
                  <a:gd name="T6" fmla="*/ 2147483647 w 300"/>
                  <a:gd name="T7" fmla="*/ 2147483647 h 336"/>
                  <a:gd name="T8" fmla="*/ 2147483647 w 300"/>
                  <a:gd name="T9" fmla="*/ 2147483647 h 336"/>
                  <a:gd name="T10" fmla="*/ 2147483647 w 300"/>
                  <a:gd name="T11" fmla="*/ 0 h 336"/>
                  <a:gd name="T12" fmla="*/ 2147483647 w 300"/>
                  <a:gd name="T13" fmla="*/ 2147483647 h 336"/>
                  <a:gd name="T14" fmla="*/ 2147483647 w 300"/>
                  <a:gd name="T15" fmla="*/ 2147483647 h 336"/>
                  <a:gd name="T16" fmla="*/ 2147483647 w 300"/>
                  <a:gd name="T17" fmla="*/ 2147483647 h 336"/>
                  <a:gd name="T18" fmla="*/ 2147483647 w 300"/>
                  <a:gd name="T19" fmla="*/ 2147483647 h 336"/>
                  <a:gd name="T20" fmla="*/ 2147483647 w 300"/>
                  <a:gd name="T21" fmla="*/ 2147483647 h 336"/>
                  <a:gd name="T22" fmla="*/ 2147483647 w 300"/>
                  <a:gd name="T23" fmla="*/ 2147483647 h 336"/>
                  <a:gd name="T24" fmla="*/ 2147483647 w 300"/>
                  <a:gd name="T25" fmla="*/ 2147483647 h 336"/>
                  <a:gd name="T26" fmla="*/ 2147483647 w 300"/>
                  <a:gd name="T27" fmla="*/ 2147483647 h 336"/>
                  <a:gd name="T28" fmla="*/ 2147483647 w 300"/>
                  <a:gd name="T29" fmla="*/ 2147483647 h 336"/>
                  <a:gd name="T30" fmla="*/ 2147483647 w 300"/>
                  <a:gd name="T31" fmla="*/ 2147483647 h 336"/>
                  <a:gd name="T32" fmla="*/ 2147483647 w 300"/>
                  <a:gd name="T33" fmla="*/ 2147483647 h 336"/>
                  <a:gd name="T34" fmla="*/ 2147483647 w 300"/>
                  <a:gd name="T35" fmla="*/ 2147483647 h 336"/>
                  <a:gd name="T36" fmla="*/ 2147483647 w 300"/>
                  <a:gd name="T37" fmla="*/ 2147483647 h 336"/>
                  <a:gd name="T38" fmla="*/ 2147483647 w 300"/>
                  <a:gd name="T39" fmla="*/ 2147483647 h 336"/>
                  <a:gd name="T40" fmla="*/ 2147483647 w 300"/>
                  <a:gd name="T41" fmla="*/ 2147483647 h 336"/>
                  <a:gd name="T42" fmla="*/ 2147483647 w 300"/>
                  <a:gd name="T43" fmla="*/ 2147483647 h 336"/>
                  <a:gd name="T44" fmla="*/ 2147483647 w 300"/>
                  <a:gd name="T45" fmla="*/ 2147483647 h 336"/>
                  <a:gd name="T46" fmla="*/ 2147483647 w 300"/>
                  <a:gd name="T47" fmla="*/ 2147483647 h 336"/>
                  <a:gd name="T48" fmla="*/ 2147483647 w 300"/>
                  <a:gd name="T49" fmla="*/ 2147483647 h 336"/>
                  <a:gd name="T50" fmla="*/ 2147483647 w 300"/>
                  <a:gd name="T51" fmla="*/ 2147483647 h 336"/>
                  <a:gd name="T52" fmla="*/ 2147483647 w 300"/>
                  <a:gd name="T53" fmla="*/ 2147483647 h 336"/>
                  <a:gd name="T54" fmla="*/ 2147483647 w 300"/>
                  <a:gd name="T55" fmla="*/ 2147483647 h 336"/>
                  <a:gd name="T56" fmla="*/ 2147483647 w 300"/>
                  <a:gd name="T57" fmla="*/ 2147483647 h 336"/>
                  <a:gd name="T58" fmla="*/ 0 w 300"/>
                  <a:gd name="T59" fmla="*/ 2147483647 h 336"/>
                  <a:gd name="T60" fmla="*/ 2147483647 w 300"/>
                  <a:gd name="T61" fmla="*/ 2147483647 h 336"/>
                  <a:gd name="T62" fmla="*/ 2147483647 w 300"/>
                  <a:gd name="T63" fmla="*/ 2147483647 h 336"/>
                  <a:gd name="T64" fmla="*/ 2147483647 w 300"/>
                  <a:gd name="T65" fmla="*/ 2147483647 h 336"/>
                  <a:gd name="T66" fmla="*/ 2147483647 w 300"/>
                  <a:gd name="T67" fmla="*/ 2147483647 h 336"/>
                  <a:gd name="T68" fmla="*/ 2147483647 w 300"/>
                  <a:gd name="T69" fmla="*/ 2147483647 h 336"/>
                  <a:gd name="T70" fmla="*/ 2147483647 w 300"/>
                  <a:gd name="T71" fmla="*/ 2147483647 h 336"/>
                  <a:gd name="T72" fmla="*/ 2147483647 w 300"/>
                  <a:gd name="T73" fmla="*/ 2147483647 h 336"/>
                  <a:gd name="T74" fmla="*/ 2147483647 w 300"/>
                  <a:gd name="T75" fmla="*/ 2147483647 h 336"/>
                  <a:gd name="T76" fmla="*/ 2147483647 w 300"/>
                  <a:gd name="T77" fmla="*/ 2147483647 h 336"/>
                  <a:gd name="T78" fmla="*/ 2147483647 w 300"/>
                  <a:gd name="T79" fmla="*/ 2147483647 h 336"/>
                  <a:gd name="T80" fmla="*/ 2147483647 w 300"/>
                  <a:gd name="T81" fmla="*/ 2147483647 h 336"/>
                  <a:gd name="T82" fmla="*/ 2147483647 w 300"/>
                  <a:gd name="T83" fmla="*/ 2147483647 h 336"/>
                  <a:gd name="T84" fmla="*/ 2147483647 w 300"/>
                  <a:gd name="T85" fmla="*/ 2147483647 h 336"/>
                  <a:gd name="T86" fmla="*/ 2147483647 w 300"/>
                  <a:gd name="T87" fmla="*/ 2147483647 h 336"/>
                  <a:gd name="T88" fmla="*/ 2147483647 w 300"/>
                  <a:gd name="T89" fmla="*/ 2147483647 h 336"/>
                  <a:gd name="T90" fmla="*/ 2147483647 w 300"/>
                  <a:gd name="T91" fmla="*/ 2147483647 h 336"/>
                  <a:gd name="T92" fmla="*/ 2147483647 w 300"/>
                  <a:gd name="T93" fmla="*/ 2147483647 h 336"/>
                  <a:gd name="T94" fmla="*/ 2147483647 w 300"/>
                  <a:gd name="T95" fmla="*/ 2147483647 h 336"/>
                  <a:gd name="T96" fmla="*/ 2147483647 w 300"/>
                  <a:gd name="T97" fmla="*/ 2147483647 h 336"/>
                  <a:gd name="T98" fmla="*/ 2147483647 w 300"/>
                  <a:gd name="T99" fmla="*/ 2147483647 h 336"/>
                  <a:gd name="T100" fmla="*/ 2147483647 w 300"/>
                  <a:gd name="T101" fmla="*/ 2147483647 h 336"/>
                  <a:gd name="T102" fmla="*/ 2147483647 w 300"/>
                  <a:gd name="T103" fmla="*/ 2147483647 h 336"/>
                  <a:gd name="T104" fmla="*/ 2147483647 w 300"/>
                  <a:gd name="T105" fmla="*/ 2147483647 h 336"/>
                  <a:gd name="T106" fmla="*/ 2147483647 w 300"/>
                  <a:gd name="T107" fmla="*/ 2147483647 h 336"/>
                  <a:gd name="T108" fmla="*/ 2147483647 w 300"/>
                  <a:gd name="T109" fmla="*/ 2147483647 h 336"/>
                  <a:gd name="T110" fmla="*/ 2147483647 w 300"/>
                  <a:gd name="T111" fmla="*/ 2147483647 h 336"/>
                  <a:gd name="T112" fmla="*/ 2147483647 w 300"/>
                  <a:gd name="T113" fmla="*/ 2147483647 h 336"/>
                  <a:gd name="T114" fmla="*/ 2147483647 w 300"/>
                  <a:gd name="T115" fmla="*/ 2147483647 h 336"/>
                  <a:gd name="T116" fmla="*/ 2147483647 w 300"/>
                  <a:gd name="T117" fmla="*/ 2147483647 h 336"/>
                  <a:gd name="T118" fmla="*/ 2147483647 w 300"/>
                  <a:gd name="T119" fmla="*/ 2147483647 h 336"/>
                  <a:gd name="T120" fmla="*/ 2147483647 w 300"/>
                  <a:gd name="T121" fmla="*/ 2147483647 h 3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00"/>
                  <a:gd name="T184" fmla="*/ 0 h 336"/>
                  <a:gd name="T185" fmla="*/ 300 w 300"/>
                  <a:gd name="T186" fmla="*/ 336 h 3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00" h="336">
                    <a:moveTo>
                      <a:pt x="288" y="156"/>
                    </a:moveTo>
                    <a:lnTo>
                      <a:pt x="270" y="168"/>
                    </a:lnTo>
                    <a:lnTo>
                      <a:pt x="258" y="162"/>
                    </a:lnTo>
                    <a:lnTo>
                      <a:pt x="228" y="162"/>
                    </a:lnTo>
                    <a:lnTo>
                      <a:pt x="252" y="6"/>
                    </a:lnTo>
                    <a:lnTo>
                      <a:pt x="120" y="0"/>
                    </a:lnTo>
                    <a:lnTo>
                      <a:pt x="120" y="12"/>
                    </a:lnTo>
                    <a:lnTo>
                      <a:pt x="126" y="24"/>
                    </a:lnTo>
                    <a:lnTo>
                      <a:pt x="126" y="48"/>
                    </a:lnTo>
                    <a:lnTo>
                      <a:pt x="120" y="48"/>
                    </a:lnTo>
                    <a:lnTo>
                      <a:pt x="108" y="54"/>
                    </a:lnTo>
                    <a:lnTo>
                      <a:pt x="84" y="54"/>
                    </a:lnTo>
                    <a:lnTo>
                      <a:pt x="96" y="60"/>
                    </a:lnTo>
                    <a:lnTo>
                      <a:pt x="96" y="66"/>
                    </a:lnTo>
                    <a:lnTo>
                      <a:pt x="102" y="78"/>
                    </a:lnTo>
                    <a:lnTo>
                      <a:pt x="108" y="84"/>
                    </a:lnTo>
                    <a:lnTo>
                      <a:pt x="114" y="84"/>
                    </a:lnTo>
                    <a:lnTo>
                      <a:pt x="126" y="90"/>
                    </a:lnTo>
                    <a:lnTo>
                      <a:pt x="132" y="90"/>
                    </a:lnTo>
                    <a:lnTo>
                      <a:pt x="138" y="114"/>
                    </a:lnTo>
                    <a:lnTo>
                      <a:pt x="156" y="114"/>
                    </a:lnTo>
                    <a:lnTo>
                      <a:pt x="156" y="126"/>
                    </a:lnTo>
                    <a:lnTo>
                      <a:pt x="150" y="132"/>
                    </a:lnTo>
                    <a:lnTo>
                      <a:pt x="144" y="132"/>
                    </a:lnTo>
                    <a:lnTo>
                      <a:pt x="144" y="150"/>
                    </a:lnTo>
                    <a:lnTo>
                      <a:pt x="54" y="144"/>
                    </a:lnTo>
                    <a:lnTo>
                      <a:pt x="24" y="192"/>
                    </a:lnTo>
                    <a:lnTo>
                      <a:pt x="24" y="264"/>
                    </a:lnTo>
                    <a:lnTo>
                      <a:pt x="18" y="270"/>
                    </a:lnTo>
                    <a:lnTo>
                      <a:pt x="0" y="270"/>
                    </a:lnTo>
                    <a:lnTo>
                      <a:pt x="6" y="282"/>
                    </a:lnTo>
                    <a:lnTo>
                      <a:pt x="12" y="288"/>
                    </a:lnTo>
                    <a:lnTo>
                      <a:pt x="24" y="288"/>
                    </a:lnTo>
                    <a:lnTo>
                      <a:pt x="42" y="300"/>
                    </a:lnTo>
                    <a:lnTo>
                      <a:pt x="60" y="318"/>
                    </a:lnTo>
                    <a:lnTo>
                      <a:pt x="72" y="324"/>
                    </a:lnTo>
                    <a:lnTo>
                      <a:pt x="120" y="324"/>
                    </a:lnTo>
                    <a:lnTo>
                      <a:pt x="126" y="330"/>
                    </a:lnTo>
                    <a:lnTo>
                      <a:pt x="132" y="330"/>
                    </a:lnTo>
                    <a:lnTo>
                      <a:pt x="138" y="336"/>
                    </a:lnTo>
                    <a:lnTo>
                      <a:pt x="150" y="324"/>
                    </a:lnTo>
                    <a:lnTo>
                      <a:pt x="162" y="318"/>
                    </a:lnTo>
                    <a:lnTo>
                      <a:pt x="168" y="312"/>
                    </a:lnTo>
                    <a:lnTo>
                      <a:pt x="174" y="312"/>
                    </a:lnTo>
                    <a:lnTo>
                      <a:pt x="180" y="300"/>
                    </a:lnTo>
                    <a:lnTo>
                      <a:pt x="186" y="294"/>
                    </a:lnTo>
                    <a:lnTo>
                      <a:pt x="186" y="282"/>
                    </a:lnTo>
                    <a:lnTo>
                      <a:pt x="204" y="282"/>
                    </a:lnTo>
                    <a:lnTo>
                      <a:pt x="210" y="276"/>
                    </a:lnTo>
                    <a:lnTo>
                      <a:pt x="222" y="270"/>
                    </a:lnTo>
                    <a:lnTo>
                      <a:pt x="222" y="264"/>
                    </a:lnTo>
                    <a:lnTo>
                      <a:pt x="228" y="252"/>
                    </a:lnTo>
                    <a:lnTo>
                      <a:pt x="228" y="234"/>
                    </a:lnTo>
                    <a:lnTo>
                      <a:pt x="234" y="222"/>
                    </a:lnTo>
                    <a:lnTo>
                      <a:pt x="246" y="216"/>
                    </a:lnTo>
                    <a:lnTo>
                      <a:pt x="258" y="204"/>
                    </a:lnTo>
                    <a:lnTo>
                      <a:pt x="270" y="198"/>
                    </a:lnTo>
                    <a:lnTo>
                      <a:pt x="282" y="186"/>
                    </a:lnTo>
                    <a:lnTo>
                      <a:pt x="294" y="180"/>
                    </a:lnTo>
                    <a:lnTo>
                      <a:pt x="300" y="168"/>
                    </a:lnTo>
                    <a:lnTo>
                      <a:pt x="288" y="156"/>
                    </a:lnTo>
                    <a:close/>
                  </a:path>
                </a:pathLst>
              </a:custGeom>
              <a:solidFill>
                <a:srgbClr val="9D90A0">
                  <a:lumMod val="40000"/>
                  <a:lumOff val="60000"/>
                </a:srgbClr>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28" name="El Salvador" descr="© INSCALE GmbH, 05.05.2010&#10;http://www.presentationload.com/">
                <a:extLst>
                  <a:ext uri="{FF2B5EF4-FFF2-40B4-BE49-F238E27FC236}">
                    <a16:creationId xmlns:a16="http://schemas.microsoft.com/office/drawing/2014/main" id="{FBDD01E3-0A1C-4290-9F3A-C7D4C97175FC}"/>
                  </a:ext>
                </a:extLst>
              </p:cNvPr>
              <p:cNvSpPr>
                <a:spLocks/>
              </p:cNvSpPr>
              <p:nvPr/>
            </p:nvSpPr>
            <p:spPr bwMode="gray">
              <a:xfrm>
                <a:off x="1697006" y="4041156"/>
                <a:ext cx="67076" cy="50248"/>
              </a:xfrm>
              <a:custGeom>
                <a:avLst/>
                <a:gdLst>
                  <a:gd name="T0" fmla="*/ 2147483647 w 174"/>
                  <a:gd name="T1" fmla="*/ 2147483647 h 114"/>
                  <a:gd name="T2" fmla="*/ 2147483647 w 174"/>
                  <a:gd name="T3" fmla="*/ 2147483647 h 114"/>
                  <a:gd name="T4" fmla="*/ 2147483647 w 174"/>
                  <a:gd name="T5" fmla="*/ 2147483647 h 114"/>
                  <a:gd name="T6" fmla="*/ 2147483647 w 174"/>
                  <a:gd name="T7" fmla="*/ 2147483647 h 114"/>
                  <a:gd name="T8" fmla="*/ 2147483647 w 174"/>
                  <a:gd name="T9" fmla="*/ 2147483647 h 114"/>
                  <a:gd name="T10" fmla="*/ 2147483647 w 174"/>
                  <a:gd name="T11" fmla="*/ 2147483647 h 114"/>
                  <a:gd name="T12" fmla="*/ 2147483647 w 174"/>
                  <a:gd name="T13" fmla="*/ 2147483647 h 114"/>
                  <a:gd name="T14" fmla="*/ 2147483647 w 174"/>
                  <a:gd name="T15" fmla="*/ 2147483647 h 114"/>
                  <a:gd name="T16" fmla="*/ 2147483647 w 174"/>
                  <a:gd name="T17" fmla="*/ 2147483647 h 114"/>
                  <a:gd name="T18" fmla="*/ 2147483647 w 174"/>
                  <a:gd name="T19" fmla="*/ 0 h 114"/>
                  <a:gd name="T20" fmla="*/ 2147483647 w 174"/>
                  <a:gd name="T21" fmla="*/ 2147483647 h 114"/>
                  <a:gd name="T22" fmla="*/ 2147483647 w 174"/>
                  <a:gd name="T23" fmla="*/ 2147483647 h 114"/>
                  <a:gd name="T24" fmla="*/ 2147483647 w 174"/>
                  <a:gd name="T25" fmla="*/ 2147483647 h 114"/>
                  <a:gd name="T26" fmla="*/ 2147483647 w 174"/>
                  <a:gd name="T27" fmla="*/ 2147483647 h 114"/>
                  <a:gd name="T28" fmla="*/ 2147483647 w 174"/>
                  <a:gd name="T29" fmla="*/ 2147483647 h 114"/>
                  <a:gd name="T30" fmla="*/ 2147483647 w 174"/>
                  <a:gd name="T31" fmla="*/ 2147483647 h 114"/>
                  <a:gd name="T32" fmla="*/ 2147483647 w 174"/>
                  <a:gd name="T33" fmla="*/ 2147483647 h 114"/>
                  <a:gd name="T34" fmla="*/ 2147483647 w 174"/>
                  <a:gd name="T35" fmla="*/ 2147483647 h 114"/>
                  <a:gd name="T36" fmla="*/ 0 w 174"/>
                  <a:gd name="T37" fmla="*/ 2147483647 h 114"/>
                  <a:gd name="T38" fmla="*/ 2147483647 w 174"/>
                  <a:gd name="T39" fmla="*/ 2147483647 h 114"/>
                  <a:gd name="T40" fmla="*/ 2147483647 w 174"/>
                  <a:gd name="T41" fmla="*/ 2147483647 h 114"/>
                  <a:gd name="T42" fmla="*/ 2147483647 w 174"/>
                  <a:gd name="T43" fmla="*/ 2147483647 h 114"/>
                  <a:gd name="T44" fmla="*/ 2147483647 w 174"/>
                  <a:gd name="T45" fmla="*/ 2147483647 h 114"/>
                  <a:gd name="T46" fmla="*/ 2147483647 w 174"/>
                  <a:gd name="T47" fmla="*/ 2147483647 h 114"/>
                  <a:gd name="T48" fmla="*/ 2147483647 w 174"/>
                  <a:gd name="T49" fmla="*/ 2147483647 h 114"/>
                  <a:gd name="T50" fmla="*/ 2147483647 w 174"/>
                  <a:gd name="T51" fmla="*/ 2147483647 h 114"/>
                  <a:gd name="T52" fmla="*/ 2147483647 w 174"/>
                  <a:gd name="T53" fmla="*/ 2147483647 h 114"/>
                  <a:gd name="T54" fmla="*/ 2147483647 w 174"/>
                  <a:gd name="T55" fmla="*/ 2147483647 h 114"/>
                  <a:gd name="T56" fmla="*/ 2147483647 w 174"/>
                  <a:gd name="T57" fmla="*/ 2147483647 h 11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74"/>
                  <a:gd name="T88" fmla="*/ 0 h 114"/>
                  <a:gd name="T89" fmla="*/ 174 w 174"/>
                  <a:gd name="T90" fmla="*/ 114 h 114"/>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74" h="114">
                    <a:moveTo>
                      <a:pt x="174" y="84"/>
                    </a:moveTo>
                    <a:lnTo>
                      <a:pt x="174" y="42"/>
                    </a:lnTo>
                    <a:lnTo>
                      <a:pt x="138" y="42"/>
                    </a:lnTo>
                    <a:lnTo>
                      <a:pt x="132" y="48"/>
                    </a:lnTo>
                    <a:lnTo>
                      <a:pt x="120" y="48"/>
                    </a:lnTo>
                    <a:lnTo>
                      <a:pt x="114" y="42"/>
                    </a:lnTo>
                    <a:lnTo>
                      <a:pt x="114" y="24"/>
                    </a:lnTo>
                    <a:lnTo>
                      <a:pt x="90" y="24"/>
                    </a:lnTo>
                    <a:lnTo>
                      <a:pt x="78" y="12"/>
                    </a:lnTo>
                    <a:lnTo>
                      <a:pt x="72" y="0"/>
                    </a:lnTo>
                    <a:lnTo>
                      <a:pt x="60" y="6"/>
                    </a:lnTo>
                    <a:lnTo>
                      <a:pt x="48" y="6"/>
                    </a:lnTo>
                    <a:lnTo>
                      <a:pt x="48" y="18"/>
                    </a:lnTo>
                    <a:lnTo>
                      <a:pt x="42" y="24"/>
                    </a:lnTo>
                    <a:lnTo>
                      <a:pt x="36" y="36"/>
                    </a:lnTo>
                    <a:lnTo>
                      <a:pt x="30" y="36"/>
                    </a:lnTo>
                    <a:lnTo>
                      <a:pt x="24" y="42"/>
                    </a:lnTo>
                    <a:lnTo>
                      <a:pt x="12" y="48"/>
                    </a:lnTo>
                    <a:lnTo>
                      <a:pt x="0" y="60"/>
                    </a:lnTo>
                    <a:lnTo>
                      <a:pt x="6" y="66"/>
                    </a:lnTo>
                    <a:lnTo>
                      <a:pt x="18" y="72"/>
                    </a:lnTo>
                    <a:lnTo>
                      <a:pt x="24" y="78"/>
                    </a:lnTo>
                    <a:lnTo>
                      <a:pt x="72" y="78"/>
                    </a:lnTo>
                    <a:lnTo>
                      <a:pt x="96" y="102"/>
                    </a:lnTo>
                    <a:lnTo>
                      <a:pt x="132" y="96"/>
                    </a:lnTo>
                    <a:lnTo>
                      <a:pt x="150" y="114"/>
                    </a:lnTo>
                    <a:lnTo>
                      <a:pt x="168" y="84"/>
                    </a:lnTo>
                    <a:lnTo>
                      <a:pt x="174" y="90"/>
                    </a:lnTo>
                    <a:lnTo>
                      <a:pt x="174" y="84"/>
                    </a:lnTo>
                    <a:close/>
                  </a:path>
                </a:pathLst>
              </a:custGeom>
              <a:solidFill>
                <a:srgbClr val="9D90A0">
                  <a:lumMod val="40000"/>
                  <a:lumOff val="60000"/>
                </a:srgbClr>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29" name="East Timor" descr="© INSCALE GmbH, 05.05.2010&#10;http://www.presentationload.com/">
                <a:extLst>
                  <a:ext uri="{FF2B5EF4-FFF2-40B4-BE49-F238E27FC236}">
                    <a16:creationId xmlns:a16="http://schemas.microsoft.com/office/drawing/2014/main" id="{F2837195-0B11-4597-BC40-00365A15FCAE}"/>
                  </a:ext>
                </a:extLst>
              </p:cNvPr>
              <p:cNvSpPr>
                <a:spLocks noEditPoints="1"/>
              </p:cNvSpPr>
              <p:nvPr/>
            </p:nvSpPr>
            <p:spPr bwMode="gray">
              <a:xfrm>
                <a:off x="7694865" y="4845128"/>
                <a:ext cx="98274" cy="51981"/>
              </a:xfrm>
              <a:custGeom>
                <a:avLst/>
                <a:gdLst>
                  <a:gd name="T0" fmla="*/ 2147483647 w 252"/>
                  <a:gd name="T1" fmla="*/ 0 h 120"/>
                  <a:gd name="T2" fmla="*/ 2147483647 w 252"/>
                  <a:gd name="T3" fmla="*/ 2147483647 h 120"/>
                  <a:gd name="T4" fmla="*/ 2147483647 w 252"/>
                  <a:gd name="T5" fmla="*/ 2147483647 h 120"/>
                  <a:gd name="T6" fmla="*/ 2147483647 w 252"/>
                  <a:gd name="T7" fmla="*/ 2147483647 h 120"/>
                  <a:gd name="T8" fmla="*/ 2147483647 w 252"/>
                  <a:gd name="T9" fmla="*/ 2147483647 h 120"/>
                  <a:gd name="T10" fmla="*/ 2147483647 w 252"/>
                  <a:gd name="T11" fmla="*/ 2147483647 h 120"/>
                  <a:gd name="T12" fmla="*/ 2147483647 w 252"/>
                  <a:gd name="T13" fmla="*/ 2147483647 h 120"/>
                  <a:gd name="T14" fmla="*/ 2147483647 w 252"/>
                  <a:gd name="T15" fmla="*/ 2147483647 h 120"/>
                  <a:gd name="T16" fmla="*/ 2147483647 w 252"/>
                  <a:gd name="T17" fmla="*/ 2147483647 h 120"/>
                  <a:gd name="T18" fmla="*/ 2147483647 w 252"/>
                  <a:gd name="T19" fmla="*/ 2147483647 h 120"/>
                  <a:gd name="T20" fmla="*/ 2147483647 w 252"/>
                  <a:gd name="T21" fmla="*/ 2147483647 h 120"/>
                  <a:gd name="T22" fmla="*/ 2147483647 w 252"/>
                  <a:gd name="T23" fmla="*/ 2147483647 h 120"/>
                  <a:gd name="T24" fmla="*/ 2147483647 w 252"/>
                  <a:gd name="T25" fmla="*/ 2147483647 h 120"/>
                  <a:gd name="T26" fmla="*/ 2147483647 w 252"/>
                  <a:gd name="T27" fmla="*/ 2147483647 h 120"/>
                  <a:gd name="T28" fmla="*/ 2147483647 w 252"/>
                  <a:gd name="T29" fmla="*/ 2147483647 h 120"/>
                  <a:gd name="T30" fmla="*/ 2147483647 w 252"/>
                  <a:gd name="T31" fmla="*/ 2147483647 h 120"/>
                  <a:gd name="T32" fmla="*/ 2147483647 w 252"/>
                  <a:gd name="T33" fmla="*/ 2147483647 h 120"/>
                  <a:gd name="T34" fmla="*/ 2147483647 w 252"/>
                  <a:gd name="T35" fmla="*/ 2147483647 h 120"/>
                  <a:gd name="T36" fmla="*/ 2147483647 w 252"/>
                  <a:gd name="T37" fmla="*/ 2147483647 h 120"/>
                  <a:gd name="T38" fmla="*/ 2147483647 w 252"/>
                  <a:gd name="T39" fmla="*/ 2147483647 h 120"/>
                  <a:gd name="T40" fmla="*/ 2147483647 w 252"/>
                  <a:gd name="T41" fmla="*/ 2147483647 h 120"/>
                  <a:gd name="T42" fmla="*/ 2147483647 w 252"/>
                  <a:gd name="T43" fmla="*/ 2147483647 h 120"/>
                  <a:gd name="T44" fmla="*/ 2147483647 w 252"/>
                  <a:gd name="T45" fmla="*/ 2147483647 h 120"/>
                  <a:gd name="T46" fmla="*/ 2147483647 w 252"/>
                  <a:gd name="T47" fmla="*/ 0 h 120"/>
                  <a:gd name="T48" fmla="*/ 0 w 252"/>
                  <a:gd name="T49" fmla="*/ 2147483647 h 120"/>
                  <a:gd name="T50" fmla="*/ 2147483647 w 252"/>
                  <a:gd name="T51" fmla="*/ 2147483647 h 120"/>
                  <a:gd name="T52" fmla="*/ 2147483647 w 252"/>
                  <a:gd name="T53" fmla="*/ 2147483647 h 120"/>
                  <a:gd name="T54" fmla="*/ 2147483647 w 252"/>
                  <a:gd name="T55" fmla="*/ 2147483647 h 120"/>
                  <a:gd name="T56" fmla="*/ 2147483647 w 252"/>
                  <a:gd name="T57" fmla="*/ 2147483647 h 120"/>
                  <a:gd name="T58" fmla="*/ 2147483647 w 252"/>
                  <a:gd name="T59" fmla="*/ 2147483647 h 120"/>
                  <a:gd name="T60" fmla="*/ 2147483647 w 252"/>
                  <a:gd name="T61" fmla="*/ 2147483647 h 120"/>
                  <a:gd name="T62" fmla="*/ 2147483647 w 252"/>
                  <a:gd name="T63" fmla="*/ 2147483647 h 120"/>
                  <a:gd name="T64" fmla="*/ 0 w 252"/>
                  <a:gd name="T65" fmla="*/ 2147483647 h 12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52"/>
                  <a:gd name="T100" fmla="*/ 0 h 120"/>
                  <a:gd name="T101" fmla="*/ 252 w 252"/>
                  <a:gd name="T102" fmla="*/ 120 h 12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52" h="120">
                    <a:moveTo>
                      <a:pt x="228" y="0"/>
                    </a:moveTo>
                    <a:lnTo>
                      <a:pt x="204" y="24"/>
                    </a:lnTo>
                    <a:lnTo>
                      <a:pt x="114" y="24"/>
                    </a:lnTo>
                    <a:lnTo>
                      <a:pt x="108" y="30"/>
                    </a:lnTo>
                    <a:lnTo>
                      <a:pt x="102" y="42"/>
                    </a:lnTo>
                    <a:lnTo>
                      <a:pt x="96" y="48"/>
                    </a:lnTo>
                    <a:lnTo>
                      <a:pt x="90" y="48"/>
                    </a:lnTo>
                    <a:lnTo>
                      <a:pt x="78" y="54"/>
                    </a:lnTo>
                    <a:lnTo>
                      <a:pt x="90" y="72"/>
                    </a:lnTo>
                    <a:lnTo>
                      <a:pt x="84" y="78"/>
                    </a:lnTo>
                    <a:lnTo>
                      <a:pt x="72" y="102"/>
                    </a:lnTo>
                    <a:lnTo>
                      <a:pt x="72" y="114"/>
                    </a:lnTo>
                    <a:lnTo>
                      <a:pt x="78" y="120"/>
                    </a:lnTo>
                    <a:lnTo>
                      <a:pt x="78" y="114"/>
                    </a:lnTo>
                    <a:lnTo>
                      <a:pt x="84" y="108"/>
                    </a:lnTo>
                    <a:lnTo>
                      <a:pt x="96" y="108"/>
                    </a:lnTo>
                    <a:lnTo>
                      <a:pt x="132" y="84"/>
                    </a:lnTo>
                    <a:lnTo>
                      <a:pt x="138" y="90"/>
                    </a:lnTo>
                    <a:lnTo>
                      <a:pt x="162" y="90"/>
                    </a:lnTo>
                    <a:lnTo>
                      <a:pt x="186" y="78"/>
                    </a:lnTo>
                    <a:lnTo>
                      <a:pt x="198" y="66"/>
                    </a:lnTo>
                    <a:lnTo>
                      <a:pt x="210" y="60"/>
                    </a:lnTo>
                    <a:lnTo>
                      <a:pt x="252" y="18"/>
                    </a:lnTo>
                    <a:lnTo>
                      <a:pt x="228" y="0"/>
                    </a:lnTo>
                    <a:close/>
                    <a:moveTo>
                      <a:pt x="0" y="90"/>
                    </a:moveTo>
                    <a:lnTo>
                      <a:pt x="6" y="102"/>
                    </a:lnTo>
                    <a:lnTo>
                      <a:pt x="18" y="96"/>
                    </a:lnTo>
                    <a:lnTo>
                      <a:pt x="24" y="90"/>
                    </a:lnTo>
                    <a:lnTo>
                      <a:pt x="36" y="90"/>
                    </a:lnTo>
                    <a:lnTo>
                      <a:pt x="36" y="84"/>
                    </a:lnTo>
                    <a:lnTo>
                      <a:pt x="42" y="72"/>
                    </a:lnTo>
                    <a:lnTo>
                      <a:pt x="18" y="72"/>
                    </a:lnTo>
                    <a:lnTo>
                      <a:pt x="0" y="90"/>
                    </a:lnTo>
                    <a:close/>
                  </a:path>
                </a:pathLst>
              </a:custGeom>
              <a:solidFill>
                <a:srgbClr val="9D90A0">
                  <a:lumMod val="40000"/>
                  <a:lumOff val="60000"/>
                </a:srgbClr>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30" name="Costa Rica" descr="© INSCALE GmbH, 05.05.2010&#10;http://www.presentationload.com/">
                <a:extLst>
                  <a:ext uri="{FF2B5EF4-FFF2-40B4-BE49-F238E27FC236}">
                    <a16:creationId xmlns:a16="http://schemas.microsoft.com/office/drawing/2014/main" id="{A6B68B48-B953-4678-ABFB-EF9BCE949414}"/>
                  </a:ext>
                </a:extLst>
              </p:cNvPr>
              <p:cNvSpPr>
                <a:spLocks/>
              </p:cNvSpPr>
              <p:nvPr/>
            </p:nvSpPr>
            <p:spPr bwMode="gray">
              <a:xfrm>
                <a:off x="1806200" y="4155514"/>
                <a:ext cx="95155" cy="102229"/>
              </a:xfrm>
              <a:custGeom>
                <a:avLst/>
                <a:gdLst>
                  <a:gd name="T0" fmla="*/ 2147483647 w 240"/>
                  <a:gd name="T1" fmla="*/ 2147483647 h 228"/>
                  <a:gd name="T2" fmla="*/ 2147483647 w 240"/>
                  <a:gd name="T3" fmla="*/ 2147483647 h 228"/>
                  <a:gd name="T4" fmla="*/ 2147483647 w 240"/>
                  <a:gd name="T5" fmla="*/ 2147483647 h 228"/>
                  <a:gd name="T6" fmla="*/ 2147483647 w 240"/>
                  <a:gd name="T7" fmla="*/ 2147483647 h 228"/>
                  <a:gd name="T8" fmla="*/ 2147483647 w 240"/>
                  <a:gd name="T9" fmla="*/ 2147483647 h 228"/>
                  <a:gd name="T10" fmla="*/ 2147483647 w 240"/>
                  <a:gd name="T11" fmla="*/ 2147483647 h 228"/>
                  <a:gd name="T12" fmla="*/ 2147483647 w 240"/>
                  <a:gd name="T13" fmla="*/ 2147483647 h 228"/>
                  <a:gd name="T14" fmla="*/ 2147483647 w 240"/>
                  <a:gd name="T15" fmla="*/ 2147483647 h 228"/>
                  <a:gd name="T16" fmla="*/ 2147483647 w 240"/>
                  <a:gd name="T17" fmla="*/ 2147483647 h 228"/>
                  <a:gd name="T18" fmla="*/ 2147483647 w 240"/>
                  <a:gd name="T19" fmla="*/ 2147483647 h 228"/>
                  <a:gd name="T20" fmla="*/ 2147483647 w 240"/>
                  <a:gd name="T21" fmla="*/ 2147483647 h 228"/>
                  <a:gd name="T22" fmla="*/ 2147483647 w 240"/>
                  <a:gd name="T23" fmla="*/ 2147483647 h 228"/>
                  <a:gd name="T24" fmla="*/ 2147483647 w 240"/>
                  <a:gd name="T25" fmla="*/ 2147483647 h 228"/>
                  <a:gd name="T26" fmla="*/ 2147483647 w 240"/>
                  <a:gd name="T27" fmla="*/ 2147483647 h 228"/>
                  <a:gd name="T28" fmla="*/ 2147483647 w 240"/>
                  <a:gd name="T29" fmla="*/ 2147483647 h 228"/>
                  <a:gd name="T30" fmla="*/ 2147483647 w 240"/>
                  <a:gd name="T31" fmla="*/ 0 h 228"/>
                  <a:gd name="T32" fmla="*/ 2147483647 w 240"/>
                  <a:gd name="T33" fmla="*/ 2147483647 h 228"/>
                  <a:gd name="T34" fmla="*/ 2147483647 w 240"/>
                  <a:gd name="T35" fmla="*/ 2147483647 h 228"/>
                  <a:gd name="T36" fmla="*/ 0 w 240"/>
                  <a:gd name="T37" fmla="*/ 2147483647 h 228"/>
                  <a:gd name="T38" fmla="*/ 2147483647 w 240"/>
                  <a:gd name="T39" fmla="*/ 2147483647 h 228"/>
                  <a:gd name="T40" fmla="*/ 2147483647 w 240"/>
                  <a:gd name="T41" fmla="*/ 2147483647 h 228"/>
                  <a:gd name="T42" fmla="*/ 2147483647 w 240"/>
                  <a:gd name="T43" fmla="*/ 2147483647 h 228"/>
                  <a:gd name="T44" fmla="*/ 2147483647 w 240"/>
                  <a:gd name="T45" fmla="*/ 2147483647 h 228"/>
                  <a:gd name="T46" fmla="*/ 2147483647 w 240"/>
                  <a:gd name="T47" fmla="*/ 2147483647 h 228"/>
                  <a:gd name="T48" fmla="*/ 2147483647 w 240"/>
                  <a:gd name="T49" fmla="*/ 2147483647 h 228"/>
                  <a:gd name="T50" fmla="*/ 2147483647 w 240"/>
                  <a:gd name="T51" fmla="*/ 2147483647 h 228"/>
                  <a:gd name="T52" fmla="*/ 2147483647 w 240"/>
                  <a:gd name="T53" fmla="*/ 2147483647 h 228"/>
                  <a:gd name="T54" fmla="*/ 2147483647 w 240"/>
                  <a:gd name="T55" fmla="*/ 2147483647 h 228"/>
                  <a:gd name="T56" fmla="*/ 2147483647 w 240"/>
                  <a:gd name="T57" fmla="*/ 2147483647 h 228"/>
                  <a:gd name="T58" fmla="*/ 2147483647 w 240"/>
                  <a:gd name="T59" fmla="*/ 2147483647 h 228"/>
                  <a:gd name="T60" fmla="*/ 2147483647 w 240"/>
                  <a:gd name="T61" fmla="*/ 2147483647 h 228"/>
                  <a:gd name="T62" fmla="*/ 2147483647 w 240"/>
                  <a:gd name="T63" fmla="*/ 2147483647 h 228"/>
                  <a:gd name="T64" fmla="*/ 2147483647 w 240"/>
                  <a:gd name="T65" fmla="*/ 2147483647 h 228"/>
                  <a:gd name="T66" fmla="*/ 2147483647 w 240"/>
                  <a:gd name="T67" fmla="*/ 2147483647 h 22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40"/>
                  <a:gd name="T103" fmla="*/ 0 h 228"/>
                  <a:gd name="T104" fmla="*/ 240 w 240"/>
                  <a:gd name="T105" fmla="*/ 228 h 22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40" h="228">
                    <a:moveTo>
                      <a:pt x="210" y="198"/>
                    </a:moveTo>
                    <a:lnTo>
                      <a:pt x="216" y="198"/>
                    </a:lnTo>
                    <a:lnTo>
                      <a:pt x="234" y="180"/>
                    </a:lnTo>
                    <a:lnTo>
                      <a:pt x="228" y="174"/>
                    </a:lnTo>
                    <a:lnTo>
                      <a:pt x="210" y="174"/>
                    </a:lnTo>
                    <a:lnTo>
                      <a:pt x="210" y="168"/>
                    </a:lnTo>
                    <a:lnTo>
                      <a:pt x="204" y="162"/>
                    </a:lnTo>
                    <a:lnTo>
                      <a:pt x="204" y="144"/>
                    </a:lnTo>
                    <a:lnTo>
                      <a:pt x="210" y="138"/>
                    </a:lnTo>
                    <a:lnTo>
                      <a:pt x="222" y="138"/>
                    </a:lnTo>
                    <a:lnTo>
                      <a:pt x="228" y="132"/>
                    </a:lnTo>
                    <a:lnTo>
                      <a:pt x="240" y="132"/>
                    </a:lnTo>
                    <a:lnTo>
                      <a:pt x="228" y="126"/>
                    </a:lnTo>
                    <a:lnTo>
                      <a:pt x="210" y="108"/>
                    </a:lnTo>
                    <a:lnTo>
                      <a:pt x="198" y="84"/>
                    </a:lnTo>
                    <a:lnTo>
                      <a:pt x="192" y="78"/>
                    </a:lnTo>
                    <a:lnTo>
                      <a:pt x="186" y="66"/>
                    </a:lnTo>
                    <a:lnTo>
                      <a:pt x="180" y="60"/>
                    </a:lnTo>
                    <a:lnTo>
                      <a:pt x="174" y="36"/>
                    </a:lnTo>
                    <a:lnTo>
                      <a:pt x="138" y="36"/>
                    </a:lnTo>
                    <a:lnTo>
                      <a:pt x="126" y="24"/>
                    </a:lnTo>
                    <a:lnTo>
                      <a:pt x="126" y="18"/>
                    </a:lnTo>
                    <a:lnTo>
                      <a:pt x="120" y="18"/>
                    </a:lnTo>
                    <a:lnTo>
                      <a:pt x="114" y="12"/>
                    </a:lnTo>
                    <a:lnTo>
                      <a:pt x="84" y="12"/>
                    </a:lnTo>
                    <a:lnTo>
                      <a:pt x="84" y="18"/>
                    </a:lnTo>
                    <a:lnTo>
                      <a:pt x="78" y="18"/>
                    </a:lnTo>
                    <a:lnTo>
                      <a:pt x="72" y="12"/>
                    </a:lnTo>
                    <a:lnTo>
                      <a:pt x="60" y="6"/>
                    </a:lnTo>
                    <a:lnTo>
                      <a:pt x="48" y="6"/>
                    </a:lnTo>
                    <a:lnTo>
                      <a:pt x="42" y="0"/>
                    </a:lnTo>
                    <a:lnTo>
                      <a:pt x="24" y="0"/>
                    </a:lnTo>
                    <a:lnTo>
                      <a:pt x="6" y="30"/>
                    </a:lnTo>
                    <a:lnTo>
                      <a:pt x="18" y="42"/>
                    </a:lnTo>
                    <a:lnTo>
                      <a:pt x="24" y="42"/>
                    </a:lnTo>
                    <a:lnTo>
                      <a:pt x="24" y="48"/>
                    </a:lnTo>
                    <a:lnTo>
                      <a:pt x="6" y="66"/>
                    </a:lnTo>
                    <a:lnTo>
                      <a:pt x="0" y="78"/>
                    </a:lnTo>
                    <a:lnTo>
                      <a:pt x="6" y="90"/>
                    </a:lnTo>
                    <a:lnTo>
                      <a:pt x="18" y="102"/>
                    </a:lnTo>
                    <a:lnTo>
                      <a:pt x="30" y="108"/>
                    </a:lnTo>
                    <a:lnTo>
                      <a:pt x="42" y="108"/>
                    </a:lnTo>
                    <a:lnTo>
                      <a:pt x="60" y="126"/>
                    </a:lnTo>
                    <a:lnTo>
                      <a:pt x="72" y="126"/>
                    </a:lnTo>
                    <a:lnTo>
                      <a:pt x="72" y="102"/>
                    </a:lnTo>
                    <a:lnTo>
                      <a:pt x="66" y="96"/>
                    </a:lnTo>
                    <a:lnTo>
                      <a:pt x="54" y="90"/>
                    </a:lnTo>
                    <a:lnTo>
                      <a:pt x="42" y="78"/>
                    </a:lnTo>
                    <a:lnTo>
                      <a:pt x="42" y="72"/>
                    </a:lnTo>
                    <a:lnTo>
                      <a:pt x="48" y="72"/>
                    </a:lnTo>
                    <a:lnTo>
                      <a:pt x="60" y="78"/>
                    </a:lnTo>
                    <a:lnTo>
                      <a:pt x="66" y="84"/>
                    </a:lnTo>
                    <a:lnTo>
                      <a:pt x="90" y="96"/>
                    </a:lnTo>
                    <a:lnTo>
                      <a:pt x="96" y="102"/>
                    </a:lnTo>
                    <a:lnTo>
                      <a:pt x="96" y="132"/>
                    </a:lnTo>
                    <a:lnTo>
                      <a:pt x="114" y="132"/>
                    </a:lnTo>
                    <a:lnTo>
                      <a:pt x="126" y="138"/>
                    </a:lnTo>
                    <a:lnTo>
                      <a:pt x="138" y="138"/>
                    </a:lnTo>
                    <a:lnTo>
                      <a:pt x="156" y="180"/>
                    </a:lnTo>
                    <a:lnTo>
                      <a:pt x="150" y="186"/>
                    </a:lnTo>
                    <a:lnTo>
                      <a:pt x="150" y="198"/>
                    </a:lnTo>
                    <a:lnTo>
                      <a:pt x="168" y="216"/>
                    </a:lnTo>
                    <a:lnTo>
                      <a:pt x="180" y="222"/>
                    </a:lnTo>
                    <a:lnTo>
                      <a:pt x="192" y="222"/>
                    </a:lnTo>
                    <a:lnTo>
                      <a:pt x="174" y="198"/>
                    </a:lnTo>
                    <a:lnTo>
                      <a:pt x="204" y="228"/>
                    </a:lnTo>
                    <a:lnTo>
                      <a:pt x="210" y="222"/>
                    </a:lnTo>
                    <a:lnTo>
                      <a:pt x="210" y="198"/>
                    </a:lnTo>
                    <a:close/>
                  </a:path>
                </a:pathLst>
              </a:custGeom>
              <a:solidFill>
                <a:srgbClr val="9D90A0">
                  <a:lumMod val="40000"/>
                  <a:lumOff val="60000"/>
                </a:srgbClr>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31" name="China" descr="© INSCALE GmbH, 05.05.2010&#10;http://www.presentationload.com/">
                <a:extLst>
                  <a:ext uri="{FF2B5EF4-FFF2-40B4-BE49-F238E27FC236}">
                    <a16:creationId xmlns:a16="http://schemas.microsoft.com/office/drawing/2014/main" id="{FDC2303B-AF3C-428B-8A48-F7A6D0B11DA4}"/>
                  </a:ext>
                </a:extLst>
              </p:cNvPr>
              <p:cNvSpPr>
                <a:spLocks noEditPoints="1"/>
              </p:cNvSpPr>
              <p:nvPr/>
            </p:nvSpPr>
            <p:spPr bwMode="gray">
              <a:xfrm>
                <a:off x="6155232" y="2665392"/>
                <a:ext cx="1446038" cy="1242346"/>
              </a:xfrm>
              <a:custGeom>
                <a:avLst/>
                <a:gdLst>
                  <a:gd name="T0" fmla="*/ 2147483647 w 3660"/>
                  <a:gd name="T1" fmla="*/ 2147483647 h 2826"/>
                  <a:gd name="T2" fmla="*/ 2147483647 w 3660"/>
                  <a:gd name="T3" fmla="*/ 2147483647 h 2826"/>
                  <a:gd name="T4" fmla="*/ 2147483647 w 3660"/>
                  <a:gd name="T5" fmla="*/ 2147483647 h 2826"/>
                  <a:gd name="T6" fmla="*/ 2147483647 w 3660"/>
                  <a:gd name="T7" fmla="*/ 2147483647 h 2826"/>
                  <a:gd name="T8" fmla="*/ 2147483647 w 3660"/>
                  <a:gd name="T9" fmla="*/ 2147483647 h 2826"/>
                  <a:gd name="T10" fmla="*/ 2147483647 w 3660"/>
                  <a:gd name="T11" fmla="*/ 2147483647 h 2826"/>
                  <a:gd name="T12" fmla="*/ 2147483647 w 3660"/>
                  <a:gd name="T13" fmla="*/ 2147483647 h 2826"/>
                  <a:gd name="T14" fmla="*/ 2147483647 w 3660"/>
                  <a:gd name="T15" fmla="*/ 2147483647 h 2826"/>
                  <a:gd name="T16" fmla="*/ 2147483647 w 3660"/>
                  <a:gd name="T17" fmla="*/ 2147483647 h 2826"/>
                  <a:gd name="T18" fmla="*/ 2147483647 w 3660"/>
                  <a:gd name="T19" fmla="*/ 2147483647 h 2826"/>
                  <a:gd name="T20" fmla="*/ 2147483647 w 3660"/>
                  <a:gd name="T21" fmla="*/ 2147483647 h 2826"/>
                  <a:gd name="T22" fmla="*/ 2147483647 w 3660"/>
                  <a:gd name="T23" fmla="*/ 2147483647 h 2826"/>
                  <a:gd name="T24" fmla="*/ 2147483647 w 3660"/>
                  <a:gd name="T25" fmla="*/ 2147483647 h 2826"/>
                  <a:gd name="T26" fmla="*/ 2147483647 w 3660"/>
                  <a:gd name="T27" fmla="*/ 2147483647 h 2826"/>
                  <a:gd name="T28" fmla="*/ 2147483647 w 3660"/>
                  <a:gd name="T29" fmla="*/ 2147483647 h 2826"/>
                  <a:gd name="T30" fmla="*/ 2147483647 w 3660"/>
                  <a:gd name="T31" fmla="*/ 2147483647 h 2826"/>
                  <a:gd name="T32" fmla="*/ 2147483647 w 3660"/>
                  <a:gd name="T33" fmla="*/ 2147483647 h 2826"/>
                  <a:gd name="T34" fmla="*/ 2147483647 w 3660"/>
                  <a:gd name="T35" fmla="*/ 2147483647 h 2826"/>
                  <a:gd name="T36" fmla="*/ 2147483647 w 3660"/>
                  <a:gd name="T37" fmla="*/ 2147483647 h 2826"/>
                  <a:gd name="T38" fmla="*/ 2147483647 w 3660"/>
                  <a:gd name="T39" fmla="*/ 2147483647 h 2826"/>
                  <a:gd name="T40" fmla="*/ 2147483647 w 3660"/>
                  <a:gd name="T41" fmla="*/ 2147483647 h 2826"/>
                  <a:gd name="T42" fmla="*/ 2147483647 w 3660"/>
                  <a:gd name="T43" fmla="*/ 2147483647 h 2826"/>
                  <a:gd name="T44" fmla="*/ 2147483647 w 3660"/>
                  <a:gd name="T45" fmla="*/ 2147483647 h 2826"/>
                  <a:gd name="T46" fmla="*/ 0 w 3660"/>
                  <a:gd name="T47" fmla="*/ 2147483647 h 2826"/>
                  <a:gd name="T48" fmla="*/ 2147483647 w 3660"/>
                  <a:gd name="T49" fmla="*/ 2147483647 h 2826"/>
                  <a:gd name="T50" fmla="*/ 2147483647 w 3660"/>
                  <a:gd name="T51" fmla="*/ 2147483647 h 2826"/>
                  <a:gd name="T52" fmla="*/ 2147483647 w 3660"/>
                  <a:gd name="T53" fmla="*/ 2147483647 h 2826"/>
                  <a:gd name="T54" fmla="*/ 2147483647 w 3660"/>
                  <a:gd name="T55" fmla="*/ 2147483647 h 2826"/>
                  <a:gd name="T56" fmla="*/ 2147483647 w 3660"/>
                  <a:gd name="T57" fmla="*/ 2147483647 h 2826"/>
                  <a:gd name="T58" fmla="*/ 2147483647 w 3660"/>
                  <a:gd name="T59" fmla="*/ 2147483647 h 2826"/>
                  <a:gd name="T60" fmla="*/ 2147483647 w 3660"/>
                  <a:gd name="T61" fmla="*/ 2147483647 h 2826"/>
                  <a:gd name="T62" fmla="*/ 2147483647 w 3660"/>
                  <a:gd name="T63" fmla="*/ 2147483647 h 2826"/>
                  <a:gd name="T64" fmla="*/ 2147483647 w 3660"/>
                  <a:gd name="T65" fmla="*/ 2147483647 h 2826"/>
                  <a:gd name="T66" fmla="*/ 2147483647 w 3660"/>
                  <a:gd name="T67" fmla="*/ 2147483647 h 2826"/>
                  <a:gd name="T68" fmla="*/ 2147483647 w 3660"/>
                  <a:gd name="T69" fmla="*/ 2147483647 h 2826"/>
                  <a:gd name="T70" fmla="*/ 2147483647 w 3660"/>
                  <a:gd name="T71" fmla="*/ 2147483647 h 2826"/>
                  <a:gd name="T72" fmla="*/ 2147483647 w 3660"/>
                  <a:gd name="T73" fmla="*/ 2147483647 h 2826"/>
                  <a:gd name="T74" fmla="*/ 2147483647 w 3660"/>
                  <a:gd name="T75" fmla="*/ 2147483647 h 2826"/>
                  <a:gd name="T76" fmla="*/ 2147483647 w 3660"/>
                  <a:gd name="T77" fmla="*/ 2147483647 h 2826"/>
                  <a:gd name="T78" fmla="*/ 2147483647 w 3660"/>
                  <a:gd name="T79" fmla="*/ 2147483647 h 2826"/>
                  <a:gd name="T80" fmla="*/ 2147483647 w 3660"/>
                  <a:gd name="T81" fmla="*/ 2147483647 h 2826"/>
                  <a:gd name="T82" fmla="*/ 2147483647 w 3660"/>
                  <a:gd name="T83" fmla="*/ 2147483647 h 2826"/>
                  <a:gd name="T84" fmla="*/ 2147483647 w 3660"/>
                  <a:gd name="T85" fmla="*/ 2147483647 h 2826"/>
                  <a:gd name="T86" fmla="*/ 2147483647 w 3660"/>
                  <a:gd name="T87" fmla="*/ 2147483647 h 2826"/>
                  <a:gd name="T88" fmla="*/ 2147483647 w 3660"/>
                  <a:gd name="T89" fmla="*/ 2147483647 h 2826"/>
                  <a:gd name="T90" fmla="*/ 2147483647 w 3660"/>
                  <a:gd name="T91" fmla="*/ 2147483647 h 2826"/>
                  <a:gd name="T92" fmla="*/ 2147483647 w 3660"/>
                  <a:gd name="T93" fmla="*/ 2147483647 h 2826"/>
                  <a:gd name="T94" fmla="*/ 2147483647 w 3660"/>
                  <a:gd name="T95" fmla="*/ 2147483647 h 2826"/>
                  <a:gd name="T96" fmla="*/ 2147483647 w 3660"/>
                  <a:gd name="T97" fmla="*/ 2147483647 h 2826"/>
                  <a:gd name="T98" fmla="*/ 2147483647 w 3660"/>
                  <a:gd name="T99" fmla="*/ 2147483647 h 2826"/>
                  <a:gd name="T100" fmla="*/ 2147483647 w 3660"/>
                  <a:gd name="T101" fmla="*/ 2147483647 h 2826"/>
                  <a:gd name="T102" fmla="*/ 2147483647 w 3660"/>
                  <a:gd name="T103" fmla="*/ 2147483647 h 2826"/>
                  <a:gd name="T104" fmla="*/ 2147483647 w 3660"/>
                  <a:gd name="T105" fmla="*/ 2147483647 h 2826"/>
                  <a:gd name="T106" fmla="*/ 2147483647 w 3660"/>
                  <a:gd name="T107" fmla="*/ 2147483647 h 2826"/>
                  <a:gd name="T108" fmla="*/ 2147483647 w 3660"/>
                  <a:gd name="T109" fmla="*/ 2147483647 h 2826"/>
                  <a:gd name="T110" fmla="*/ 2147483647 w 3660"/>
                  <a:gd name="T111" fmla="*/ 2147483647 h 2826"/>
                  <a:gd name="T112" fmla="*/ 2147483647 w 3660"/>
                  <a:gd name="T113" fmla="*/ 2147483647 h 2826"/>
                  <a:gd name="T114" fmla="*/ 2147483647 w 3660"/>
                  <a:gd name="T115" fmla="*/ 2147483647 h 2826"/>
                  <a:gd name="T116" fmla="*/ 2147483647 w 3660"/>
                  <a:gd name="T117" fmla="*/ 2147483647 h 2826"/>
                  <a:gd name="T118" fmla="*/ 2147483647 w 3660"/>
                  <a:gd name="T119" fmla="*/ 2147483647 h 2826"/>
                  <a:gd name="T120" fmla="*/ 2147483647 w 3660"/>
                  <a:gd name="T121" fmla="*/ 2147483647 h 2826"/>
                  <a:gd name="T122" fmla="*/ 2147483647 w 3660"/>
                  <a:gd name="T123" fmla="*/ 2147483647 h 28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660"/>
                  <a:gd name="T187" fmla="*/ 0 h 2826"/>
                  <a:gd name="T188" fmla="*/ 3660 w 3660"/>
                  <a:gd name="T189" fmla="*/ 2826 h 282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660" h="2826">
                    <a:moveTo>
                      <a:pt x="2862" y="2688"/>
                    </a:moveTo>
                    <a:lnTo>
                      <a:pt x="2850" y="2682"/>
                    </a:lnTo>
                    <a:lnTo>
                      <a:pt x="2772" y="2682"/>
                    </a:lnTo>
                    <a:lnTo>
                      <a:pt x="2766" y="2700"/>
                    </a:lnTo>
                    <a:lnTo>
                      <a:pt x="2748" y="2694"/>
                    </a:lnTo>
                    <a:lnTo>
                      <a:pt x="2736" y="2718"/>
                    </a:lnTo>
                    <a:lnTo>
                      <a:pt x="2730" y="2724"/>
                    </a:lnTo>
                    <a:lnTo>
                      <a:pt x="2712" y="2760"/>
                    </a:lnTo>
                    <a:lnTo>
                      <a:pt x="2718" y="2772"/>
                    </a:lnTo>
                    <a:lnTo>
                      <a:pt x="2724" y="2790"/>
                    </a:lnTo>
                    <a:lnTo>
                      <a:pt x="2754" y="2820"/>
                    </a:lnTo>
                    <a:lnTo>
                      <a:pt x="2766" y="2826"/>
                    </a:lnTo>
                    <a:lnTo>
                      <a:pt x="2772" y="2826"/>
                    </a:lnTo>
                    <a:lnTo>
                      <a:pt x="2802" y="2820"/>
                    </a:lnTo>
                    <a:lnTo>
                      <a:pt x="2820" y="2820"/>
                    </a:lnTo>
                    <a:lnTo>
                      <a:pt x="2844" y="2808"/>
                    </a:lnTo>
                    <a:lnTo>
                      <a:pt x="2850" y="2802"/>
                    </a:lnTo>
                    <a:lnTo>
                      <a:pt x="2850" y="2754"/>
                    </a:lnTo>
                    <a:lnTo>
                      <a:pt x="2856" y="2742"/>
                    </a:lnTo>
                    <a:lnTo>
                      <a:pt x="2862" y="2736"/>
                    </a:lnTo>
                    <a:lnTo>
                      <a:pt x="2868" y="2724"/>
                    </a:lnTo>
                    <a:lnTo>
                      <a:pt x="2868" y="2700"/>
                    </a:lnTo>
                    <a:lnTo>
                      <a:pt x="2862" y="2688"/>
                    </a:lnTo>
                    <a:close/>
                    <a:moveTo>
                      <a:pt x="3660" y="624"/>
                    </a:moveTo>
                    <a:lnTo>
                      <a:pt x="3654" y="600"/>
                    </a:lnTo>
                    <a:lnTo>
                      <a:pt x="3660" y="570"/>
                    </a:lnTo>
                    <a:lnTo>
                      <a:pt x="3642" y="564"/>
                    </a:lnTo>
                    <a:lnTo>
                      <a:pt x="3642" y="540"/>
                    </a:lnTo>
                    <a:lnTo>
                      <a:pt x="3630" y="528"/>
                    </a:lnTo>
                    <a:lnTo>
                      <a:pt x="3630" y="510"/>
                    </a:lnTo>
                    <a:lnTo>
                      <a:pt x="3618" y="492"/>
                    </a:lnTo>
                    <a:lnTo>
                      <a:pt x="3636" y="486"/>
                    </a:lnTo>
                    <a:lnTo>
                      <a:pt x="3636" y="456"/>
                    </a:lnTo>
                    <a:lnTo>
                      <a:pt x="3612" y="444"/>
                    </a:lnTo>
                    <a:lnTo>
                      <a:pt x="3612" y="426"/>
                    </a:lnTo>
                    <a:lnTo>
                      <a:pt x="3606" y="414"/>
                    </a:lnTo>
                    <a:lnTo>
                      <a:pt x="3594" y="408"/>
                    </a:lnTo>
                    <a:lnTo>
                      <a:pt x="3552" y="408"/>
                    </a:lnTo>
                    <a:lnTo>
                      <a:pt x="3546" y="432"/>
                    </a:lnTo>
                    <a:lnTo>
                      <a:pt x="3516" y="432"/>
                    </a:lnTo>
                    <a:lnTo>
                      <a:pt x="3504" y="438"/>
                    </a:lnTo>
                    <a:lnTo>
                      <a:pt x="3498" y="438"/>
                    </a:lnTo>
                    <a:lnTo>
                      <a:pt x="3492" y="444"/>
                    </a:lnTo>
                    <a:lnTo>
                      <a:pt x="3492" y="462"/>
                    </a:lnTo>
                    <a:lnTo>
                      <a:pt x="3462" y="456"/>
                    </a:lnTo>
                    <a:lnTo>
                      <a:pt x="3462" y="468"/>
                    </a:lnTo>
                    <a:lnTo>
                      <a:pt x="3444" y="468"/>
                    </a:lnTo>
                    <a:lnTo>
                      <a:pt x="3432" y="456"/>
                    </a:lnTo>
                    <a:lnTo>
                      <a:pt x="3408" y="462"/>
                    </a:lnTo>
                    <a:lnTo>
                      <a:pt x="3366" y="432"/>
                    </a:lnTo>
                    <a:lnTo>
                      <a:pt x="3366" y="420"/>
                    </a:lnTo>
                    <a:lnTo>
                      <a:pt x="3360" y="408"/>
                    </a:lnTo>
                    <a:lnTo>
                      <a:pt x="3360" y="402"/>
                    </a:lnTo>
                    <a:lnTo>
                      <a:pt x="3354" y="396"/>
                    </a:lnTo>
                    <a:lnTo>
                      <a:pt x="3336" y="396"/>
                    </a:lnTo>
                    <a:lnTo>
                      <a:pt x="3318" y="366"/>
                    </a:lnTo>
                    <a:lnTo>
                      <a:pt x="3276" y="366"/>
                    </a:lnTo>
                    <a:lnTo>
                      <a:pt x="3258" y="348"/>
                    </a:lnTo>
                    <a:lnTo>
                      <a:pt x="3246" y="342"/>
                    </a:lnTo>
                    <a:lnTo>
                      <a:pt x="3228" y="324"/>
                    </a:lnTo>
                    <a:lnTo>
                      <a:pt x="3216" y="324"/>
                    </a:lnTo>
                    <a:lnTo>
                      <a:pt x="3204" y="336"/>
                    </a:lnTo>
                    <a:lnTo>
                      <a:pt x="3192" y="330"/>
                    </a:lnTo>
                    <a:lnTo>
                      <a:pt x="3186" y="324"/>
                    </a:lnTo>
                    <a:lnTo>
                      <a:pt x="3174" y="318"/>
                    </a:lnTo>
                    <a:lnTo>
                      <a:pt x="3126" y="318"/>
                    </a:lnTo>
                    <a:lnTo>
                      <a:pt x="3114" y="312"/>
                    </a:lnTo>
                    <a:lnTo>
                      <a:pt x="3108" y="306"/>
                    </a:lnTo>
                    <a:lnTo>
                      <a:pt x="3084" y="294"/>
                    </a:lnTo>
                    <a:lnTo>
                      <a:pt x="3078" y="288"/>
                    </a:lnTo>
                    <a:lnTo>
                      <a:pt x="3072" y="288"/>
                    </a:lnTo>
                    <a:lnTo>
                      <a:pt x="3066" y="264"/>
                    </a:lnTo>
                    <a:lnTo>
                      <a:pt x="3054" y="264"/>
                    </a:lnTo>
                    <a:lnTo>
                      <a:pt x="3048" y="252"/>
                    </a:lnTo>
                    <a:lnTo>
                      <a:pt x="3030" y="234"/>
                    </a:lnTo>
                    <a:lnTo>
                      <a:pt x="3024" y="222"/>
                    </a:lnTo>
                    <a:lnTo>
                      <a:pt x="2976" y="198"/>
                    </a:lnTo>
                    <a:lnTo>
                      <a:pt x="2964" y="198"/>
                    </a:lnTo>
                    <a:lnTo>
                      <a:pt x="2952" y="168"/>
                    </a:lnTo>
                    <a:lnTo>
                      <a:pt x="2904" y="144"/>
                    </a:lnTo>
                    <a:lnTo>
                      <a:pt x="2898" y="114"/>
                    </a:lnTo>
                    <a:lnTo>
                      <a:pt x="2892" y="114"/>
                    </a:lnTo>
                    <a:lnTo>
                      <a:pt x="2886" y="108"/>
                    </a:lnTo>
                    <a:lnTo>
                      <a:pt x="2874" y="108"/>
                    </a:lnTo>
                    <a:lnTo>
                      <a:pt x="2862" y="96"/>
                    </a:lnTo>
                    <a:lnTo>
                      <a:pt x="2850" y="90"/>
                    </a:lnTo>
                    <a:lnTo>
                      <a:pt x="2838" y="78"/>
                    </a:lnTo>
                    <a:lnTo>
                      <a:pt x="2832" y="78"/>
                    </a:lnTo>
                    <a:lnTo>
                      <a:pt x="2832" y="66"/>
                    </a:lnTo>
                    <a:lnTo>
                      <a:pt x="2820" y="60"/>
                    </a:lnTo>
                    <a:lnTo>
                      <a:pt x="2814" y="54"/>
                    </a:lnTo>
                    <a:lnTo>
                      <a:pt x="2802" y="48"/>
                    </a:lnTo>
                    <a:lnTo>
                      <a:pt x="2796" y="42"/>
                    </a:lnTo>
                    <a:lnTo>
                      <a:pt x="2724" y="42"/>
                    </a:lnTo>
                    <a:lnTo>
                      <a:pt x="2688" y="18"/>
                    </a:lnTo>
                    <a:lnTo>
                      <a:pt x="2652" y="0"/>
                    </a:lnTo>
                    <a:lnTo>
                      <a:pt x="2598" y="12"/>
                    </a:lnTo>
                    <a:lnTo>
                      <a:pt x="2556" y="6"/>
                    </a:lnTo>
                    <a:lnTo>
                      <a:pt x="2550" y="18"/>
                    </a:lnTo>
                    <a:lnTo>
                      <a:pt x="2514" y="24"/>
                    </a:lnTo>
                    <a:lnTo>
                      <a:pt x="2472" y="66"/>
                    </a:lnTo>
                    <a:lnTo>
                      <a:pt x="2466" y="66"/>
                    </a:lnTo>
                    <a:lnTo>
                      <a:pt x="2466" y="78"/>
                    </a:lnTo>
                    <a:lnTo>
                      <a:pt x="2472" y="78"/>
                    </a:lnTo>
                    <a:lnTo>
                      <a:pt x="2490" y="84"/>
                    </a:lnTo>
                    <a:lnTo>
                      <a:pt x="2502" y="84"/>
                    </a:lnTo>
                    <a:lnTo>
                      <a:pt x="2508" y="90"/>
                    </a:lnTo>
                    <a:lnTo>
                      <a:pt x="2520" y="90"/>
                    </a:lnTo>
                    <a:lnTo>
                      <a:pt x="2532" y="102"/>
                    </a:lnTo>
                    <a:lnTo>
                      <a:pt x="2544" y="108"/>
                    </a:lnTo>
                    <a:lnTo>
                      <a:pt x="2550" y="114"/>
                    </a:lnTo>
                    <a:lnTo>
                      <a:pt x="2550" y="126"/>
                    </a:lnTo>
                    <a:lnTo>
                      <a:pt x="2532" y="144"/>
                    </a:lnTo>
                    <a:lnTo>
                      <a:pt x="2532" y="216"/>
                    </a:lnTo>
                    <a:lnTo>
                      <a:pt x="2538" y="258"/>
                    </a:lnTo>
                    <a:lnTo>
                      <a:pt x="2544" y="264"/>
                    </a:lnTo>
                    <a:lnTo>
                      <a:pt x="2556" y="264"/>
                    </a:lnTo>
                    <a:lnTo>
                      <a:pt x="2556" y="276"/>
                    </a:lnTo>
                    <a:lnTo>
                      <a:pt x="2550" y="282"/>
                    </a:lnTo>
                    <a:lnTo>
                      <a:pt x="2538" y="288"/>
                    </a:lnTo>
                    <a:lnTo>
                      <a:pt x="2514" y="288"/>
                    </a:lnTo>
                    <a:lnTo>
                      <a:pt x="2514" y="300"/>
                    </a:lnTo>
                    <a:lnTo>
                      <a:pt x="2496" y="318"/>
                    </a:lnTo>
                    <a:lnTo>
                      <a:pt x="2484" y="318"/>
                    </a:lnTo>
                    <a:lnTo>
                      <a:pt x="2478" y="312"/>
                    </a:lnTo>
                    <a:lnTo>
                      <a:pt x="2442" y="312"/>
                    </a:lnTo>
                    <a:lnTo>
                      <a:pt x="2406" y="288"/>
                    </a:lnTo>
                    <a:lnTo>
                      <a:pt x="2406" y="372"/>
                    </a:lnTo>
                    <a:lnTo>
                      <a:pt x="2412" y="384"/>
                    </a:lnTo>
                    <a:lnTo>
                      <a:pt x="2418" y="408"/>
                    </a:lnTo>
                    <a:lnTo>
                      <a:pt x="2424" y="420"/>
                    </a:lnTo>
                    <a:lnTo>
                      <a:pt x="2418" y="420"/>
                    </a:lnTo>
                    <a:lnTo>
                      <a:pt x="2418" y="438"/>
                    </a:lnTo>
                    <a:lnTo>
                      <a:pt x="2424" y="450"/>
                    </a:lnTo>
                    <a:lnTo>
                      <a:pt x="2436" y="456"/>
                    </a:lnTo>
                    <a:lnTo>
                      <a:pt x="2442" y="462"/>
                    </a:lnTo>
                    <a:lnTo>
                      <a:pt x="2460" y="462"/>
                    </a:lnTo>
                    <a:lnTo>
                      <a:pt x="2460" y="456"/>
                    </a:lnTo>
                    <a:lnTo>
                      <a:pt x="2454" y="456"/>
                    </a:lnTo>
                    <a:lnTo>
                      <a:pt x="2460" y="450"/>
                    </a:lnTo>
                    <a:lnTo>
                      <a:pt x="2514" y="450"/>
                    </a:lnTo>
                    <a:lnTo>
                      <a:pt x="2526" y="462"/>
                    </a:lnTo>
                    <a:lnTo>
                      <a:pt x="2538" y="468"/>
                    </a:lnTo>
                    <a:lnTo>
                      <a:pt x="2544" y="468"/>
                    </a:lnTo>
                    <a:lnTo>
                      <a:pt x="2550" y="462"/>
                    </a:lnTo>
                    <a:lnTo>
                      <a:pt x="2550" y="438"/>
                    </a:lnTo>
                    <a:lnTo>
                      <a:pt x="2616" y="438"/>
                    </a:lnTo>
                    <a:lnTo>
                      <a:pt x="2616" y="450"/>
                    </a:lnTo>
                    <a:lnTo>
                      <a:pt x="2622" y="456"/>
                    </a:lnTo>
                    <a:lnTo>
                      <a:pt x="2634" y="462"/>
                    </a:lnTo>
                    <a:lnTo>
                      <a:pt x="2652" y="462"/>
                    </a:lnTo>
                    <a:lnTo>
                      <a:pt x="2658" y="468"/>
                    </a:lnTo>
                    <a:lnTo>
                      <a:pt x="2670" y="474"/>
                    </a:lnTo>
                    <a:lnTo>
                      <a:pt x="2682" y="486"/>
                    </a:lnTo>
                    <a:lnTo>
                      <a:pt x="2706" y="498"/>
                    </a:lnTo>
                    <a:lnTo>
                      <a:pt x="2718" y="498"/>
                    </a:lnTo>
                    <a:lnTo>
                      <a:pt x="2724" y="510"/>
                    </a:lnTo>
                    <a:lnTo>
                      <a:pt x="2748" y="534"/>
                    </a:lnTo>
                    <a:lnTo>
                      <a:pt x="2748" y="540"/>
                    </a:lnTo>
                    <a:lnTo>
                      <a:pt x="2742" y="546"/>
                    </a:lnTo>
                    <a:lnTo>
                      <a:pt x="2706" y="546"/>
                    </a:lnTo>
                    <a:lnTo>
                      <a:pt x="2700" y="540"/>
                    </a:lnTo>
                    <a:lnTo>
                      <a:pt x="2688" y="534"/>
                    </a:lnTo>
                    <a:lnTo>
                      <a:pt x="2658" y="534"/>
                    </a:lnTo>
                    <a:lnTo>
                      <a:pt x="2652" y="540"/>
                    </a:lnTo>
                    <a:lnTo>
                      <a:pt x="2646" y="540"/>
                    </a:lnTo>
                    <a:lnTo>
                      <a:pt x="2628" y="558"/>
                    </a:lnTo>
                    <a:lnTo>
                      <a:pt x="2598" y="552"/>
                    </a:lnTo>
                    <a:lnTo>
                      <a:pt x="2598" y="570"/>
                    </a:lnTo>
                    <a:lnTo>
                      <a:pt x="2586" y="570"/>
                    </a:lnTo>
                    <a:lnTo>
                      <a:pt x="2550" y="588"/>
                    </a:lnTo>
                    <a:lnTo>
                      <a:pt x="2544" y="594"/>
                    </a:lnTo>
                    <a:lnTo>
                      <a:pt x="2550" y="606"/>
                    </a:lnTo>
                    <a:lnTo>
                      <a:pt x="2562" y="618"/>
                    </a:lnTo>
                    <a:lnTo>
                      <a:pt x="2538" y="642"/>
                    </a:lnTo>
                    <a:lnTo>
                      <a:pt x="2466" y="642"/>
                    </a:lnTo>
                    <a:lnTo>
                      <a:pt x="2466" y="666"/>
                    </a:lnTo>
                    <a:lnTo>
                      <a:pt x="2460" y="672"/>
                    </a:lnTo>
                    <a:lnTo>
                      <a:pt x="2454" y="684"/>
                    </a:lnTo>
                    <a:lnTo>
                      <a:pt x="2442" y="690"/>
                    </a:lnTo>
                    <a:lnTo>
                      <a:pt x="2424" y="690"/>
                    </a:lnTo>
                    <a:lnTo>
                      <a:pt x="2412" y="696"/>
                    </a:lnTo>
                    <a:lnTo>
                      <a:pt x="2388" y="696"/>
                    </a:lnTo>
                    <a:lnTo>
                      <a:pt x="2376" y="690"/>
                    </a:lnTo>
                    <a:lnTo>
                      <a:pt x="2370" y="684"/>
                    </a:lnTo>
                    <a:lnTo>
                      <a:pt x="2358" y="678"/>
                    </a:lnTo>
                    <a:lnTo>
                      <a:pt x="2352" y="672"/>
                    </a:lnTo>
                    <a:lnTo>
                      <a:pt x="2346" y="672"/>
                    </a:lnTo>
                    <a:lnTo>
                      <a:pt x="2340" y="666"/>
                    </a:lnTo>
                    <a:lnTo>
                      <a:pt x="2316" y="666"/>
                    </a:lnTo>
                    <a:lnTo>
                      <a:pt x="2304" y="672"/>
                    </a:lnTo>
                    <a:lnTo>
                      <a:pt x="2304" y="684"/>
                    </a:lnTo>
                    <a:lnTo>
                      <a:pt x="2298" y="696"/>
                    </a:lnTo>
                    <a:lnTo>
                      <a:pt x="2298" y="708"/>
                    </a:lnTo>
                    <a:lnTo>
                      <a:pt x="2304" y="720"/>
                    </a:lnTo>
                    <a:lnTo>
                      <a:pt x="2322" y="738"/>
                    </a:lnTo>
                    <a:lnTo>
                      <a:pt x="2334" y="744"/>
                    </a:lnTo>
                    <a:lnTo>
                      <a:pt x="2352" y="762"/>
                    </a:lnTo>
                    <a:lnTo>
                      <a:pt x="2364" y="768"/>
                    </a:lnTo>
                    <a:lnTo>
                      <a:pt x="2364" y="774"/>
                    </a:lnTo>
                    <a:lnTo>
                      <a:pt x="2358" y="780"/>
                    </a:lnTo>
                    <a:lnTo>
                      <a:pt x="2352" y="792"/>
                    </a:lnTo>
                    <a:lnTo>
                      <a:pt x="2340" y="804"/>
                    </a:lnTo>
                    <a:lnTo>
                      <a:pt x="2316" y="804"/>
                    </a:lnTo>
                    <a:lnTo>
                      <a:pt x="2316" y="810"/>
                    </a:lnTo>
                    <a:lnTo>
                      <a:pt x="2310" y="822"/>
                    </a:lnTo>
                    <a:lnTo>
                      <a:pt x="2310" y="828"/>
                    </a:lnTo>
                    <a:lnTo>
                      <a:pt x="2298" y="852"/>
                    </a:lnTo>
                    <a:lnTo>
                      <a:pt x="2286" y="858"/>
                    </a:lnTo>
                    <a:lnTo>
                      <a:pt x="2262" y="858"/>
                    </a:lnTo>
                    <a:lnTo>
                      <a:pt x="2244" y="882"/>
                    </a:lnTo>
                    <a:lnTo>
                      <a:pt x="2088" y="882"/>
                    </a:lnTo>
                    <a:lnTo>
                      <a:pt x="2070" y="894"/>
                    </a:lnTo>
                    <a:lnTo>
                      <a:pt x="2010" y="930"/>
                    </a:lnTo>
                    <a:lnTo>
                      <a:pt x="1992" y="942"/>
                    </a:lnTo>
                    <a:lnTo>
                      <a:pt x="1986" y="948"/>
                    </a:lnTo>
                    <a:lnTo>
                      <a:pt x="1968" y="948"/>
                    </a:lnTo>
                    <a:lnTo>
                      <a:pt x="1962" y="942"/>
                    </a:lnTo>
                    <a:lnTo>
                      <a:pt x="1956" y="942"/>
                    </a:lnTo>
                    <a:lnTo>
                      <a:pt x="1950" y="930"/>
                    </a:lnTo>
                    <a:lnTo>
                      <a:pt x="1950" y="924"/>
                    </a:lnTo>
                    <a:lnTo>
                      <a:pt x="1938" y="924"/>
                    </a:lnTo>
                    <a:lnTo>
                      <a:pt x="1926" y="930"/>
                    </a:lnTo>
                    <a:lnTo>
                      <a:pt x="1914" y="930"/>
                    </a:lnTo>
                    <a:lnTo>
                      <a:pt x="1908" y="936"/>
                    </a:lnTo>
                    <a:lnTo>
                      <a:pt x="1896" y="936"/>
                    </a:lnTo>
                    <a:lnTo>
                      <a:pt x="1890" y="930"/>
                    </a:lnTo>
                    <a:lnTo>
                      <a:pt x="1866" y="918"/>
                    </a:lnTo>
                    <a:lnTo>
                      <a:pt x="1848" y="912"/>
                    </a:lnTo>
                    <a:lnTo>
                      <a:pt x="1800" y="912"/>
                    </a:lnTo>
                    <a:lnTo>
                      <a:pt x="1776" y="906"/>
                    </a:lnTo>
                    <a:lnTo>
                      <a:pt x="1764" y="900"/>
                    </a:lnTo>
                    <a:lnTo>
                      <a:pt x="1758" y="888"/>
                    </a:lnTo>
                    <a:lnTo>
                      <a:pt x="1740" y="870"/>
                    </a:lnTo>
                    <a:lnTo>
                      <a:pt x="1728" y="870"/>
                    </a:lnTo>
                    <a:lnTo>
                      <a:pt x="1710" y="864"/>
                    </a:lnTo>
                    <a:lnTo>
                      <a:pt x="1656" y="864"/>
                    </a:lnTo>
                    <a:lnTo>
                      <a:pt x="1650" y="858"/>
                    </a:lnTo>
                    <a:lnTo>
                      <a:pt x="1644" y="858"/>
                    </a:lnTo>
                    <a:lnTo>
                      <a:pt x="1632" y="852"/>
                    </a:lnTo>
                    <a:lnTo>
                      <a:pt x="1620" y="852"/>
                    </a:lnTo>
                    <a:lnTo>
                      <a:pt x="1614" y="858"/>
                    </a:lnTo>
                    <a:lnTo>
                      <a:pt x="1602" y="864"/>
                    </a:lnTo>
                    <a:lnTo>
                      <a:pt x="1596" y="870"/>
                    </a:lnTo>
                    <a:lnTo>
                      <a:pt x="1560" y="864"/>
                    </a:lnTo>
                    <a:lnTo>
                      <a:pt x="1512" y="864"/>
                    </a:lnTo>
                    <a:lnTo>
                      <a:pt x="1458" y="858"/>
                    </a:lnTo>
                    <a:lnTo>
                      <a:pt x="1398" y="864"/>
                    </a:lnTo>
                    <a:lnTo>
                      <a:pt x="1386" y="858"/>
                    </a:lnTo>
                    <a:lnTo>
                      <a:pt x="1380" y="846"/>
                    </a:lnTo>
                    <a:lnTo>
                      <a:pt x="1368" y="840"/>
                    </a:lnTo>
                    <a:lnTo>
                      <a:pt x="1338" y="810"/>
                    </a:lnTo>
                    <a:lnTo>
                      <a:pt x="1332" y="798"/>
                    </a:lnTo>
                    <a:lnTo>
                      <a:pt x="1290" y="756"/>
                    </a:lnTo>
                    <a:lnTo>
                      <a:pt x="1278" y="732"/>
                    </a:lnTo>
                    <a:lnTo>
                      <a:pt x="1242" y="732"/>
                    </a:lnTo>
                    <a:lnTo>
                      <a:pt x="1236" y="726"/>
                    </a:lnTo>
                    <a:lnTo>
                      <a:pt x="1224" y="726"/>
                    </a:lnTo>
                    <a:lnTo>
                      <a:pt x="1200" y="714"/>
                    </a:lnTo>
                    <a:lnTo>
                      <a:pt x="1194" y="714"/>
                    </a:lnTo>
                    <a:lnTo>
                      <a:pt x="1188" y="708"/>
                    </a:lnTo>
                    <a:lnTo>
                      <a:pt x="1182" y="708"/>
                    </a:lnTo>
                    <a:lnTo>
                      <a:pt x="1176" y="696"/>
                    </a:lnTo>
                    <a:lnTo>
                      <a:pt x="1164" y="690"/>
                    </a:lnTo>
                    <a:lnTo>
                      <a:pt x="1158" y="690"/>
                    </a:lnTo>
                    <a:lnTo>
                      <a:pt x="1146" y="684"/>
                    </a:lnTo>
                    <a:lnTo>
                      <a:pt x="1140" y="684"/>
                    </a:lnTo>
                    <a:lnTo>
                      <a:pt x="1134" y="678"/>
                    </a:lnTo>
                    <a:lnTo>
                      <a:pt x="1038" y="678"/>
                    </a:lnTo>
                    <a:lnTo>
                      <a:pt x="1014" y="672"/>
                    </a:lnTo>
                    <a:lnTo>
                      <a:pt x="996" y="666"/>
                    </a:lnTo>
                    <a:lnTo>
                      <a:pt x="990" y="666"/>
                    </a:lnTo>
                    <a:lnTo>
                      <a:pt x="978" y="660"/>
                    </a:lnTo>
                    <a:lnTo>
                      <a:pt x="966" y="660"/>
                    </a:lnTo>
                    <a:lnTo>
                      <a:pt x="954" y="654"/>
                    </a:lnTo>
                    <a:lnTo>
                      <a:pt x="948" y="648"/>
                    </a:lnTo>
                    <a:lnTo>
                      <a:pt x="942" y="636"/>
                    </a:lnTo>
                    <a:lnTo>
                      <a:pt x="936" y="618"/>
                    </a:lnTo>
                    <a:lnTo>
                      <a:pt x="936" y="606"/>
                    </a:lnTo>
                    <a:lnTo>
                      <a:pt x="948" y="594"/>
                    </a:lnTo>
                    <a:lnTo>
                      <a:pt x="948" y="588"/>
                    </a:lnTo>
                    <a:lnTo>
                      <a:pt x="942" y="582"/>
                    </a:lnTo>
                    <a:lnTo>
                      <a:pt x="936" y="570"/>
                    </a:lnTo>
                    <a:lnTo>
                      <a:pt x="930" y="564"/>
                    </a:lnTo>
                    <a:lnTo>
                      <a:pt x="930" y="552"/>
                    </a:lnTo>
                    <a:lnTo>
                      <a:pt x="924" y="540"/>
                    </a:lnTo>
                    <a:lnTo>
                      <a:pt x="912" y="528"/>
                    </a:lnTo>
                    <a:lnTo>
                      <a:pt x="888" y="510"/>
                    </a:lnTo>
                    <a:lnTo>
                      <a:pt x="876" y="492"/>
                    </a:lnTo>
                    <a:lnTo>
                      <a:pt x="870" y="480"/>
                    </a:lnTo>
                    <a:lnTo>
                      <a:pt x="852" y="462"/>
                    </a:lnTo>
                    <a:lnTo>
                      <a:pt x="834" y="456"/>
                    </a:lnTo>
                    <a:lnTo>
                      <a:pt x="822" y="450"/>
                    </a:lnTo>
                    <a:lnTo>
                      <a:pt x="810" y="450"/>
                    </a:lnTo>
                    <a:lnTo>
                      <a:pt x="804" y="444"/>
                    </a:lnTo>
                    <a:lnTo>
                      <a:pt x="786" y="432"/>
                    </a:lnTo>
                    <a:lnTo>
                      <a:pt x="750" y="444"/>
                    </a:lnTo>
                    <a:lnTo>
                      <a:pt x="726" y="420"/>
                    </a:lnTo>
                    <a:lnTo>
                      <a:pt x="720" y="408"/>
                    </a:lnTo>
                    <a:lnTo>
                      <a:pt x="708" y="408"/>
                    </a:lnTo>
                    <a:lnTo>
                      <a:pt x="696" y="402"/>
                    </a:lnTo>
                    <a:lnTo>
                      <a:pt x="684" y="402"/>
                    </a:lnTo>
                    <a:lnTo>
                      <a:pt x="672" y="396"/>
                    </a:lnTo>
                    <a:lnTo>
                      <a:pt x="672" y="378"/>
                    </a:lnTo>
                    <a:lnTo>
                      <a:pt x="648" y="378"/>
                    </a:lnTo>
                    <a:lnTo>
                      <a:pt x="654" y="372"/>
                    </a:lnTo>
                    <a:lnTo>
                      <a:pt x="654" y="360"/>
                    </a:lnTo>
                    <a:lnTo>
                      <a:pt x="648" y="354"/>
                    </a:lnTo>
                    <a:lnTo>
                      <a:pt x="612" y="354"/>
                    </a:lnTo>
                    <a:lnTo>
                      <a:pt x="600" y="348"/>
                    </a:lnTo>
                    <a:lnTo>
                      <a:pt x="582" y="348"/>
                    </a:lnTo>
                    <a:lnTo>
                      <a:pt x="576" y="354"/>
                    </a:lnTo>
                    <a:lnTo>
                      <a:pt x="576" y="360"/>
                    </a:lnTo>
                    <a:lnTo>
                      <a:pt x="594" y="378"/>
                    </a:lnTo>
                    <a:lnTo>
                      <a:pt x="594" y="390"/>
                    </a:lnTo>
                    <a:lnTo>
                      <a:pt x="588" y="396"/>
                    </a:lnTo>
                    <a:lnTo>
                      <a:pt x="546" y="396"/>
                    </a:lnTo>
                    <a:lnTo>
                      <a:pt x="534" y="408"/>
                    </a:lnTo>
                    <a:lnTo>
                      <a:pt x="534" y="426"/>
                    </a:lnTo>
                    <a:lnTo>
                      <a:pt x="546" y="450"/>
                    </a:lnTo>
                    <a:lnTo>
                      <a:pt x="558" y="462"/>
                    </a:lnTo>
                    <a:lnTo>
                      <a:pt x="570" y="486"/>
                    </a:lnTo>
                    <a:lnTo>
                      <a:pt x="570" y="504"/>
                    </a:lnTo>
                    <a:lnTo>
                      <a:pt x="564" y="510"/>
                    </a:lnTo>
                    <a:lnTo>
                      <a:pt x="546" y="510"/>
                    </a:lnTo>
                    <a:lnTo>
                      <a:pt x="528" y="528"/>
                    </a:lnTo>
                    <a:lnTo>
                      <a:pt x="516" y="516"/>
                    </a:lnTo>
                    <a:lnTo>
                      <a:pt x="468" y="516"/>
                    </a:lnTo>
                    <a:lnTo>
                      <a:pt x="444" y="504"/>
                    </a:lnTo>
                    <a:lnTo>
                      <a:pt x="432" y="504"/>
                    </a:lnTo>
                    <a:lnTo>
                      <a:pt x="420" y="498"/>
                    </a:lnTo>
                    <a:lnTo>
                      <a:pt x="408" y="498"/>
                    </a:lnTo>
                    <a:lnTo>
                      <a:pt x="408" y="636"/>
                    </a:lnTo>
                    <a:lnTo>
                      <a:pt x="414" y="636"/>
                    </a:lnTo>
                    <a:lnTo>
                      <a:pt x="420" y="642"/>
                    </a:lnTo>
                    <a:lnTo>
                      <a:pt x="426" y="642"/>
                    </a:lnTo>
                    <a:lnTo>
                      <a:pt x="432" y="648"/>
                    </a:lnTo>
                    <a:lnTo>
                      <a:pt x="432" y="660"/>
                    </a:lnTo>
                    <a:lnTo>
                      <a:pt x="426" y="666"/>
                    </a:lnTo>
                    <a:lnTo>
                      <a:pt x="420" y="666"/>
                    </a:lnTo>
                    <a:lnTo>
                      <a:pt x="408" y="654"/>
                    </a:lnTo>
                    <a:lnTo>
                      <a:pt x="390" y="666"/>
                    </a:lnTo>
                    <a:lnTo>
                      <a:pt x="384" y="660"/>
                    </a:lnTo>
                    <a:lnTo>
                      <a:pt x="378" y="648"/>
                    </a:lnTo>
                    <a:lnTo>
                      <a:pt x="372" y="642"/>
                    </a:lnTo>
                    <a:lnTo>
                      <a:pt x="360" y="642"/>
                    </a:lnTo>
                    <a:lnTo>
                      <a:pt x="324" y="660"/>
                    </a:lnTo>
                    <a:lnTo>
                      <a:pt x="312" y="660"/>
                    </a:lnTo>
                    <a:lnTo>
                      <a:pt x="300" y="666"/>
                    </a:lnTo>
                    <a:lnTo>
                      <a:pt x="288" y="666"/>
                    </a:lnTo>
                    <a:lnTo>
                      <a:pt x="276" y="672"/>
                    </a:lnTo>
                    <a:lnTo>
                      <a:pt x="270" y="678"/>
                    </a:lnTo>
                    <a:lnTo>
                      <a:pt x="270" y="684"/>
                    </a:lnTo>
                    <a:lnTo>
                      <a:pt x="276" y="690"/>
                    </a:lnTo>
                    <a:lnTo>
                      <a:pt x="288" y="696"/>
                    </a:lnTo>
                    <a:lnTo>
                      <a:pt x="306" y="696"/>
                    </a:lnTo>
                    <a:lnTo>
                      <a:pt x="306" y="726"/>
                    </a:lnTo>
                    <a:lnTo>
                      <a:pt x="318" y="750"/>
                    </a:lnTo>
                    <a:lnTo>
                      <a:pt x="360" y="792"/>
                    </a:lnTo>
                    <a:lnTo>
                      <a:pt x="366" y="804"/>
                    </a:lnTo>
                    <a:lnTo>
                      <a:pt x="378" y="810"/>
                    </a:lnTo>
                    <a:lnTo>
                      <a:pt x="378" y="822"/>
                    </a:lnTo>
                    <a:lnTo>
                      <a:pt x="360" y="822"/>
                    </a:lnTo>
                    <a:lnTo>
                      <a:pt x="354" y="828"/>
                    </a:lnTo>
                    <a:lnTo>
                      <a:pt x="354" y="834"/>
                    </a:lnTo>
                    <a:lnTo>
                      <a:pt x="372" y="852"/>
                    </a:lnTo>
                    <a:lnTo>
                      <a:pt x="348" y="852"/>
                    </a:lnTo>
                    <a:lnTo>
                      <a:pt x="348" y="864"/>
                    </a:lnTo>
                    <a:lnTo>
                      <a:pt x="354" y="870"/>
                    </a:lnTo>
                    <a:lnTo>
                      <a:pt x="354" y="882"/>
                    </a:lnTo>
                    <a:lnTo>
                      <a:pt x="372" y="900"/>
                    </a:lnTo>
                    <a:lnTo>
                      <a:pt x="372" y="912"/>
                    </a:lnTo>
                    <a:lnTo>
                      <a:pt x="366" y="918"/>
                    </a:lnTo>
                    <a:lnTo>
                      <a:pt x="342" y="918"/>
                    </a:lnTo>
                    <a:lnTo>
                      <a:pt x="294" y="936"/>
                    </a:lnTo>
                    <a:lnTo>
                      <a:pt x="282" y="948"/>
                    </a:lnTo>
                    <a:lnTo>
                      <a:pt x="270" y="954"/>
                    </a:lnTo>
                    <a:lnTo>
                      <a:pt x="264" y="960"/>
                    </a:lnTo>
                    <a:lnTo>
                      <a:pt x="264" y="978"/>
                    </a:lnTo>
                    <a:lnTo>
                      <a:pt x="258" y="990"/>
                    </a:lnTo>
                    <a:lnTo>
                      <a:pt x="252" y="996"/>
                    </a:lnTo>
                    <a:lnTo>
                      <a:pt x="234" y="996"/>
                    </a:lnTo>
                    <a:lnTo>
                      <a:pt x="216" y="990"/>
                    </a:lnTo>
                    <a:lnTo>
                      <a:pt x="186" y="990"/>
                    </a:lnTo>
                    <a:lnTo>
                      <a:pt x="168" y="1008"/>
                    </a:lnTo>
                    <a:lnTo>
                      <a:pt x="162" y="1020"/>
                    </a:lnTo>
                    <a:lnTo>
                      <a:pt x="162" y="1044"/>
                    </a:lnTo>
                    <a:lnTo>
                      <a:pt x="156" y="1050"/>
                    </a:lnTo>
                    <a:lnTo>
                      <a:pt x="126" y="1044"/>
                    </a:lnTo>
                    <a:lnTo>
                      <a:pt x="114" y="1050"/>
                    </a:lnTo>
                    <a:lnTo>
                      <a:pt x="108" y="1044"/>
                    </a:lnTo>
                    <a:lnTo>
                      <a:pt x="102" y="1032"/>
                    </a:lnTo>
                    <a:lnTo>
                      <a:pt x="96" y="1026"/>
                    </a:lnTo>
                    <a:lnTo>
                      <a:pt x="84" y="1026"/>
                    </a:lnTo>
                    <a:lnTo>
                      <a:pt x="72" y="1038"/>
                    </a:lnTo>
                    <a:lnTo>
                      <a:pt x="48" y="1038"/>
                    </a:lnTo>
                    <a:lnTo>
                      <a:pt x="48" y="1056"/>
                    </a:lnTo>
                    <a:lnTo>
                      <a:pt x="36" y="1062"/>
                    </a:lnTo>
                    <a:lnTo>
                      <a:pt x="30" y="1068"/>
                    </a:lnTo>
                    <a:lnTo>
                      <a:pt x="18" y="1068"/>
                    </a:lnTo>
                    <a:lnTo>
                      <a:pt x="6" y="1074"/>
                    </a:lnTo>
                    <a:lnTo>
                      <a:pt x="0" y="1080"/>
                    </a:lnTo>
                    <a:lnTo>
                      <a:pt x="0" y="1086"/>
                    </a:lnTo>
                    <a:lnTo>
                      <a:pt x="12" y="1092"/>
                    </a:lnTo>
                    <a:lnTo>
                      <a:pt x="18" y="1104"/>
                    </a:lnTo>
                    <a:lnTo>
                      <a:pt x="18" y="1116"/>
                    </a:lnTo>
                    <a:lnTo>
                      <a:pt x="0" y="1116"/>
                    </a:lnTo>
                    <a:lnTo>
                      <a:pt x="0" y="1140"/>
                    </a:lnTo>
                    <a:lnTo>
                      <a:pt x="18" y="1140"/>
                    </a:lnTo>
                    <a:lnTo>
                      <a:pt x="18" y="1152"/>
                    </a:lnTo>
                    <a:lnTo>
                      <a:pt x="12" y="1164"/>
                    </a:lnTo>
                    <a:lnTo>
                      <a:pt x="12" y="1176"/>
                    </a:lnTo>
                    <a:lnTo>
                      <a:pt x="24" y="1188"/>
                    </a:lnTo>
                    <a:lnTo>
                      <a:pt x="36" y="1188"/>
                    </a:lnTo>
                    <a:lnTo>
                      <a:pt x="42" y="1182"/>
                    </a:lnTo>
                    <a:lnTo>
                      <a:pt x="66" y="1182"/>
                    </a:lnTo>
                    <a:lnTo>
                      <a:pt x="78" y="1188"/>
                    </a:lnTo>
                    <a:lnTo>
                      <a:pt x="84" y="1188"/>
                    </a:lnTo>
                    <a:lnTo>
                      <a:pt x="96" y="1194"/>
                    </a:lnTo>
                    <a:lnTo>
                      <a:pt x="102" y="1200"/>
                    </a:lnTo>
                    <a:lnTo>
                      <a:pt x="102" y="1242"/>
                    </a:lnTo>
                    <a:lnTo>
                      <a:pt x="114" y="1266"/>
                    </a:lnTo>
                    <a:lnTo>
                      <a:pt x="120" y="1272"/>
                    </a:lnTo>
                    <a:lnTo>
                      <a:pt x="126" y="1272"/>
                    </a:lnTo>
                    <a:lnTo>
                      <a:pt x="138" y="1284"/>
                    </a:lnTo>
                    <a:lnTo>
                      <a:pt x="132" y="1290"/>
                    </a:lnTo>
                    <a:lnTo>
                      <a:pt x="102" y="1290"/>
                    </a:lnTo>
                    <a:lnTo>
                      <a:pt x="96" y="1296"/>
                    </a:lnTo>
                    <a:lnTo>
                      <a:pt x="96" y="1308"/>
                    </a:lnTo>
                    <a:lnTo>
                      <a:pt x="108" y="1314"/>
                    </a:lnTo>
                    <a:lnTo>
                      <a:pt x="114" y="1320"/>
                    </a:lnTo>
                    <a:lnTo>
                      <a:pt x="162" y="1320"/>
                    </a:lnTo>
                    <a:lnTo>
                      <a:pt x="168" y="1332"/>
                    </a:lnTo>
                    <a:lnTo>
                      <a:pt x="180" y="1332"/>
                    </a:lnTo>
                    <a:lnTo>
                      <a:pt x="192" y="1338"/>
                    </a:lnTo>
                    <a:lnTo>
                      <a:pt x="204" y="1350"/>
                    </a:lnTo>
                    <a:lnTo>
                      <a:pt x="216" y="1374"/>
                    </a:lnTo>
                    <a:lnTo>
                      <a:pt x="216" y="1398"/>
                    </a:lnTo>
                    <a:lnTo>
                      <a:pt x="252" y="1410"/>
                    </a:lnTo>
                    <a:lnTo>
                      <a:pt x="264" y="1404"/>
                    </a:lnTo>
                    <a:lnTo>
                      <a:pt x="264" y="1410"/>
                    </a:lnTo>
                    <a:lnTo>
                      <a:pt x="270" y="1416"/>
                    </a:lnTo>
                    <a:lnTo>
                      <a:pt x="276" y="1428"/>
                    </a:lnTo>
                    <a:lnTo>
                      <a:pt x="288" y="1434"/>
                    </a:lnTo>
                    <a:lnTo>
                      <a:pt x="366" y="1434"/>
                    </a:lnTo>
                    <a:lnTo>
                      <a:pt x="378" y="1428"/>
                    </a:lnTo>
                    <a:lnTo>
                      <a:pt x="384" y="1416"/>
                    </a:lnTo>
                    <a:lnTo>
                      <a:pt x="402" y="1410"/>
                    </a:lnTo>
                    <a:lnTo>
                      <a:pt x="426" y="1398"/>
                    </a:lnTo>
                    <a:lnTo>
                      <a:pt x="438" y="1398"/>
                    </a:lnTo>
                    <a:lnTo>
                      <a:pt x="456" y="1410"/>
                    </a:lnTo>
                    <a:lnTo>
                      <a:pt x="480" y="1434"/>
                    </a:lnTo>
                    <a:lnTo>
                      <a:pt x="522" y="1434"/>
                    </a:lnTo>
                    <a:lnTo>
                      <a:pt x="522" y="1494"/>
                    </a:lnTo>
                    <a:lnTo>
                      <a:pt x="516" y="1500"/>
                    </a:lnTo>
                    <a:lnTo>
                      <a:pt x="498" y="1500"/>
                    </a:lnTo>
                    <a:lnTo>
                      <a:pt x="498" y="1506"/>
                    </a:lnTo>
                    <a:lnTo>
                      <a:pt x="504" y="1512"/>
                    </a:lnTo>
                    <a:lnTo>
                      <a:pt x="504" y="1536"/>
                    </a:lnTo>
                    <a:lnTo>
                      <a:pt x="498" y="1548"/>
                    </a:lnTo>
                    <a:lnTo>
                      <a:pt x="486" y="1554"/>
                    </a:lnTo>
                    <a:lnTo>
                      <a:pt x="456" y="1554"/>
                    </a:lnTo>
                    <a:lnTo>
                      <a:pt x="474" y="1578"/>
                    </a:lnTo>
                    <a:lnTo>
                      <a:pt x="456" y="1584"/>
                    </a:lnTo>
                    <a:lnTo>
                      <a:pt x="456" y="1608"/>
                    </a:lnTo>
                    <a:lnTo>
                      <a:pt x="480" y="1620"/>
                    </a:lnTo>
                    <a:lnTo>
                      <a:pt x="492" y="1620"/>
                    </a:lnTo>
                    <a:lnTo>
                      <a:pt x="498" y="1626"/>
                    </a:lnTo>
                    <a:lnTo>
                      <a:pt x="504" y="1638"/>
                    </a:lnTo>
                    <a:lnTo>
                      <a:pt x="522" y="1656"/>
                    </a:lnTo>
                    <a:lnTo>
                      <a:pt x="522" y="1668"/>
                    </a:lnTo>
                    <a:lnTo>
                      <a:pt x="510" y="1674"/>
                    </a:lnTo>
                    <a:lnTo>
                      <a:pt x="504" y="1680"/>
                    </a:lnTo>
                    <a:lnTo>
                      <a:pt x="498" y="1680"/>
                    </a:lnTo>
                    <a:lnTo>
                      <a:pt x="486" y="1698"/>
                    </a:lnTo>
                    <a:lnTo>
                      <a:pt x="474" y="1686"/>
                    </a:lnTo>
                    <a:lnTo>
                      <a:pt x="474" y="1668"/>
                    </a:lnTo>
                    <a:lnTo>
                      <a:pt x="462" y="1668"/>
                    </a:lnTo>
                    <a:lnTo>
                      <a:pt x="456" y="1674"/>
                    </a:lnTo>
                    <a:lnTo>
                      <a:pt x="450" y="1674"/>
                    </a:lnTo>
                    <a:lnTo>
                      <a:pt x="450" y="1692"/>
                    </a:lnTo>
                    <a:lnTo>
                      <a:pt x="456" y="1698"/>
                    </a:lnTo>
                    <a:lnTo>
                      <a:pt x="462" y="1710"/>
                    </a:lnTo>
                    <a:lnTo>
                      <a:pt x="474" y="1722"/>
                    </a:lnTo>
                    <a:lnTo>
                      <a:pt x="480" y="1722"/>
                    </a:lnTo>
                    <a:lnTo>
                      <a:pt x="480" y="1734"/>
                    </a:lnTo>
                    <a:lnTo>
                      <a:pt x="474" y="1740"/>
                    </a:lnTo>
                    <a:lnTo>
                      <a:pt x="474" y="1758"/>
                    </a:lnTo>
                    <a:lnTo>
                      <a:pt x="480" y="1764"/>
                    </a:lnTo>
                    <a:lnTo>
                      <a:pt x="510" y="1764"/>
                    </a:lnTo>
                    <a:lnTo>
                      <a:pt x="516" y="1776"/>
                    </a:lnTo>
                    <a:lnTo>
                      <a:pt x="528" y="1788"/>
                    </a:lnTo>
                    <a:lnTo>
                      <a:pt x="540" y="1794"/>
                    </a:lnTo>
                    <a:lnTo>
                      <a:pt x="552" y="1794"/>
                    </a:lnTo>
                    <a:lnTo>
                      <a:pt x="558" y="1800"/>
                    </a:lnTo>
                    <a:lnTo>
                      <a:pt x="564" y="1800"/>
                    </a:lnTo>
                    <a:lnTo>
                      <a:pt x="582" y="1818"/>
                    </a:lnTo>
                    <a:lnTo>
                      <a:pt x="600" y="1812"/>
                    </a:lnTo>
                    <a:lnTo>
                      <a:pt x="600" y="1830"/>
                    </a:lnTo>
                    <a:lnTo>
                      <a:pt x="612" y="1836"/>
                    </a:lnTo>
                    <a:lnTo>
                      <a:pt x="624" y="1836"/>
                    </a:lnTo>
                    <a:lnTo>
                      <a:pt x="666" y="1872"/>
                    </a:lnTo>
                    <a:lnTo>
                      <a:pt x="690" y="1854"/>
                    </a:lnTo>
                    <a:lnTo>
                      <a:pt x="696" y="1848"/>
                    </a:lnTo>
                    <a:lnTo>
                      <a:pt x="708" y="1842"/>
                    </a:lnTo>
                    <a:lnTo>
                      <a:pt x="720" y="1842"/>
                    </a:lnTo>
                    <a:lnTo>
                      <a:pt x="732" y="1848"/>
                    </a:lnTo>
                    <a:lnTo>
                      <a:pt x="744" y="1860"/>
                    </a:lnTo>
                    <a:lnTo>
                      <a:pt x="750" y="1872"/>
                    </a:lnTo>
                    <a:lnTo>
                      <a:pt x="762" y="1878"/>
                    </a:lnTo>
                    <a:lnTo>
                      <a:pt x="780" y="1896"/>
                    </a:lnTo>
                    <a:lnTo>
                      <a:pt x="822" y="1902"/>
                    </a:lnTo>
                    <a:lnTo>
                      <a:pt x="828" y="1914"/>
                    </a:lnTo>
                    <a:lnTo>
                      <a:pt x="834" y="1920"/>
                    </a:lnTo>
                    <a:lnTo>
                      <a:pt x="840" y="1932"/>
                    </a:lnTo>
                    <a:lnTo>
                      <a:pt x="846" y="1938"/>
                    </a:lnTo>
                    <a:lnTo>
                      <a:pt x="846" y="1950"/>
                    </a:lnTo>
                    <a:lnTo>
                      <a:pt x="858" y="1950"/>
                    </a:lnTo>
                    <a:lnTo>
                      <a:pt x="858" y="1944"/>
                    </a:lnTo>
                    <a:lnTo>
                      <a:pt x="864" y="1938"/>
                    </a:lnTo>
                    <a:lnTo>
                      <a:pt x="870" y="1926"/>
                    </a:lnTo>
                    <a:lnTo>
                      <a:pt x="882" y="1926"/>
                    </a:lnTo>
                    <a:lnTo>
                      <a:pt x="888" y="1932"/>
                    </a:lnTo>
                    <a:lnTo>
                      <a:pt x="894" y="1944"/>
                    </a:lnTo>
                    <a:lnTo>
                      <a:pt x="894" y="1962"/>
                    </a:lnTo>
                    <a:lnTo>
                      <a:pt x="924" y="1992"/>
                    </a:lnTo>
                    <a:lnTo>
                      <a:pt x="936" y="1998"/>
                    </a:lnTo>
                    <a:lnTo>
                      <a:pt x="942" y="1992"/>
                    </a:lnTo>
                    <a:lnTo>
                      <a:pt x="954" y="1986"/>
                    </a:lnTo>
                    <a:lnTo>
                      <a:pt x="960" y="1986"/>
                    </a:lnTo>
                    <a:lnTo>
                      <a:pt x="966" y="1992"/>
                    </a:lnTo>
                    <a:lnTo>
                      <a:pt x="966" y="1998"/>
                    </a:lnTo>
                    <a:lnTo>
                      <a:pt x="960" y="2004"/>
                    </a:lnTo>
                    <a:lnTo>
                      <a:pt x="960" y="2010"/>
                    </a:lnTo>
                    <a:lnTo>
                      <a:pt x="966" y="2010"/>
                    </a:lnTo>
                    <a:lnTo>
                      <a:pt x="972" y="2016"/>
                    </a:lnTo>
                    <a:lnTo>
                      <a:pt x="990" y="2022"/>
                    </a:lnTo>
                    <a:lnTo>
                      <a:pt x="1002" y="2022"/>
                    </a:lnTo>
                    <a:lnTo>
                      <a:pt x="1008" y="2016"/>
                    </a:lnTo>
                    <a:lnTo>
                      <a:pt x="1014" y="2016"/>
                    </a:lnTo>
                    <a:lnTo>
                      <a:pt x="1014" y="2034"/>
                    </a:lnTo>
                    <a:lnTo>
                      <a:pt x="1020" y="2040"/>
                    </a:lnTo>
                    <a:lnTo>
                      <a:pt x="1032" y="2040"/>
                    </a:lnTo>
                    <a:lnTo>
                      <a:pt x="1044" y="2028"/>
                    </a:lnTo>
                    <a:lnTo>
                      <a:pt x="1044" y="2022"/>
                    </a:lnTo>
                    <a:lnTo>
                      <a:pt x="1044" y="2034"/>
                    </a:lnTo>
                    <a:lnTo>
                      <a:pt x="1050" y="2040"/>
                    </a:lnTo>
                    <a:lnTo>
                      <a:pt x="1068" y="2040"/>
                    </a:lnTo>
                    <a:lnTo>
                      <a:pt x="1074" y="2034"/>
                    </a:lnTo>
                    <a:lnTo>
                      <a:pt x="1074" y="2028"/>
                    </a:lnTo>
                    <a:lnTo>
                      <a:pt x="1086" y="2034"/>
                    </a:lnTo>
                    <a:lnTo>
                      <a:pt x="1092" y="2040"/>
                    </a:lnTo>
                    <a:lnTo>
                      <a:pt x="1110" y="2046"/>
                    </a:lnTo>
                    <a:lnTo>
                      <a:pt x="1134" y="2058"/>
                    </a:lnTo>
                    <a:lnTo>
                      <a:pt x="1158" y="2058"/>
                    </a:lnTo>
                    <a:lnTo>
                      <a:pt x="1176" y="2040"/>
                    </a:lnTo>
                    <a:lnTo>
                      <a:pt x="1194" y="2034"/>
                    </a:lnTo>
                    <a:lnTo>
                      <a:pt x="1206" y="2028"/>
                    </a:lnTo>
                    <a:lnTo>
                      <a:pt x="1212" y="2028"/>
                    </a:lnTo>
                    <a:lnTo>
                      <a:pt x="1224" y="2034"/>
                    </a:lnTo>
                    <a:lnTo>
                      <a:pt x="1230" y="2040"/>
                    </a:lnTo>
                    <a:lnTo>
                      <a:pt x="1230" y="2088"/>
                    </a:lnTo>
                    <a:lnTo>
                      <a:pt x="1236" y="2094"/>
                    </a:lnTo>
                    <a:lnTo>
                      <a:pt x="1242" y="2094"/>
                    </a:lnTo>
                    <a:lnTo>
                      <a:pt x="1242" y="2088"/>
                    </a:lnTo>
                    <a:lnTo>
                      <a:pt x="1248" y="2082"/>
                    </a:lnTo>
                    <a:lnTo>
                      <a:pt x="1254" y="2070"/>
                    </a:lnTo>
                    <a:lnTo>
                      <a:pt x="1266" y="2052"/>
                    </a:lnTo>
                    <a:lnTo>
                      <a:pt x="1272" y="2040"/>
                    </a:lnTo>
                    <a:lnTo>
                      <a:pt x="1284" y="2028"/>
                    </a:lnTo>
                    <a:lnTo>
                      <a:pt x="1290" y="2016"/>
                    </a:lnTo>
                    <a:lnTo>
                      <a:pt x="1302" y="2016"/>
                    </a:lnTo>
                    <a:lnTo>
                      <a:pt x="1314" y="2022"/>
                    </a:lnTo>
                    <a:lnTo>
                      <a:pt x="1338" y="2022"/>
                    </a:lnTo>
                    <a:lnTo>
                      <a:pt x="1338" y="2046"/>
                    </a:lnTo>
                    <a:lnTo>
                      <a:pt x="1344" y="2046"/>
                    </a:lnTo>
                    <a:lnTo>
                      <a:pt x="1350" y="2040"/>
                    </a:lnTo>
                    <a:lnTo>
                      <a:pt x="1362" y="2034"/>
                    </a:lnTo>
                    <a:lnTo>
                      <a:pt x="1374" y="2034"/>
                    </a:lnTo>
                    <a:lnTo>
                      <a:pt x="1386" y="2028"/>
                    </a:lnTo>
                    <a:lnTo>
                      <a:pt x="1398" y="2028"/>
                    </a:lnTo>
                    <a:lnTo>
                      <a:pt x="1410" y="2034"/>
                    </a:lnTo>
                    <a:lnTo>
                      <a:pt x="1422" y="2046"/>
                    </a:lnTo>
                    <a:lnTo>
                      <a:pt x="1428" y="2058"/>
                    </a:lnTo>
                    <a:lnTo>
                      <a:pt x="1428" y="2064"/>
                    </a:lnTo>
                    <a:lnTo>
                      <a:pt x="1482" y="2064"/>
                    </a:lnTo>
                    <a:lnTo>
                      <a:pt x="1494" y="2052"/>
                    </a:lnTo>
                    <a:lnTo>
                      <a:pt x="1494" y="2034"/>
                    </a:lnTo>
                    <a:lnTo>
                      <a:pt x="1488" y="2022"/>
                    </a:lnTo>
                    <a:lnTo>
                      <a:pt x="1518" y="2022"/>
                    </a:lnTo>
                    <a:lnTo>
                      <a:pt x="1524" y="2016"/>
                    </a:lnTo>
                    <a:lnTo>
                      <a:pt x="1524" y="1992"/>
                    </a:lnTo>
                    <a:lnTo>
                      <a:pt x="1518" y="1986"/>
                    </a:lnTo>
                    <a:lnTo>
                      <a:pt x="1518" y="1980"/>
                    </a:lnTo>
                    <a:lnTo>
                      <a:pt x="1554" y="1980"/>
                    </a:lnTo>
                    <a:lnTo>
                      <a:pt x="1578" y="1956"/>
                    </a:lnTo>
                    <a:lnTo>
                      <a:pt x="1590" y="1950"/>
                    </a:lnTo>
                    <a:lnTo>
                      <a:pt x="1602" y="1938"/>
                    </a:lnTo>
                    <a:lnTo>
                      <a:pt x="1620" y="1938"/>
                    </a:lnTo>
                    <a:lnTo>
                      <a:pt x="1632" y="1944"/>
                    </a:lnTo>
                    <a:lnTo>
                      <a:pt x="1650" y="1956"/>
                    </a:lnTo>
                    <a:lnTo>
                      <a:pt x="1668" y="1956"/>
                    </a:lnTo>
                    <a:lnTo>
                      <a:pt x="1668" y="1932"/>
                    </a:lnTo>
                    <a:lnTo>
                      <a:pt x="1680" y="1920"/>
                    </a:lnTo>
                    <a:lnTo>
                      <a:pt x="1716" y="1938"/>
                    </a:lnTo>
                    <a:lnTo>
                      <a:pt x="1722" y="1944"/>
                    </a:lnTo>
                    <a:lnTo>
                      <a:pt x="1710" y="1956"/>
                    </a:lnTo>
                    <a:lnTo>
                      <a:pt x="1704" y="1956"/>
                    </a:lnTo>
                    <a:lnTo>
                      <a:pt x="1710" y="1962"/>
                    </a:lnTo>
                    <a:lnTo>
                      <a:pt x="1740" y="1962"/>
                    </a:lnTo>
                    <a:lnTo>
                      <a:pt x="1758" y="1992"/>
                    </a:lnTo>
                    <a:lnTo>
                      <a:pt x="1752" y="1992"/>
                    </a:lnTo>
                    <a:lnTo>
                      <a:pt x="1740" y="2004"/>
                    </a:lnTo>
                    <a:lnTo>
                      <a:pt x="1740" y="2010"/>
                    </a:lnTo>
                    <a:lnTo>
                      <a:pt x="1806" y="2010"/>
                    </a:lnTo>
                    <a:lnTo>
                      <a:pt x="1812" y="2016"/>
                    </a:lnTo>
                    <a:lnTo>
                      <a:pt x="1818" y="2016"/>
                    </a:lnTo>
                    <a:lnTo>
                      <a:pt x="1824" y="1998"/>
                    </a:lnTo>
                    <a:lnTo>
                      <a:pt x="1830" y="1998"/>
                    </a:lnTo>
                    <a:lnTo>
                      <a:pt x="1836" y="2004"/>
                    </a:lnTo>
                    <a:lnTo>
                      <a:pt x="1842" y="2016"/>
                    </a:lnTo>
                    <a:lnTo>
                      <a:pt x="1854" y="2022"/>
                    </a:lnTo>
                    <a:lnTo>
                      <a:pt x="1872" y="2058"/>
                    </a:lnTo>
                    <a:lnTo>
                      <a:pt x="1878" y="2064"/>
                    </a:lnTo>
                    <a:lnTo>
                      <a:pt x="1878" y="2070"/>
                    </a:lnTo>
                    <a:lnTo>
                      <a:pt x="1914" y="2070"/>
                    </a:lnTo>
                    <a:lnTo>
                      <a:pt x="1920" y="2076"/>
                    </a:lnTo>
                    <a:lnTo>
                      <a:pt x="1920" y="2106"/>
                    </a:lnTo>
                    <a:lnTo>
                      <a:pt x="1932" y="2130"/>
                    </a:lnTo>
                    <a:lnTo>
                      <a:pt x="1944" y="2190"/>
                    </a:lnTo>
                    <a:lnTo>
                      <a:pt x="1932" y="2190"/>
                    </a:lnTo>
                    <a:lnTo>
                      <a:pt x="1926" y="2196"/>
                    </a:lnTo>
                    <a:lnTo>
                      <a:pt x="1914" y="2196"/>
                    </a:lnTo>
                    <a:lnTo>
                      <a:pt x="1932" y="2214"/>
                    </a:lnTo>
                    <a:lnTo>
                      <a:pt x="1932" y="2220"/>
                    </a:lnTo>
                    <a:lnTo>
                      <a:pt x="1926" y="2232"/>
                    </a:lnTo>
                    <a:lnTo>
                      <a:pt x="1920" y="2238"/>
                    </a:lnTo>
                    <a:lnTo>
                      <a:pt x="1908" y="2238"/>
                    </a:lnTo>
                    <a:lnTo>
                      <a:pt x="1902" y="2232"/>
                    </a:lnTo>
                    <a:lnTo>
                      <a:pt x="1902" y="2268"/>
                    </a:lnTo>
                    <a:lnTo>
                      <a:pt x="1896" y="2274"/>
                    </a:lnTo>
                    <a:lnTo>
                      <a:pt x="1884" y="2274"/>
                    </a:lnTo>
                    <a:lnTo>
                      <a:pt x="1890" y="2304"/>
                    </a:lnTo>
                    <a:lnTo>
                      <a:pt x="1878" y="2304"/>
                    </a:lnTo>
                    <a:lnTo>
                      <a:pt x="1878" y="2322"/>
                    </a:lnTo>
                    <a:lnTo>
                      <a:pt x="1896" y="2340"/>
                    </a:lnTo>
                    <a:lnTo>
                      <a:pt x="1902" y="2352"/>
                    </a:lnTo>
                    <a:lnTo>
                      <a:pt x="1890" y="2370"/>
                    </a:lnTo>
                    <a:lnTo>
                      <a:pt x="1902" y="2364"/>
                    </a:lnTo>
                    <a:lnTo>
                      <a:pt x="1908" y="2358"/>
                    </a:lnTo>
                    <a:lnTo>
                      <a:pt x="1920" y="2358"/>
                    </a:lnTo>
                    <a:lnTo>
                      <a:pt x="1926" y="2352"/>
                    </a:lnTo>
                    <a:lnTo>
                      <a:pt x="1986" y="2352"/>
                    </a:lnTo>
                    <a:lnTo>
                      <a:pt x="1956" y="2376"/>
                    </a:lnTo>
                    <a:lnTo>
                      <a:pt x="1980" y="2394"/>
                    </a:lnTo>
                    <a:lnTo>
                      <a:pt x="1992" y="2436"/>
                    </a:lnTo>
                    <a:lnTo>
                      <a:pt x="2022" y="2436"/>
                    </a:lnTo>
                    <a:lnTo>
                      <a:pt x="2034" y="2442"/>
                    </a:lnTo>
                    <a:lnTo>
                      <a:pt x="2040" y="2448"/>
                    </a:lnTo>
                    <a:lnTo>
                      <a:pt x="2040" y="2454"/>
                    </a:lnTo>
                    <a:lnTo>
                      <a:pt x="2034" y="2460"/>
                    </a:lnTo>
                    <a:lnTo>
                      <a:pt x="2022" y="2460"/>
                    </a:lnTo>
                    <a:lnTo>
                      <a:pt x="2016" y="2466"/>
                    </a:lnTo>
                    <a:lnTo>
                      <a:pt x="2028" y="2478"/>
                    </a:lnTo>
                    <a:lnTo>
                      <a:pt x="2028" y="2490"/>
                    </a:lnTo>
                    <a:lnTo>
                      <a:pt x="2022" y="2496"/>
                    </a:lnTo>
                    <a:lnTo>
                      <a:pt x="2022" y="2502"/>
                    </a:lnTo>
                    <a:lnTo>
                      <a:pt x="2016" y="2514"/>
                    </a:lnTo>
                    <a:lnTo>
                      <a:pt x="2070" y="2520"/>
                    </a:lnTo>
                    <a:lnTo>
                      <a:pt x="2082" y="2550"/>
                    </a:lnTo>
                    <a:lnTo>
                      <a:pt x="2094" y="2550"/>
                    </a:lnTo>
                    <a:lnTo>
                      <a:pt x="2094" y="2568"/>
                    </a:lnTo>
                    <a:lnTo>
                      <a:pt x="2136" y="2568"/>
                    </a:lnTo>
                    <a:lnTo>
                      <a:pt x="2136" y="2562"/>
                    </a:lnTo>
                    <a:lnTo>
                      <a:pt x="2154" y="2544"/>
                    </a:lnTo>
                    <a:lnTo>
                      <a:pt x="2166" y="2544"/>
                    </a:lnTo>
                    <a:lnTo>
                      <a:pt x="2172" y="2550"/>
                    </a:lnTo>
                    <a:lnTo>
                      <a:pt x="2172" y="2592"/>
                    </a:lnTo>
                    <a:lnTo>
                      <a:pt x="2214" y="2592"/>
                    </a:lnTo>
                    <a:lnTo>
                      <a:pt x="2214" y="2556"/>
                    </a:lnTo>
                    <a:lnTo>
                      <a:pt x="2190" y="2532"/>
                    </a:lnTo>
                    <a:lnTo>
                      <a:pt x="2190" y="2490"/>
                    </a:lnTo>
                    <a:lnTo>
                      <a:pt x="2196" y="2484"/>
                    </a:lnTo>
                    <a:lnTo>
                      <a:pt x="2232" y="2490"/>
                    </a:lnTo>
                    <a:lnTo>
                      <a:pt x="2232" y="2472"/>
                    </a:lnTo>
                    <a:lnTo>
                      <a:pt x="2238" y="2460"/>
                    </a:lnTo>
                    <a:lnTo>
                      <a:pt x="2250" y="2460"/>
                    </a:lnTo>
                    <a:lnTo>
                      <a:pt x="2274" y="2484"/>
                    </a:lnTo>
                    <a:lnTo>
                      <a:pt x="2286" y="2484"/>
                    </a:lnTo>
                    <a:lnTo>
                      <a:pt x="2292" y="2478"/>
                    </a:lnTo>
                    <a:lnTo>
                      <a:pt x="2298" y="2466"/>
                    </a:lnTo>
                    <a:lnTo>
                      <a:pt x="2304" y="2460"/>
                    </a:lnTo>
                    <a:lnTo>
                      <a:pt x="2322" y="2478"/>
                    </a:lnTo>
                    <a:lnTo>
                      <a:pt x="2322" y="2460"/>
                    </a:lnTo>
                    <a:lnTo>
                      <a:pt x="2328" y="2460"/>
                    </a:lnTo>
                    <a:lnTo>
                      <a:pt x="2340" y="2478"/>
                    </a:lnTo>
                    <a:lnTo>
                      <a:pt x="2346" y="2484"/>
                    </a:lnTo>
                    <a:lnTo>
                      <a:pt x="2364" y="2484"/>
                    </a:lnTo>
                    <a:lnTo>
                      <a:pt x="2364" y="2472"/>
                    </a:lnTo>
                    <a:lnTo>
                      <a:pt x="2352" y="2460"/>
                    </a:lnTo>
                    <a:lnTo>
                      <a:pt x="2370" y="2460"/>
                    </a:lnTo>
                    <a:lnTo>
                      <a:pt x="2376" y="2466"/>
                    </a:lnTo>
                    <a:lnTo>
                      <a:pt x="2382" y="2460"/>
                    </a:lnTo>
                    <a:lnTo>
                      <a:pt x="2400" y="2460"/>
                    </a:lnTo>
                    <a:lnTo>
                      <a:pt x="2400" y="2454"/>
                    </a:lnTo>
                    <a:lnTo>
                      <a:pt x="2406" y="2442"/>
                    </a:lnTo>
                    <a:lnTo>
                      <a:pt x="2406" y="2430"/>
                    </a:lnTo>
                    <a:lnTo>
                      <a:pt x="2412" y="2424"/>
                    </a:lnTo>
                    <a:lnTo>
                      <a:pt x="2424" y="2418"/>
                    </a:lnTo>
                    <a:lnTo>
                      <a:pt x="2430" y="2412"/>
                    </a:lnTo>
                    <a:lnTo>
                      <a:pt x="2436" y="2412"/>
                    </a:lnTo>
                    <a:lnTo>
                      <a:pt x="2466" y="2448"/>
                    </a:lnTo>
                    <a:lnTo>
                      <a:pt x="2496" y="2442"/>
                    </a:lnTo>
                    <a:lnTo>
                      <a:pt x="2508" y="2454"/>
                    </a:lnTo>
                    <a:lnTo>
                      <a:pt x="2538" y="2454"/>
                    </a:lnTo>
                    <a:lnTo>
                      <a:pt x="2544" y="2460"/>
                    </a:lnTo>
                    <a:lnTo>
                      <a:pt x="2544" y="2466"/>
                    </a:lnTo>
                    <a:lnTo>
                      <a:pt x="2526" y="2484"/>
                    </a:lnTo>
                    <a:lnTo>
                      <a:pt x="2532" y="2502"/>
                    </a:lnTo>
                    <a:lnTo>
                      <a:pt x="2544" y="2508"/>
                    </a:lnTo>
                    <a:lnTo>
                      <a:pt x="2544" y="2526"/>
                    </a:lnTo>
                    <a:lnTo>
                      <a:pt x="2562" y="2526"/>
                    </a:lnTo>
                    <a:lnTo>
                      <a:pt x="2568" y="2532"/>
                    </a:lnTo>
                    <a:lnTo>
                      <a:pt x="2574" y="2544"/>
                    </a:lnTo>
                    <a:lnTo>
                      <a:pt x="2586" y="2550"/>
                    </a:lnTo>
                    <a:lnTo>
                      <a:pt x="2616" y="2550"/>
                    </a:lnTo>
                    <a:lnTo>
                      <a:pt x="2622" y="2556"/>
                    </a:lnTo>
                    <a:lnTo>
                      <a:pt x="2628" y="2556"/>
                    </a:lnTo>
                    <a:lnTo>
                      <a:pt x="2676" y="2526"/>
                    </a:lnTo>
                    <a:lnTo>
                      <a:pt x="2694" y="2538"/>
                    </a:lnTo>
                    <a:lnTo>
                      <a:pt x="2718" y="2538"/>
                    </a:lnTo>
                    <a:lnTo>
                      <a:pt x="2736" y="2544"/>
                    </a:lnTo>
                    <a:lnTo>
                      <a:pt x="2748" y="2544"/>
                    </a:lnTo>
                    <a:lnTo>
                      <a:pt x="2760" y="2550"/>
                    </a:lnTo>
                    <a:lnTo>
                      <a:pt x="2766" y="2556"/>
                    </a:lnTo>
                    <a:lnTo>
                      <a:pt x="2772" y="2568"/>
                    </a:lnTo>
                    <a:lnTo>
                      <a:pt x="2766" y="2580"/>
                    </a:lnTo>
                    <a:lnTo>
                      <a:pt x="2766" y="2604"/>
                    </a:lnTo>
                    <a:lnTo>
                      <a:pt x="2760" y="2616"/>
                    </a:lnTo>
                    <a:lnTo>
                      <a:pt x="2766" y="2628"/>
                    </a:lnTo>
                    <a:lnTo>
                      <a:pt x="2772" y="2634"/>
                    </a:lnTo>
                    <a:lnTo>
                      <a:pt x="2784" y="2640"/>
                    </a:lnTo>
                    <a:lnTo>
                      <a:pt x="2790" y="2652"/>
                    </a:lnTo>
                    <a:lnTo>
                      <a:pt x="2802" y="2658"/>
                    </a:lnTo>
                    <a:lnTo>
                      <a:pt x="2808" y="2664"/>
                    </a:lnTo>
                    <a:lnTo>
                      <a:pt x="2826" y="2664"/>
                    </a:lnTo>
                    <a:lnTo>
                      <a:pt x="2832" y="2640"/>
                    </a:lnTo>
                    <a:lnTo>
                      <a:pt x="2832" y="2634"/>
                    </a:lnTo>
                    <a:lnTo>
                      <a:pt x="2826" y="2628"/>
                    </a:lnTo>
                    <a:lnTo>
                      <a:pt x="2826" y="2586"/>
                    </a:lnTo>
                    <a:lnTo>
                      <a:pt x="2832" y="2568"/>
                    </a:lnTo>
                    <a:lnTo>
                      <a:pt x="2844" y="2556"/>
                    </a:lnTo>
                    <a:lnTo>
                      <a:pt x="2856" y="2550"/>
                    </a:lnTo>
                    <a:lnTo>
                      <a:pt x="2886" y="2550"/>
                    </a:lnTo>
                    <a:lnTo>
                      <a:pt x="2898" y="2544"/>
                    </a:lnTo>
                    <a:lnTo>
                      <a:pt x="2910" y="2544"/>
                    </a:lnTo>
                    <a:lnTo>
                      <a:pt x="2922" y="2538"/>
                    </a:lnTo>
                    <a:lnTo>
                      <a:pt x="2940" y="2538"/>
                    </a:lnTo>
                    <a:lnTo>
                      <a:pt x="2964" y="2532"/>
                    </a:lnTo>
                    <a:lnTo>
                      <a:pt x="2982" y="2526"/>
                    </a:lnTo>
                    <a:lnTo>
                      <a:pt x="3000" y="2508"/>
                    </a:lnTo>
                    <a:lnTo>
                      <a:pt x="3000" y="2466"/>
                    </a:lnTo>
                    <a:lnTo>
                      <a:pt x="3006" y="2454"/>
                    </a:lnTo>
                    <a:lnTo>
                      <a:pt x="3012" y="2448"/>
                    </a:lnTo>
                    <a:lnTo>
                      <a:pt x="3024" y="2460"/>
                    </a:lnTo>
                    <a:lnTo>
                      <a:pt x="3036" y="2484"/>
                    </a:lnTo>
                    <a:lnTo>
                      <a:pt x="3042" y="2490"/>
                    </a:lnTo>
                    <a:lnTo>
                      <a:pt x="3048" y="2490"/>
                    </a:lnTo>
                    <a:lnTo>
                      <a:pt x="3054" y="2484"/>
                    </a:lnTo>
                    <a:lnTo>
                      <a:pt x="3066" y="2478"/>
                    </a:lnTo>
                    <a:lnTo>
                      <a:pt x="3072" y="2466"/>
                    </a:lnTo>
                    <a:lnTo>
                      <a:pt x="3090" y="2448"/>
                    </a:lnTo>
                    <a:lnTo>
                      <a:pt x="3096" y="2436"/>
                    </a:lnTo>
                    <a:lnTo>
                      <a:pt x="3114" y="2454"/>
                    </a:lnTo>
                    <a:lnTo>
                      <a:pt x="3144" y="2442"/>
                    </a:lnTo>
                    <a:lnTo>
                      <a:pt x="3150" y="2442"/>
                    </a:lnTo>
                    <a:lnTo>
                      <a:pt x="3156" y="2448"/>
                    </a:lnTo>
                    <a:lnTo>
                      <a:pt x="3186" y="2448"/>
                    </a:lnTo>
                    <a:lnTo>
                      <a:pt x="3234" y="2424"/>
                    </a:lnTo>
                    <a:lnTo>
                      <a:pt x="3288" y="2370"/>
                    </a:lnTo>
                    <a:lnTo>
                      <a:pt x="3294" y="2358"/>
                    </a:lnTo>
                    <a:lnTo>
                      <a:pt x="3300" y="2352"/>
                    </a:lnTo>
                    <a:lnTo>
                      <a:pt x="3294" y="2340"/>
                    </a:lnTo>
                    <a:lnTo>
                      <a:pt x="3294" y="2334"/>
                    </a:lnTo>
                    <a:lnTo>
                      <a:pt x="3288" y="2322"/>
                    </a:lnTo>
                    <a:lnTo>
                      <a:pt x="3282" y="2316"/>
                    </a:lnTo>
                    <a:lnTo>
                      <a:pt x="3300" y="2316"/>
                    </a:lnTo>
                    <a:lnTo>
                      <a:pt x="3312" y="2286"/>
                    </a:lnTo>
                    <a:lnTo>
                      <a:pt x="3336" y="2286"/>
                    </a:lnTo>
                    <a:lnTo>
                      <a:pt x="3348" y="2250"/>
                    </a:lnTo>
                    <a:lnTo>
                      <a:pt x="3360" y="2250"/>
                    </a:lnTo>
                    <a:lnTo>
                      <a:pt x="3360" y="2208"/>
                    </a:lnTo>
                    <a:lnTo>
                      <a:pt x="3372" y="2208"/>
                    </a:lnTo>
                    <a:lnTo>
                      <a:pt x="3384" y="2196"/>
                    </a:lnTo>
                    <a:lnTo>
                      <a:pt x="3384" y="2172"/>
                    </a:lnTo>
                    <a:lnTo>
                      <a:pt x="3378" y="2160"/>
                    </a:lnTo>
                    <a:lnTo>
                      <a:pt x="3372" y="2154"/>
                    </a:lnTo>
                    <a:lnTo>
                      <a:pt x="3372" y="2142"/>
                    </a:lnTo>
                    <a:lnTo>
                      <a:pt x="3378" y="2136"/>
                    </a:lnTo>
                    <a:lnTo>
                      <a:pt x="3384" y="2136"/>
                    </a:lnTo>
                    <a:lnTo>
                      <a:pt x="3390" y="2130"/>
                    </a:lnTo>
                    <a:lnTo>
                      <a:pt x="3402" y="2124"/>
                    </a:lnTo>
                    <a:lnTo>
                      <a:pt x="3408" y="2118"/>
                    </a:lnTo>
                    <a:lnTo>
                      <a:pt x="3408" y="2094"/>
                    </a:lnTo>
                    <a:lnTo>
                      <a:pt x="3390" y="2076"/>
                    </a:lnTo>
                    <a:lnTo>
                      <a:pt x="3390" y="2064"/>
                    </a:lnTo>
                    <a:lnTo>
                      <a:pt x="3402" y="2058"/>
                    </a:lnTo>
                    <a:lnTo>
                      <a:pt x="3408" y="2052"/>
                    </a:lnTo>
                    <a:lnTo>
                      <a:pt x="3408" y="2016"/>
                    </a:lnTo>
                    <a:lnTo>
                      <a:pt x="3414" y="2016"/>
                    </a:lnTo>
                    <a:lnTo>
                      <a:pt x="3420" y="2010"/>
                    </a:lnTo>
                    <a:lnTo>
                      <a:pt x="3456" y="1992"/>
                    </a:lnTo>
                    <a:lnTo>
                      <a:pt x="3462" y="1980"/>
                    </a:lnTo>
                    <a:lnTo>
                      <a:pt x="3462" y="1962"/>
                    </a:lnTo>
                    <a:lnTo>
                      <a:pt x="3456" y="1956"/>
                    </a:lnTo>
                    <a:lnTo>
                      <a:pt x="3444" y="1956"/>
                    </a:lnTo>
                    <a:lnTo>
                      <a:pt x="3450" y="1956"/>
                    </a:lnTo>
                    <a:lnTo>
                      <a:pt x="3456" y="1950"/>
                    </a:lnTo>
                    <a:lnTo>
                      <a:pt x="3468" y="1950"/>
                    </a:lnTo>
                    <a:lnTo>
                      <a:pt x="3480" y="1944"/>
                    </a:lnTo>
                    <a:lnTo>
                      <a:pt x="3492" y="1932"/>
                    </a:lnTo>
                    <a:lnTo>
                      <a:pt x="3474" y="1914"/>
                    </a:lnTo>
                    <a:lnTo>
                      <a:pt x="3468" y="1914"/>
                    </a:lnTo>
                    <a:lnTo>
                      <a:pt x="3486" y="1896"/>
                    </a:lnTo>
                    <a:lnTo>
                      <a:pt x="3498" y="1872"/>
                    </a:lnTo>
                    <a:lnTo>
                      <a:pt x="3504" y="1866"/>
                    </a:lnTo>
                    <a:lnTo>
                      <a:pt x="3504" y="1854"/>
                    </a:lnTo>
                    <a:lnTo>
                      <a:pt x="3498" y="1848"/>
                    </a:lnTo>
                    <a:lnTo>
                      <a:pt x="3474" y="1842"/>
                    </a:lnTo>
                    <a:lnTo>
                      <a:pt x="3438" y="1848"/>
                    </a:lnTo>
                    <a:lnTo>
                      <a:pt x="3396" y="1854"/>
                    </a:lnTo>
                    <a:lnTo>
                      <a:pt x="3366" y="1860"/>
                    </a:lnTo>
                    <a:lnTo>
                      <a:pt x="3354" y="1866"/>
                    </a:lnTo>
                    <a:lnTo>
                      <a:pt x="3336" y="1848"/>
                    </a:lnTo>
                    <a:lnTo>
                      <a:pt x="3378" y="1848"/>
                    </a:lnTo>
                    <a:lnTo>
                      <a:pt x="3378" y="1836"/>
                    </a:lnTo>
                    <a:lnTo>
                      <a:pt x="3384" y="1824"/>
                    </a:lnTo>
                    <a:lnTo>
                      <a:pt x="3390" y="1818"/>
                    </a:lnTo>
                    <a:lnTo>
                      <a:pt x="3402" y="1812"/>
                    </a:lnTo>
                    <a:lnTo>
                      <a:pt x="3432" y="1812"/>
                    </a:lnTo>
                    <a:lnTo>
                      <a:pt x="3426" y="1800"/>
                    </a:lnTo>
                    <a:lnTo>
                      <a:pt x="3420" y="1794"/>
                    </a:lnTo>
                    <a:lnTo>
                      <a:pt x="3414" y="1782"/>
                    </a:lnTo>
                    <a:lnTo>
                      <a:pt x="3414" y="1776"/>
                    </a:lnTo>
                    <a:lnTo>
                      <a:pt x="3408" y="1770"/>
                    </a:lnTo>
                    <a:lnTo>
                      <a:pt x="3390" y="1770"/>
                    </a:lnTo>
                    <a:lnTo>
                      <a:pt x="3378" y="1764"/>
                    </a:lnTo>
                    <a:lnTo>
                      <a:pt x="3366" y="1764"/>
                    </a:lnTo>
                    <a:lnTo>
                      <a:pt x="3354" y="1746"/>
                    </a:lnTo>
                    <a:lnTo>
                      <a:pt x="3342" y="1746"/>
                    </a:lnTo>
                    <a:lnTo>
                      <a:pt x="3336" y="1734"/>
                    </a:lnTo>
                    <a:lnTo>
                      <a:pt x="3324" y="1728"/>
                    </a:lnTo>
                    <a:lnTo>
                      <a:pt x="3294" y="1728"/>
                    </a:lnTo>
                    <a:lnTo>
                      <a:pt x="3288" y="1734"/>
                    </a:lnTo>
                    <a:lnTo>
                      <a:pt x="3282" y="1734"/>
                    </a:lnTo>
                    <a:lnTo>
                      <a:pt x="3246" y="1686"/>
                    </a:lnTo>
                    <a:lnTo>
                      <a:pt x="3252" y="1698"/>
                    </a:lnTo>
                    <a:lnTo>
                      <a:pt x="3264" y="1704"/>
                    </a:lnTo>
                    <a:lnTo>
                      <a:pt x="3270" y="1710"/>
                    </a:lnTo>
                    <a:lnTo>
                      <a:pt x="3282" y="1716"/>
                    </a:lnTo>
                    <a:lnTo>
                      <a:pt x="3294" y="1716"/>
                    </a:lnTo>
                    <a:lnTo>
                      <a:pt x="3300" y="1710"/>
                    </a:lnTo>
                    <a:lnTo>
                      <a:pt x="3306" y="1710"/>
                    </a:lnTo>
                    <a:lnTo>
                      <a:pt x="3336" y="1716"/>
                    </a:lnTo>
                    <a:lnTo>
                      <a:pt x="3348" y="1734"/>
                    </a:lnTo>
                    <a:lnTo>
                      <a:pt x="3366" y="1728"/>
                    </a:lnTo>
                    <a:lnTo>
                      <a:pt x="3408" y="1740"/>
                    </a:lnTo>
                    <a:lnTo>
                      <a:pt x="3390" y="1716"/>
                    </a:lnTo>
                    <a:lnTo>
                      <a:pt x="3372" y="1710"/>
                    </a:lnTo>
                    <a:lnTo>
                      <a:pt x="3372" y="1692"/>
                    </a:lnTo>
                    <a:lnTo>
                      <a:pt x="3360" y="1680"/>
                    </a:lnTo>
                    <a:lnTo>
                      <a:pt x="3348" y="1674"/>
                    </a:lnTo>
                    <a:lnTo>
                      <a:pt x="3330" y="1674"/>
                    </a:lnTo>
                    <a:lnTo>
                      <a:pt x="3318" y="1662"/>
                    </a:lnTo>
                    <a:lnTo>
                      <a:pt x="3318" y="1650"/>
                    </a:lnTo>
                    <a:lnTo>
                      <a:pt x="3312" y="1644"/>
                    </a:lnTo>
                    <a:lnTo>
                      <a:pt x="3312" y="1632"/>
                    </a:lnTo>
                    <a:lnTo>
                      <a:pt x="3234" y="1530"/>
                    </a:lnTo>
                    <a:lnTo>
                      <a:pt x="3198" y="1524"/>
                    </a:lnTo>
                    <a:lnTo>
                      <a:pt x="3162" y="1494"/>
                    </a:lnTo>
                    <a:lnTo>
                      <a:pt x="3144" y="1500"/>
                    </a:lnTo>
                    <a:lnTo>
                      <a:pt x="3138" y="1488"/>
                    </a:lnTo>
                    <a:lnTo>
                      <a:pt x="3132" y="1482"/>
                    </a:lnTo>
                    <a:lnTo>
                      <a:pt x="3132" y="1470"/>
                    </a:lnTo>
                    <a:lnTo>
                      <a:pt x="3126" y="1464"/>
                    </a:lnTo>
                    <a:lnTo>
                      <a:pt x="3138" y="1452"/>
                    </a:lnTo>
                    <a:lnTo>
                      <a:pt x="3150" y="1446"/>
                    </a:lnTo>
                    <a:lnTo>
                      <a:pt x="3156" y="1434"/>
                    </a:lnTo>
                    <a:lnTo>
                      <a:pt x="3162" y="1428"/>
                    </a:lnTo>
                    <a:lnTo>
                      <a:pt x="3168" y="1416"/>
                    </a:lnTo>
                    <a:lnTo>
                      <a:pt x="3168" y="1410"/>
                    </a:lnTo>
                    <a:lnTo>
                      <a:pt x="3162" y="1398"/>
                    </a:lnTo>
                    <a:lnTo>
                      <a:pt x="3162" y="1392"/>
                    </a:lnTo>
                    <a:lnTo>
                      <a:pt x="3156" y="1380"/>
                    </a:lnTo>
                    <a:lnTo>
                      <a:pt x="3168" y="1386"/>
                    </a:lnTo>
                    <a:lnTo>
                      <a:pt x="3174" y="1392"/>
                    </a:lnTo>
                    <a:lnTo>
                      <a:pt x="3186" y="1398"/>
                    </a:lnTo>
                    <a:lnTo>
                      <a:pt x="3198" y="1386"/>
                    </a:lnTo>
                    <a:lnTo>
                      <a:pt x="3198" y="1368"/>
                    </a:lnTo>
                    <a:lnTo>
                      <a:pt x="3192" y="1356"/>
                    </a:lnTo>
                    <a:lnTo>
                      <a:pt x="3192" y="1344"/>
                    </a:lnTo>
                    <a:lnTo>
                      <a:pt x="3216" y="1344"/>
                    </a:lnTo>
                    <a:lnTo>
                      <a:pt x="3252" y="1320"/>
                    </a:lnTo>
                    <a:lnTo>
                      <a:pt x="3264" y="1320"/>
                    </a:lnTo>
                    <a:lnTo>
                      <a:pt x="3270" y="1326"/>
                    </a:lnTo>
                    <a:lnTo>
                      <a:pt x="3294" y="1326"/>
                    </a:lnTo>
                    <a:lnTo>
                      <a:pt x="3294" y="1320"/>
                    </a:lnTo>
                    <a:lnTo>
                      <a:pt x="3288" y="1314"/>
                    </a:lnTo>
                    <a:lnTo>
                      <a:pt x="3288" y="1308"/>
                    </a:lnTo>
                    <a:lnTo>
                      <a:pt x="3282" y="1302"/>
                    </a:lnTo>
                    <a:lnTo>
                      <a:pt x="3288" y="1278"/>
                    </a:lnTo>
                    <a:lnTo>
                      <a:pt x="3258" y="1278"/>
                    </a:lnTo>
                    <a:lnTo>
                      <a:pt x="3246" y="1266"/>
                    </a:lnTo>
                    <a:lnTo>
                      <a:pt x="3240" y="1278"/>
                    </a:lnTo>
                    <a:lnTo>
                      <a:pt x="3204" y="1278"/>
                    </a:lnTo>
                    <a:lnTo>
                      <a:pt x="3198" y="1272"/>
                    </a:lnTo>
                    <a:lnTo>
                      <a:pt x="3192" y="1260"/>
                    </a:lnTo>
                    <a:lnTo>
                      <a:pt x="3180" y="1254"/>
                    </a:lnTo>
                    <a:lnTo>
                      <a:pt x="3174" y="1248"/>
                    </a:lnTo>
                    <a:lnTo>
                      <a:pt x="3150" y="1248"/>
                    </a:lnTo>
                    <a:lnTo>
                      <a:pt x="3144" y="1260"/>
                    </a:lnTo>
                    <a:lnTo>
                      <a:pt x="3132" y="1266"/>
                    </a:lnTo>
                    <a:lnTo>
                      <a:pt x="3114" y="1284"/>
                    </a:lnTo>
                    <a:lnTo>
                      <a:pt x="3114" y="1296"/>
                    </a:lnTo>
                    <a:lnTo>
                      <a:pt x="3108" y="1302"/>
                    </a:lnTo>
                    <a:lnTo>
                      <a:pt x="3108" y="1308"/>
                    </a:lnTo>
                    <a:lnTo>
                      <a:pt x="3078" y="1308"/>
                    </a:lnTo>
                    <a:lnTo>
                      <a:pt x="3054" y="1296"/>
                    </a:lnTo>
                    <a:lnTo>
                      <a:pt x="3048" y="1290"/>
                    </a:lnTo>
                    <a:lnTo>
                      <a:pt x="3042" y="1278"/>
                    </a:lnTo>
                    <a:lnTo>
                      <a:pt x="3030" y="1242"/>
                    </a:lnTo>
                    <a:lnTo>
                      <a:pt x="3024" y="1230"/>
                    </a:lnTo>
                    <a:lnTo>
                      <a:pt x="3018" y="1224"/>
                    </a:lnTo>
                    <a:lnTo>
                      <a:pt x="3006" y="1224"/>
                    </a:lnTo>
                    <a:lnTo>
                      <a:pt x="3000" y="1230"/>
                    </a:lnTo>
                    <a:lnTo>
                      <a:pt x="3000" y="1242"/>
                    </a:lnTo>
                    <a:lnTo>
                      <a:pt x="2988" y="1224"/>
                    </a:lnTo>
                    <a:lnTo>
                      <a:pt x="2952" y="1224"/>
                    </a:lnTo>
                    <a:lnTo>
                      <a:pt x="2940" y="1218"/>
                    </a:lnTo>
                    <a:lnTo>
                      <a:pt x="2934" y="1212"/>
                    </a:lnTo>
                    <a:lnTo>
                      <a:pt x="2928" y="1200"/>
                    </a:lnTo>
                    <a:lnTo>
                      <a:pt x="2916" y="1194"/>
                    </a:lnTo>
                    <a:lnTo>
                      <a:pt x="2910" y="1182"/>
                    </a:lnTo>
                    <a:lnTo>
                      <a:pt x="2910" y="1140"/>
                    </a:lnTo>
                    <a:lnTo>
                      <a:pt x="2928" y="1140"/>
                    </a:lnTo>
                    <a:lnTo>
                      <a:pt x="2940" y="1152"/>
                    </a:lnTo>
                    <a:lnTo>
                      <a:pt x="2946" y="1152"/>
                    </a:lnTo>
                    <a:lnTo>
                      <a:pt x="2952" y="1146"/>
                    </a:lnTo>
                    <a:lnTo>
                      <a:pt x="2952" y="1140"/>
                    </a:lnTo>
                    <a:lnTo>
                      <a:pt x="2958" y="1134"/>
                    </a:lnTo>
                    <a:lnTo>
                      <a:pt x="2964" y="1134"/>
                    </a:lnTo>
                    <a:lnTo>
                      <a:pt x="2970" y="1140"/>
                    </a:lnTo>
                    <a:lnTo>
                      <a:pt x="2982" y="1140"/>
                    </a:lnTo>
                    <a:lnTo>
                      <a:pt x="2994" y="1134"/>
                    </a:lnTo>
                    <a:lnTo>
                      <a:pt x="3000" y="1128"/>
                    </a:lnTo>
                    <a:lnTo>
                      <a:pt x="3000" y="1116"/>
                    </a:lnTo>
                    <a:lnTo>
                      <a:pt x="2994" y="1110"/>
                    </a:lnTo>
                    <a:lnTo>
                      <a:pt x="2994" y="1086"/>
                    </a:lnTo>
                    <a:lnTo>
                      <a:pt x="3000" y="1074"/>
                    </a:lnTo>
                    <a:lnTo>
                      <a:pt x="3000" y="1068"/>
                    </a:lnTo>
                    <a:lnTo>
                      <a:pt x="3036" y="1068"/>
                    </a:lnTo>
                    <a:lnTo>
                      <a:pt x="3042" y="1062"/>
                    </a:lnTo>
                    <a:lnTo>
                      <a:pt x="3048" y="1050"/>
                    </a:lnTo>
                    <a:lnTo>
                      <a:pt x="3048" y="1038"/>
                    </a:lnTo>
                    <a:lnTo>
                      <a:pt x="3054" y="1032"/>
                    </a:lnTo>
                    <a:lnTo>
                      <a:pt x="3054" y="1026"/>
                    </a:lnTo>
                    <a:lnTo>
                      <a:pt x="3072" y="1014"/>
                    </a:lnTo>
                    <a:lnTo>
                      <a:pt x="3060" y="1002"/>
                    </a:lnTo>
                    <a:lnTo>
                      <a:pt x="3096" y="1014"/>
                    </a:lnTo>
                    <a:lnTo>
                      <a:pt x="3114" y="996"/>
                    </a:lnTo>
                    <a:lnTo>
                      <a:pt x="3126" y="1002"/>
                    </a:lnTo>
                    <a:lnTo>
                      <a:pt x="3132" y="1014"/>
                    </a:lnTo>
                    <a:lnTo>
                      <a:pt x="3144" y="1020"/>
                    </a:lnTo>
                    <a:lnTo>
                      <a:pt x="3156" y="1044"/>
                    </a:lnTo>
                    <a:lnTo>
                      <a:pt x="3156" y="1050"/>
                    </a:lnTo>
                    <a:lnTo>
                      <a:pt x="3144" y="1074"/>
                    </a:lnTo>
                    <a:lnTo>
                      <a:pt x="3126" y="1092"/>
                    </a:lnTo>
                    <a:lnTo>
                      <a:pt x="3126" y="1104"/>
                    </a:lnTo>
                    <a:lnTo>
                      <a:pt x="3132" y="1116"/>
                    </a:lnTo>
                    <a:lnTo>
                      <a:pt x="3144" y="1128"/>
                    </a:lnTo>
                    <a:lnTo>
                      <a:pt x="3150" y="1128"/>
                    </a:lnTo>
                    <a:lnTo>
                      <a:pt x="3162" y="1122"/>
                    </a:lnTo>
                    <a:lnTo>
                      <a:pt x="3168" y="1122"/>
                    </a:lnTo>
                    <a:lnTo>
                      <a:pt x="3162" y="1152"/>
                    </a:lnTo>
                    <a:lnTo>
                      <a:pt x="3144" y="1170"/>
                    </a:lnTo>
                    <a:lnTo>
                      <a:pt x="3144" y="1176"/>
                    </a:lnTo>
                    <a:lnTo>
                      <a:pt x="3150" y="1176"/>
                    </a:lnTo>
                    <a:lnTo>
                      <a:pt x="3162" y="1170"/>
                    </a:lnTo>
                    <a:lnTo>
                      <a:pt x="3168" y="1164"/>
                    </a:lnTo>
                    <a:lnTo>
                      <a:pt x="3180" y="1158"/>
                    </a:lnTo>
                    <a:lnTo>
                      <a:pt x="3186" y="1158"/>
                    </a:lnTo>
                    <a:lnTo>
                      <a:pt x="3198" y="1146"/>
                    </a:lnTo>
                    <a:lnTo>
                      <a:pt x="3198" y="1122"/>
                    </a:lnTo>
                    <a:lnTo>
                      <a:pt x="3204" y="1122"/>
                    </a:lnTo>
                    <a:lnTo>
                      <a:pt x="3210" y="1116"/>
                    </a:lnTo>
                    <a:lnTo>
                      <a:pt x="3258" y="1092"/>
                    </a:lnTo>
                    <a:lnTo>
                      <a:pt x="3264" y="1086"/>
                    </a:lnTo>
                    <a:lnTo>
                      <a:pt x="3306" y="1086"/>
                    </a:lnTo>
                    <a:lnTo>
                      <a:pt x="3312" y="1074"/>
                    </a:lnTo>
                    <a:lnTo>
                      <a:pt x="3312" y="1062"/>
                    </a:lnTo>
                    <a:lnTo>
                      <a:pt x="3318" y="1056"/>
                    </a:lnTo>
                    <a:lnTo>
                      <a:pt x="3324" y="1044"/>
                    </a:lnTo>
                    <a:lnTo>
                      <a:pt x="3360" y="1026"/>
                    </a:lnTo>
                    <a:lnTo>
                      <a:pt x="3372" y="1014"/>
                    </a:lnTo>
                    <a:lnTo>
                      <a:pt x="3390" y="978"/>
                    </a:lnTo>
                    <a:lnTo>
                      <a:pt x="3390" y="948"/>
                    </a:lnTo>
                    <a:lnTo>
                      <a:pt x="3396" y="942"/>
                    </a:lnTo>
                    <a:lnTo>
                      <a:pt x="3396" y="936"/>
                    </a:lnTo>
                    <a:lnTo>
                      <a:pt x="3408" y="936"/>
                    </a:lnTo>
                    <a:lnTo>
                      <a:pt x="3420" y="942"/>
                    </a:lnTo>
                    <a:lnTo>
                      <a:pt x="3432" y="954"/>
                    </a:lnTo>
                    <a:lnTo>
                      <a:pt x="3444" y="954"/>
                    </a:lnTo>
                    <a:lnTo>
                      <a:pt x="3456" y="960"/>
                    </a:lnTo>
                    <a:lnTo>
                      <a:pt x="3504" y="960"/>
                    </a:lnTo>
                    <a:lnTo>
                      <a:pt x="3504" y="948"/>
                    </a:lnTo>
                    <a:lnTo>
                      <a:pt x="3498" y="948"/>
                    </a:lnTo>
                    <a:lnTo>
                      <a:pt x="3474" y="924"/>
                    </a:lnTo>
                    <a:lnTo>
                      <a:pt x="3474" y="912"/>
                    </a:lnTo>
                    <a:lnTo>
                      <a:pt x="3480" y="906"/>
                    </a:lnTo>
                    <a:lnTo>
                      <a:pt x="3486" y="912"/>
                    </a:lnTo>
                    <a:lnTo>
                      <a:pt x="3510" y="912"/>
                    </a:lnTo>
                    <a:lnTo>
                      <a:pt x="3522" y="918"/>
                    </a:lnTo>
                    <a:lnTo>
                      <a:pt x="3534" y="912"/>
                    </a:lnTo>
                    <a:lnTo>
                      <a:pt x="3540" y="900"/>
                    </a:lnTo>
                    <a:lnTo>
                      <a:pt x="3540" y="894"/>
                    </a:lnTo>
                    <a:lnTo>
                      <a:pt x="3534" y="882"/>
                    </a:lnTo>
                    <a:lnTo>
                      <a:pt x="3558" y="882"/>
                    </a:lnTo>
                    <a:lnTo>
                      <a:pt x="3558" y="864"/>
                    </a:lnTo>
                    <a:lnTo>
                      <a:pt x="3552" y="852"/>
                    </a:lnTo>
                    <a:lnTo>
                      <a:pt x="3546" y="846"/>
                    </a:lnTo>
                    <a:lnTo>
                      <a:pt x="3546" y="840"/>
                    </a:lnTo>
                    <a:lnTo>
                      <a:pt x="3576" y="840"/>
                    </a:lnTo>
                    <a:lnTo>
                      <a:pt x="3594" y="864"/>
                    </a:lnTo>
                    <a:lnTo>
                      <a:pt x="3600" y="840"/>
                    </a:lnTo>
                    <a:lnTo>
                      <a:pt x="3630" y="846"/>
                    </a:lnTo>
                    <a:lnTo>
                      <a:pt x="3624" y="810"/>
                    </a:lnTo>
                    <a:lnTo>
                      <a:pt x="3618" y="798"/>
                    </a:lnTo>
                    <a:lnTo>
                      <a:pt x="3606" y="786"/>
                    </a:lnTo>
                    <a:lnTo>
                      <a:pt x="3606" y="774"/>
                    </a:lnTo>
                    <a:lnTo>
                      <a:pt x="3600" y="756"/>
                    </a:lnTo>
                    <a:lnTo>
                      <a:pt x="3588" y="744"/>
                    </a:lnTo>
                    <a:lnTo>
                      <a:pt x="3576" y="726"/>
                    </a:lnTo>
                    <a:lnTo>
                      <a:pt x="3564" y="720"/>
                    </a:lnTo>
                    <a:lnTo>
                      <a:pt x="3552" y="708"/>
                    </a:lnTo>
                    <a:lnTo>
                      <a:pt x="3546" y="708"/>
                    </a:lnTo>
                    <a:lnTo>
                      <a:pt x="3540" y="696"/>
                    </a:lnTo>
                    <a:lnTo>
                      <a:pt x="3540" y="684"/>
                    </a:lnTo>
                    <a:lnTo>
                      <a:pt x="3564" y="684"/>
                    </a:lnTo>
                    <a:lnTo>
                      <a:pt x="3564" y="672"/>
                    </a:lnTo>
                    <a:lnTo>
                      <a:pt x="3558" y="666"/>
                    </a:lnTo>
                    <a:lnTo>
                      <a:pt x="3564" y="660"/>
                    </a:lnTo>
                    <a:lnTo>
                      <a:pt x="3588" y="660"/>
                    </a:lnTo>
                    <a:lnTo>
                      <a:pt x="3600" y="666"/>
                    </a:lnTo>
                    <a:lnTo>
                      <a:pt x="3618" y="672"/>
                    </a:lnTo>
                    <a:lnTo>
                      <a:pt x="3630" y="672"/>
                    </a:lnTo>
                    <a:lnTo>
                      <a:pt x="3642" y="678"/>
                    </a:lnTo>
                    <a:lnTo>
                      <a:pt x="3648" y="678"/>
                    </a:lnTo>
                    <a:lnTo>
                      <a:pt x="3654" y="672"/>
                    </a:lnTo>
                    <a:lnTo>
                      <a:pt x="3654" y="660"/>
                    </a:lnTo>
                    <a:lnTo>
                      <a:pt x="3648" y="648"/>
                    </a:lnTo>
                    <a:lnTo>
                      <a:pt x="3648" y="630"/>
                    </a:lnTo>
                    <a:lnTo>
                      <a:pt x="3654" y="630"/>
                    </a:lnTo>
                    <a:lnTo>
                      <a:pt x="3660" y="624"/>
                    </a:lnTo>
                    <a:close/>
                  </a:path>
                </a:pathLst>
              </a:custGeom>
              <a:solidFill>
                <a:srgbClr val="4A66AC"/>
              </a:solidFill>
              <a:ln w="3175" algn="ctr">
                <a:solidFill>
                  <a:srgbClr val="4A66AC"/>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32" name="Cambodia" descr="© INSCALE GmbH, 05.05.2010&#10;http://www.presentationload.com/">
                <a:extLst>
                  <a:ext uri="{FF2B5EF4-FFF2-40B4-BE49-F238E27FC236}">
                    <a16:creationId xmlns:a16="http://schemas.microsoft.com/office/drawing/2014/main" id="{86FFD7AA-EAA2-4198-BDF9-3E5E4404406B}"/>
                  </a:ext>
                </a:extLst>
              </p:cNvPr>
              <p:cNvSpPr>
                <a:spLocks/>
              </p:cNvSpPr>
              <p:nvPr/>
            </p:nvSpPr>
            <p:spPr bwMode="gray">
              <a:xfrm>
                <a:off x="7077140" y="4037690"/>
                <a:ext cx="151311" cy="147279"/>
              </a:xfrm>
              <a:custGeom>
                <a:avLst/>
                <a:gdLst>
                  <a:gd name="T0" fmla="*/ 2147483647 w 378"/>
                  <a:gd name="T1" fmla="*/ 2147483647 h 336"/>
                  <a:gd name="T2" fmla="*/ 2147483647 w 378"/>
                  <a:gd name="T3" fmla="*/ 2147483647 h 336"/>
                  <a:gd name="T4" fmla="*/ 2147483647 w 378"/>
                  <a:gd name="T5" fmla="*/ 2147483647 h 336"/>
                  <a:gd name="T6" fmla="*/ 2147483647 w 378"/>
                  <a:gd name="T7" fmla="*/ 2147483647 h 336"/>
                  <a:gd name="T8" fmla="*/ 2147483647 w 378"/>
                  <a:gd name="T9" fmla="*/ 2147483647 h 336"/>
                  <a:gd name="T10" fmla="*/ 2147483647 w 378"/>
                  <a:gd name="T11" fmla="*/ 2147483647 h 336"/>
                  <a:gd name="T12" fmla="*/ 2147483647 w 378"/>
                  <a:gd name="T13" fmla="*/ 2147483647 h 336"/>
                  <a:gd name="T14" fmla="*/ 2147483647 w 378"/>
                  <a:gd name="T15" fmla="*/ 2147483647 h 336"/>
                  <a:gd name="T16" fmla="*/ 2147483647 w 378"/>
                  <a:gd name="T17" fmla="*/ 2147483647 h 336"/>
                  <a:gd name="T18" fmla="*/ 2147483647 w 378"/>
                  <a:gd name="T19" fmla="*/ 2147483647 h 336"/>
                  <a:gd name="T20" fmla="*/ 2147483647 w 378"/>
                  <a:gd name="T21" fmla="*/ 2147483647 h 336"/>
                  <a:gd name="T22" fmla="*/ 2147483647 w 378"/>
                  <a:gd name="T23" fmla="*/ 2147483647 h 336"/>
                  <a:gd name="T24" fmla="*/ 2147483647 w 378"/>
                  <a:gd name="T25" fmla="*/ 2147483647 h 336"/>
                  <a:gd name="T26" fmla="*/ 2147483647 w 378"/>
                  <a:gd name="T27" fmla="*/ 2147483647 h 336"/>
                  <a:gd name="T28" fmla="*/ 0 w 378"/>
                  <a:gd name="T29" fmla="*/ 2147483647 h 336"/>
                  <a:gd name="T30" fmla="*/ 2147483647 w 378"/>
                  <a:gd name="T31" fmla="*/ 2147483647 h 336"/>
                  <a:gd name="T32" fmla="*/ 2147483647 w 378"/>
                  <a:gd name="T33" fmla="*/ 2147483647 h 336"/>
                  <a:gd name="T34" fmla="*/ 2147483647 w 378"/>
                  <a:gd name="T35" fmla="*/ 2147483647 h 336"/>
                  <a:gd name="T36" fmla="*/ 2147483647 w 378"/>
                  <a:gd name="T37" fmla="*/ 2147483647 h 336"/>
                  <a:gd name="T38" fmla="*/ 2147483647 w 378"/>
                  <a:gd name="T39" fmla="*/ 2147483647 h 336"/>
                  <a:gd name="T40" fmla="*/ 2147483647 w 378"/>
                  <a:gd name="T41" fmla="*/ 2147483647 h 336"/>
                  <a:gd name="T42" fmla="*/ 2147483647 w 378"/>
                  <a:gd name="T43" fmla="*/ 2147483647 h 336"/>
                  <a:gd name="T44" fmla="*/ 2147483647 w 378"/>
                  <a:gd name="T45" fmla="*/ 2147483647 h 336"/>
                  <a:gd name="T46" fmla="*/ 2147483647 w 378"/>
                  <a:gd name="T47" fmla="*/ 2147483647 h 336"/>
                  <a:gd name="T48" fmla="*/ 2147483647 w 378"/>
                  <a:gd name="T49" fmla="*/ 2147483647 h 336"/>
                  <a:gd name="T50" fmla="*/ 2147483647 w 378"/>
                  <a:gd name="T51" fmla="*/ 2147483647 h 336"/>
                  <a:gd name="T52" fmla="*/ 2147483647 w 378"/>
                  <a:gd name="T53" fmla="*/ 2147483647 h 336"/>
                  <a:gd name="T54" fmla="*/ 2147483647 w 378"/>
                  <a:gd name="T55" fmla="*/ 2147483647 h 336"/>
                  <a:gd name="T56" fmla="*/ 2147483647 w 378"/>
                  <a:gd name="T57" fmla="*/ 2147483647 h 336"/>
                  <a:gd name="T58" fmla="*/ 2147483647 w 378"/>
                  <a:gd name="T59" fmla="*/ 2147483647 h 336"/>
                  <a:gd name="T60" fmla="*/ 2147483647 w 378"/>
                  <a:gd name="T61" fmla="*/ 2147483647 h 336"/>
                  <a:gd name="T62" fmla="*/ 2147483647 w 378"/>
                  <a:gd name="T63" fmla="*/ 2147483647 h 336"/>
                  <a:gd name="T64" fmla="*/ 2147483647 w 378"/>
                  <a:gd name="T65" fmla="*/ 2147483647 h 336"/>
                  <a:gd name="T66" fmla="*/ 2147483647 w 378"/>
                  <a:gd name="T67" fmla="*/ 2147483647 h 336"/>
                  <a:gd name="T68" fmla="*/ 2147483647 w 378"/>
                  <a:gd name="T69" fmla="*/ 2147483647 h 336"/>
                  <a:gd name="T70" fmla="*/ 2147483647 w 378"/>
                  <a:gd name="T71" fmla="*/ 2147483647 h 336"/>
                  <a:gd name="T72" fmla="*/ 2147483647 w 378"/>
                  <a:gd name="T73" fmla="*/ 2147483647 h 336"/>
                  <a:gd name="T74" fmla="*/ 2147483647 w 378"/>
                  <a:gd name="T75" fmla="*/ 2147483647 h 336"/>
                  <a:gd name="T76" fmla="*/ 2147483647 w 378"/>
                  <a:gd name="T77" fmla="*/ 2147483647 h 336"/>
                  <a:gd name="T78" fmla="*/ 2147483647 w 378"/>
                  <a:gd name="T79" fmla="*/ 2147483647 h 336"/>
                  <a:gd name="T80" fmla="*/ 2147483647 w 378"/>
                  <a:gd name="T81" fmla="*/ 2147483647 h 336"/>
                  <a:gd name="T82" fmla="*/ 2147483647 w 378"/>
                  <a:gd name="T83" fmla="*/ 2147483647 h 336"/>
                  <a:gd name="T84" fmla="*/ 2147483647 w 378"/>
                  <a:gd name="T85" fmla="*/ 2147483647 h 336"/>
                  <a:gd name="T86" fmla="*/ 2147483647 w 378"/>
                  <a:gd name="T87" fmla="*/ 2147483647 h 336"/>
                  <a:gd name="T88" fmla="*/ 2147483647 w 378"/>
                  <a:gd name="T89" fmla="*/ 2147483647 h 336"/>
                  <a:gd name="T90" fmla="*/ 2147483647 w 378"/>
                  <a:gd name="T91" fmla="*/ 2147483647 h 336"/>
                  <a:gd name="T92" fmla="*/ 2147483647 w 378"/>
                  <a:gd name="T93" fmla="*/ 2147483647 h 336"/>
                  <a:gd name="T94" fmla="*/ 2147483647 w 378"/>
                  <a:gd name="T95" fmla="*/ 0 h 3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78"/>
                  <a:gd name="T145" fmla="*/ 0 h 336"/>
                  <a:gd name="T146" fmla="*/ 378 w 378"/>
                  <a:gd name="T147" fmla="*/ 336 h 3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78" h="336">
                    <a:moveTo>
                      <a:pt x="324" y="0"/>
                    </a:moveTo>
                    <a:lnTo>
                      <a:pt x="312" y="12"/>
                    </a:lnTo>
                    <a:lnTo>
                      <a:pt x="276" y="0"/>
                    </a:lnTo>
                    <a:lnTo>
                      <a:pt x="264" y="12"/>
                    </a:lnTo>
                    <a:lnTo>
                      <a:pt x="246" y="24"/>
                    </a:lnTo>
                    <a:lnTo>
                      <a:pt x="258" y="36"/>
                    </a:lnTo>
                    <a:lnTo>
                      <a:pt x="258" y="48"/>
                    </a:lnTo>
                    <a:lnTo>
                      <a:pt x="252" y="54"/>
                    </a:lnTo>
                    <a:lnTo>
                      <a:pt x="240" y="54"/>
                    </a:lnTo>
                    <a:lnTo>
                      <a:pt x="228" y="42"/>
                    </a:lnTo>
                    <a:lnTo>
                      <a:pt x="228" y="36"/>
                    </a:lnTo>
                    <a:lnTo>
                      <a:pt x="222" y="36"/>
                    </a:lnTo>
                    <a:lnTo>
                      <a:pt x="216" y="30"/>
                    </a:lnTo>
                    <a:lnTo>
                      <a:pt x="192" y="30"/>
                    </a:lnTo>
                    <a:lnTo>
                      <a:pt x="192" y="18"/>
                    </a:lnTo>
                    <a:lnTo>
                      <a:pt x="186" y="18"/>
                    </a:lnTo>
                    <a:lnTo>
                      <a:pt x="186" y="24"/>
                    </a:lnTo>
                    <a:lnTo>
                      <a:pt x="180" y="18"/>
                    </a:lnTo>
                    <a:lnTo>
                      <a:pt x="168" y="12"/>
                    </a:lnTo>
                    <a:lnTo>
                      <a:pt x="138" y="12"/>
                    </a:lnTo>
                    <a:lnTo>
                      <a:pt x="126" y="18"/>
                    </a:lnTo>
                    <a:lnTo>
                      <a:pt x="114" y="18"/>
                    </a:lnTo>
                    <a:lnTo>
                      <a:pt x="108" y="12"/>
                    </a:lnTo>
                    <a:lnTo>
                      <a:pt x="72" y="12"/>
                    </a:lnTo>
                    <a:lnTo>
                      <a:pt x="54" y="18"/>
                    </a:lnTo>
                    <a:lnTo>
                      <a:pt x="42" y="24"/>
                    </a:lnTo>
                    <a:lnTo>
                      <a:pt x="36" y="30"/>
                    </a:lnTo>
                    <a:lnTo>
                      <a:pt x="30" y="42"/>
                    </a:lnTo>
                    <a:lnTo>
                      <a:pt x="30" y="48"/>
                    </a:lnTo>
                    <a:lnTo>
                      <a:pt x="0" y="78"/>
                    </a:lnTo>
                    <a:lnTo>
                      <a:pt x="6" y="114"/>
                    </a:lnTo>
                    <a:lnTo>
                      <a:pt x="18" y="126"/>
                    </a:lnTo>
                    <a:lnTo>
                      <a:pt x="18" y="156"/>
                    </a:lnTo>
                    <a:lnTo>
                      <a:pt x="30" y="168"/>
                    </a:lnTo>
                    <a:lnTo>
                      <a:pt x="30" y="198"/>
                    </a:lnTo>
                    <a:lnTo>
                      <a:pt x="42" y="210"/>
                    </a:lnTo>
                    <a:lnTo>
                      <a:pt x="48" y="222"/>
                    </a:lnTo>
                    <a:lnTo>
                      <a:pt x="54" y="228"/>
                    </a:lnTo>
                    <a:lnTo>
                      <a:pt x="54" y="234"/>
                    </a:lnTo>
                    <a:lnTo>
                      <a:pt x="42" y="246"/>
                    </a:lnTo>
                    <a:lnTo>
                      <a:pt x="54" y="270"/>
                    </a:lnTo>
                    <a:lnTo>
                      <a:pt x="60" y="276"/>
                    </a:lnTo>
                    <a:lnTo>
                      <a:pt x="72" y="282"/>
                    </a:lnTo>
                    <a:lnTo>
                      <a:pt x="78" y="282"/>
                    </a:lnTo>
                    <a:lnTo>
                      <a:pt x="90" y="270"/>
                    </a:lnTo>
                    <a:lnTo>
                      <a:pt x="90" y="264"/>
                    </a:lnTo>
                    <a:lnTo>
                      <a:pt x="90" y="288"/>
                    </a:lnTo>
                    <a:lnTo>
                      <a:pt x="96" y="300"/>
                    </a:lnTo>
                    <a:lnTo>
                      <a:pt x="102" y="306"/>
                    </a:lnTo>
                    <a:lnTo>
                      <a:pt x="114" y="306"/>
                    </a:lnTo>
                    <a:lnTo>
                      <a:pt x="120" y="300"/>
                    </a:lnTo>
                    <a:lnTo>
                      <a:pt x="132" y="300"/>
                    </a:lnTo>
                    <a:lnTo>
                      <a:pt x="138" y="306"/>
                    </a:lnTo>
                    <a:lnTo>
                      <a:pt x="138" y="312"/>
                    </a:lnTo>
                    <a:lnTo>
                      <a:pt x="150" y="336"/>
                    </a:lnTo>
                    <a:lnTo>
                      <a:pt x="168" y="336"/>
                    </a:lnTo>
                    <a:lnTo>
                      <a:pt x="180" y="324"/>
                    </a:lnTo>
                    <a:lnTo>
                      <a:pt x="192" y="318"/>
                    </a:lnTo>
                    <a:lnTo>
                      <a:pt x="210" y="318"/>
                    </a:lnTo>
                    <a:lnTo>
                      <a:pt x="222" y="312"/>
                    </a:lnTo>
                    <a:lnTo>
                      <a:pt x="222" y="306"/>
                    </a:lnTo>
                    <a:lnTo>
                      <a:pt x="216" y="300"/>
                    </a:lnTo>
                    <a:lnTo>
                      <a:pt x="210" y="300"/>
                    </a:lnTo>
                    <a:lnTo>
                      <a:pt x="204" y="294"/>
                    </a:lnTo>
                    <a:lnTo>
                      <a:pt x="240" y="294"/>
                    </a:lnTo>
                    <a:lnTo>
                      <a:pt x="240" y="288"/>
                    </a:lnTo>
                    <a:lnTo>
                      <a:pt x="246" y="282"/>
                    </a:lnTo>
                    <a:lnTo>
                      <a:pt x="258" y="282"/>
                    </a:lnTo>
                    <a:lnTo>
                      <a:pt x="270" y="288"/>
                    </a:lnTo>
                    <a:lnTo>
                      <a:pt x="276" y="294"/>
                    </a:lnTo>
                    <a:lnTo>
                      <a:pt x="288" y="300"/>
                    </a:lnTo>
                    <a:lnTo>
                      <a:pt x="294" y="306"/>
                    </a:lnTo>
                    <a:lnTo>
                      <a:pt x="294" y="294"/>
                    </a:lnTo>
                    <a:lnTo>
                      <a:pt x="276" y="276"/>
                    </a:lnTo>
                    <a:lnTo>
                      <a:pt x="264" y="252"/>
                    </a:lnTo>
                    <a:lnTo>
                      <a:pt x="264" y="228"/>
                    </a:lnTo>
                    <a:lnTo>
                      <a:pt x="306" y="228"/>
                    </a:lnTo>
                    <a:lnTo>
                      <a:pt x="306" y="204"/>
                    </a:lnTo>
                    <a:lnTo>
                      <a:pt x="336" y="204"/>
                    </a:lnTo>
                    <a:lnTo>
                      <a:pt x="336" y="186"/>
                    </a:lnTo>
                    <a:lnTo>
                      <a:pt x="342" y="180"/>
                    </a:lnTo>
                    <a:lnTo>
                      <a:pt x="360" y="180"/>
                    </a:lnTo>
                    <a:lnTo>
                      <a:pt x="372" y="186"/>
                    </a:lnTo>
                    <a:lnTo>
                      <a:pt x="372" y="156"/>
                    </a:lnTo>
                    <a:lnTo>
                      <a:pt x="366" y="150"/>
                    </a:lnTo>
                    <a:lnTo>
                      <a:pt x="366" y="120"/>
                    </a:lnTo>
                    <a:lnTo>
                      <a:pt x="360" y="114"/>
                    </a:lnTo>
                    <a:lnTo>
                      <a:pt x="360" y="102"/>
                    </a:lnTo>
                    <a:lnTo>
                      <a:pt x="366" y="102"/>
                    </a:lnTo>
                    <a:lnTo>
                      <a:pt x="378" y="90"/>
                    </a:lnTo>
                    <a:lnTo>
                      <a:pt x="378" y="84"/>
                    </a:lnTo>
                    <a:lnTo>
                      <a:pt x="366" y="60"/>
                    </a:lnTo>
                    <a:lnTo>
                      <a:pt x="354" y="48"/>
                    </a:lnTo>
                    <a:lnTo>
                      <a:pt x="348" y="48"/>
                    </a:lnTo>
                    <a:lnTo>
                      <a:pt x="348" y="6"/>
                    </a:lnTo>
                    <a:lnTo>
                      <a:pt x="324" y="0"/>
                    </a:lnTo>
                    <a:close/>
                  </a:path>
                </a:pathLst>
              </a:custGeom>
              <a:solidFill>
                <a:srgbClr val="9D90A0">
                  <a:lumMod val="40000"/>
                  <a:lumOff val="60000"/>
                </a:srgbClr>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33" name="Belize" descr="© INSCALE GmbH, 05.05.2010&#10;http://www.presentationload.com/">
                <a:extLst>
                  <a:ext uri="{FF2B5EF4-FFF2-40B4-BE49-F238E27FC236}">
                    <a16:creationId xmlns:a16="http://schemas.microsoft.com/office/drawing/2014/main" id="{FB6B89FE-A5B1-49D1-A1FC-0F2ECB5D12D7}"/>
                  </a:ext>
                </a:extLst>
              </p:cNvPr>
              <p:cNvSpPr>
                <a:spLocks/>
              </p:cNvSpPr>
              <p:nvPr/>
            </p:nvSpPr>
            <p:spPr bwMode="gray">
              <a:xfrm>
                <a:off x="1731324" y="3899074"/>
                <a:ext cx="43678" cy="91833"/>
              </a:xfrm>
              <a:custGeom>
                <a:avLst/>
                <a:gdLst>
                  <a:gd name="T0" fmla="*/ 2147483647 w 108"/>
                  <a:gd name="T1" fmla="*/ 2147483647 h 210"/>
                  <a:gd name="T2" fmla="*/ 2147483647 w 108"/>
                  <a:gd name="T3" fmla="*/ 2147483647 h 210"/>
                  <a:gd name="T4" fmla="*/ 2147483647 w 108"/>
                  <a:gd name="T5" fmla="*/ 2147483647 h 210"/>
                  <a:gd name="T6" fmla="*/ 2147483647 w 108"/>
                  <a:gd name="T7" fmla="*/ 2147483647 h 210"/>
                  <a:gd name="T8" fmla="*/ 2147483647 w 108"/>
                  <a:gd name="T9" fmla="*/ 2147483647 h 210"/>
                  <a:gd name="T10" fmla="*/ 2147483647 w 108"/>
                  <a:gd name="T11" fmla="*/ 0 h 210"/>
                  <a:gd name="T12" fmla="*/ 2147483647 w 108"/>
                  <a:gd name="T13" fmla="*/ 2147483647 h 210"/>
                  <a:gd name="T14" fmla="*/ 2147483647 w 108"/>
                  <a:gd name="T15" fmla="*/ 2147483647 h 210"/>
                  <a:gd name="T16" fmla="*/ 2147483647 w 108"/>
                  <a:gd name="T17" fmla="*/ 2147483647 h 210"/>
                  <a:gd name="T18" fmla="*/ 2147483647 w 108"/>
                  <a:gd name="T19" fmla="*/ 2147483647 h 210"/>
                  <a:gd name="T20" fmla="*/ 2147483647 w 108"/>
                  <a:gd name="T21" fmla="*/ 2147483647 h 210"/>
                  <a:gd name="T22" fmla="*/ 2147483647 w 108"/>
                  <a:gd name="T23" fmla="*/ 2147483647 h 210"/>
                  <a:gd name="T24" fmla="*/ 2147483647 w 108"/>
                  <a:gd name="T25" fmla="*/ 2147483647 h 210"/>
                  <a:gd name="T26" fmla="*/ 2147483647 w 108"/>
                  <a:gd name="T27" fmla="*/ 2147483647 h 210"/>
                  <a:gd name="T28" fmla="*/ 2147483647 w 108"/>
                  <a:gd name="T29" fmla="*/ 2147483647 h 210"/>
                  <a:gd name="T30" fmla="*/ 2147483647 w 108"/>
                  <a:gd name="T31" fmla="*/ 2147483647 h 210"/>
                  <a:gd name="T32" fmla="*/ 2147483647 w 108"/>
                  <a:gd name="T33" fmla="*/ 2147483647 h 210"/>
                  <a:gd name="T34" fmla="*/ 2147483647 w 108"/>
                  <a:gd name="T35" fmla="*/ 2147483647 h 210"/>
                  <a:gd name="T36" fmla="*/ 0 w 108"/>
                  <a:gd name="T37" fmla="*/ 2147483647 h 210"/>
                  <a:gd name="T38" fmla="*/ 2147483647 w 108"/>
                  <a:gd name="T39" fmla="*/ 2147483647 h 210"/>
                  <a:gd name="T40" fmla="*/ 2147483647 w 108"/>
                  <a:gd name="T41" fmla="*/ 2147483647 h 210"/>
                  <a:gd name="T42" fmla="*/ 2147483647 w 108"/>
                  <a:gd name="T43" fmla="*/ 2147483647 h 210"/>
                  <a:gd name="T44" fmla="*/ 2147483647 w 108"/>
                  <a:gd name="T45" fmla="*/ 2147483647 h 210"/>
                  <a:gd name="T46" fmla="*/ 2147483647 w 108"/>
                  <a:gd name="T47" fmla="*/ 2147483647 h 210"/>
                  <a:gd name="T48" fmla="*/ 2147483647 w 108"/>
                  <a:gd name="T49" fmla="*/ 2147483647 h 210"/>
                  <a:gd name="T50" fmla="*/ 2147483647 w 108"/>
                  <a:gd name="T51" fmla="*/ 2147483647 h 210"/>
                  <a:gd name="T52" fmla="*/ 2147483647 w 108"/>
                  <a:gd name="T53" fmla="*/ 2147483647 h 210"/>
                  <a:gd name="T54" fmla="*/ 2147483647 w 108"/>
                  <a:gd name="T55" fmla="*/ 2147483647 h 21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08"/>
                  <a:gd name="T85" fmla="*/ 0 h 210"/>
                  <a:gd name="T86" fmla="*/ 108 w 108"/>
                  <a:gd name="T87" fmla="*/ 210 h 21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08" h="210">
                    <a:moveTo>
                      <a:pt x="108" y="30"/>
                    </a:moveTo>
                    <a:lnTo>
                      <a:pt x="108" y="24"/>
                    </a:lnTo>
                    <a:lnTo>
                      <a:pt x="102" y="24"/>
                    </a:lnTo>
                    <a:lnTo>
                      <a:pt x="90" y="18"/>
                    </a:lnTo>
                    <a:lnTo>
                      <a:pt x="84" y="12"/>
                    </a:lnTo>
                    <a:lnTo>
                      <a:pt x="78" y="0"/>
                    </a:lnTo>
                    <a:lnTo>
                      <a:pt x="78" y="6"/>
                    </a:lnTo>
                    <a:lnTo>
                      <a:pt x="72" y="12"/>
                    </a:lnTo>
                    <a:lnTo>
                      <a:pt x="72" y="24"/>
                    </a:lnTo>
                    <a:lnTo>
                      <a:pt x="66" y="36"/>
                    </a:lnTo>
                    <a:lnTo>
                      <a:pt x="54" y="42"/>
                    </a:lnTo>
                    <a:lnTo>
                      <a:pt x="48" y="48"/>
                    </a:lnTo>
                    <a:lnTo>
                      <a:pt x="42" y="48"/>
                    </a:lnTo>
                    <a:lnTo>
                      <a:pt x="42" y="42"/>
                    </a:lnTo>
                    <a:lnTo>
                      <a:pt x="36" y="36"/>
                    </a:lnTo>
                    <a:lnTo>
                      <a:pt x="30" y="36"/>
                    </a:lnTo>
                    <a:lnTo>
                      <a:pt x="30" y="42"/>
                    </a:lnTo>
                    <a:lnTo>
                      <a:pt x="24" y="54"/>
                    </a:lnTo>
                    <a:lnTo>
                      <a:pt x="0" y="210"/>
                    </a:lnTo>
                    <a:lnTo>
                      <a:pt x="30" y="210"/>
                    </a:lnTo>
                    <a:lnTo>
                      <a:pt x="42" y="168"/>
                    </a:lnTo>
                    <a:lnTo>
                      <a:pt x="60" y="174"/>
                    </a:lnTo>
                    <a:lnTo>
                      <a:pt x="84" y="150"/>
                    </a:lnTo>
                    <a:lnTo>
                      <a:pt x="84" y="90"/>
                    </a:lnTo>
                    <a:lnTo>
                      <a:pt x="90" y="78"/>
                    </a:lnTo>
                    <a:lnTo>
                      <a:pt x="96" y="60"/>
                    </a:lnTo>
                    <a:lnTo>
                      <a:pt x="108" y="36"/>
                    </a:lnTo>
                    <a:lnTo>
                      <a:pt x="108" y="30"/>
                    </a:lnTo>
                    <a:close/>
                  </a:path>
                </a:pathLst>
              </a:custGeom>
              <a:solidFill>
                <a:srgbClr val="9D90A0">
                  <a:lumMod val="40000"/>
                  <a:lumOff val="60000"/>
                </a:srgbClr>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34" name="Australia" descr="© INSCALE GmbH, 05.05.2010&#10;http://www.presentationload.com/">
                <a:extLst>
                  <a:ext uri="{FF2B5EF4-FFF2-40B4-BE49-F238E27FC236}">
                    <a16:creationId xmlns:a16="http://schemas.microsoft.com/office/drawing/2014/main" id="{A8678891-A497-46D5-B535-A5CCFABFE2E0}"/>
                  </a:ext>
                </a:extLst>
              </p:cNvPr>
              <p:cNvSpPr>
                <a:spLocks noEditPoints="1"/>
              </p:cNvSpPr>
              <p:nvPr/>
            </p:nvSpPr>
            <p:spPr bwMode="gray">
              <a:xfrm>
                <a:off x="7276808" y="4930031"/>
                <a:ext cx="1123136" cy="1169572"/>
              </a:xfrm>
              <a:custGeom>
                <a:avLst/>
                <a:gdLst>
                  <a:gd name="T0" fmla="*/ 2147483647 w 2838"/>
                  <a:gd name="T1" fmla="*/ 2147483647 h 2664"/>
                  <a:gd name="T2" fmla="*/ 2147483647 w 2838"/>
                  <a:gd name="T3" fmla="*/ 2147483647 h 2664"/>
                  <a:gd name="T4" fmla="*/ 2147483647 w 2838"/>
                  <a:gd name="T5" fmla="*/ 2147483647 h 2664"/>
                  <a:gd name="T6" fmla="*/ 2147483647 w 2838"/>
                  <a:gd name="T7" fmla="*/ 2147483647 h 2664"/>
                  <a:gd name="T8" fmla="*/ 2147483647 w 2838"/>
                  <a:gd name="T9" fmla="*/ 2147483647 h 2664"/>
                  <a:gd name="T10" fmla="*/ 2147483647 w 2838"/>
                  <a:gd name="T11" fmla="*/ 2147483647 h 2664"/>
                  <a:gd name="T12" fmla="*/ 2147483647 w 2838"/>
                  <a:gd name="T13" fmla="*/ 2147483647 h 2664"/>
                  <a:gd name="T14" fmla="*/ 2147483647 w 2838"/>
                  <a:gd name="T15" fmla="*/ 2147483647 h 2664"/>
                  <a:gd name="T16" fmla="*/ 2147483647 w 2838"/>
                  <a:gd name="T17" fmla="*/ 2147483647 h 2664"/>
                  <a:gd name="T18" fmla="*/ 2147483647 w 2838"/>
                  <a:gd name="T19" fmla="*/ 2147483647 h 2664"/>
                  <a:gd name="T20" fmla="*/ 2147483647 w 2838"/>
                  <a:gd name="T21" fmla="*/ 2147483647 h 2664"/>
                  <a:gd name="T22" fmla="*/ 2147483647 w 2838"/>
                  <a:gd name="T23" fmla="*/ 2147483647 h 2664"/>
                  <a:gd name="T24" fmla="*/ 2147483647 w 2838"/>
                  <a:gd name="T25" fmla="*/ 2147483647 h 2664"/>
                  <a:gd name="T26" fmla="*/ 2147483647 w 2838"/>
                  <a:gd name="T27" fmla="*/ 2147483647 h 2664"/>
                  <a:gd name="T28" fmla="*/ 2147483647 w 2838"/>
                  <a:gd name="T29" fmla="*/ 2147483647 h 2664"/>
                  <a:gd name="T30" fmla="*/ 2147483647 w 2838"/>
                  <a:gd name="T31" fmla="*/ 2147483647 h 2664"/>
                  <a:gd name="T32" fmla="*/ 2147483647 w 2838"/>
                  <a:gd name="T33" fmla="*/ 2147483647 h 2664"/>
                  <a:gd name="T34" fmla="*/ 2147483647 w 2838"/>
                  <a:gd name="T35" fmla="*/ 2147483647 h 2664"/>
                  <a:gd name="T36" fmla="*/ 2147483647 w 2838"/>
                  <a:gd name="T37" fmla="*/ 2147483647 h 2664"/>
                  <a:gd name="T38" fmla="*/ 2147483647 w 2838"/>
                  <a:gd name="T39" fmla="*/ 2147483647 h 2664"/>
                  <a:gd name="T40" fmla="*/ 2147483647 w 2838"/>
                  <a:gd name="T41" fmla="*/ 2147483647 h 2664"/>
                  <a:gd name="T42" fmla="*/ 2147483647 w 2838"/>
                  <a:gd name="T43" fmla="*/ 2147483647 h 2664"/>
                  <a:gd name="T44" fmla="*/ 2147483647 w 2838"/>
                  <a:gd name="T45" fmla="*/ 2147483647 h 2664"/>
                  <a:gd name="T46" fmla="*/ 2147483647 w 2838"/>
                  <a:gd name="T47" fmla="*/ 2147483647 h 2664"/>
                  <a:gd name="T48" fmla="*/ 2147483647 w 2838"/>
                  <a:gd name="T49" fmla="*/ 2147483647 h 2664"/>
                  <a:gd name="T50" fmla="*/ 2147483647 w 2838"/>
                  <a:gd name="T51" fmla="*/ 2147483647 h 2664"/>
                  <a:gd name="T52" fmla="*/ 2147483647 w 2838"/>
                  <a:gd name="T53" fmla="*/ 2147483647 h 2664"/>
                  <a:gd name="T54" fmla="*/ 2147483647 w 2838"/>
                  <a:gd name="T55" fmla="*/ 2147483647 h 2664"/>
                  <a:gd name="T56" fmla="*/ 2147483647 w 2838"/>
                  <a:gd name="T57" fmla="*/ 2147483647 h 2664"/>
                  <a:gd name="T58" fmla="*/ 2147483647 w 2838"/>
                  <a:gd name="T59" fmla="*/ 2147483647 h 2664"/>
                  <a:gd name="T60" fmla="*/ 2147483647 w 2838"/>
                  <a:gd name="T61" fmla="*/ 2147483647 h 2664"/>
                  <a:gd name="T62" fmla="*/ 2147483647 w 2838"/>
                  <a:gd name="T63" fmla="*/ 2147483647 h 2664"/>
                  <a:gd name="T64" fmla="*/ 2147483647 w 2838"/>
                  <a:gd name="T65" fmla="*/ 2147483647 h 2664"/>
                  <a:gd name="T66" fmla="*/ 2147483647 w 2838"/>
                  <a:gd name="T67" fmla="*/ 2147483647 h 2664"/>
                  <a:gd name="T68" fmla="*/ 2147483647 w 2838"/>
                  <a:gd name="T69" fmla="*/ 2147483647 h 2664"/>
                  <a:gd name="T70" fmla="*/ 2147483647 w 2838"/>
                  <a:gd name="T71" fmla="*/ 2147483647 h 2664"/>
                  <a:gd name="T72" fmla="*/ 2147483647 w 2838"/>
                  <a:gd name="T73" fmla="*/ 2147483647 h 2664"/>
                  <a:gd name="T74" fmla="*/ 2147483647 w 2838"/>
                  <a:gd name="T75" fmla="*/ 2147483647 h 2664"/>
                  <a:gd name="T76" fmla="*/ 2147483647 w 2838"/>
                  <a:gd name="T77" fmla="*/ 2147483647 h 2664"/>
                  <a:gd name="T78" fmla="*/ 2147483647 w 2838"/>
                  <a:gd name="T79" fmla="*/ 2147483647 h 2664"/>
                  <a:gd name="T80" fmla="*/ 2147483647 w 2838"/>
                  <a:gd name="T81" fmla="*/ 2147483647 h 2664"/>
                  <a:gd name="T82" fmla="*/ 2147483647 w 2838"/>
                  <a:gd name="T83" fmla="*/ 2147483647 h 2664"/>
                  <a:gd name="T84" fmla="*/ 2147483647 w 2838"/>
                  <a:gd name="T85" fmla="*/ 2147483647 h 2664"/>
                  <a:gd name="T86" fmla="*/ 2147483647 w 2838"/>
                  <a:gd name="T87" fmla="*/ 2147483647 h 2664"/>
                  <a:gd name="T88" fmla="*/ 2147483647 w 2838"/>
                  <a:gd name="T89" fmla="*/ 2147483647 h 2664"/>
                  <a:gd name="T90" fmla="*/ 2147483647 w 2838"/>
                  <a:gd name="T91" fmla="*/ 2147483647 h 2664"/>
                  <a:gd name="T92" fmla="*/ 2147483647 w 2838"/>
                  <a:gd name="T93" fmla="*/ 2147483647 h 2664"/>
                  <a:gd name="T94" fmla="*/ 2147483647 w 2838"/>
                  <a:gd name="T95" fmla="*/ 2147483647 h 2664"/>
                  <a:gd name="T96" fmla="*/ 2147483647 w 2838"/>
                  <a:gd name="T97" fmla="*/ 2147483647 h 2664"/>
                  <a:gd name="T98" fmla="*/ 2147483647 w 2838"/>
                  <a:gd name="T99" fmla="*/ 2147483647 h 2664"/>
                  <a:gd name="T100" fmla="*/ 2147483647 w 2838"/>
                  <a:gd name="T101" fmla="*/ 2147483647 h 2664"/>
                  <a:gd name="T102" fmla="*/ 2147483647 w 2838"/>
                  <a:gd name="T103" fmla="*/ 2147483647 h 2664"/>
                  <a:gd name="T104" fmla="*/ 2147483647 w 2838"/>
                  <a:gd name="T105" fmla="*/ 2147483647 h 2664"/>
                  <a:gd name="T106" fmla="*/ 2147483647 w 2838"/>
                  <a:gd name="T107" fmla="*/ 2147483647 h 2664"/>
                  <a:gd name="T108" fmla="*/ 2147483647 w 2838"/>
                  <a:gd name="T109" fmla="*/ 2147483647 h 2664"/>
                  <a:gd name="T110" fmla="*/ 2147483647 w 2838"/>
                  <a:gd name="T111" fmla="*/ 2147483647 h 2664"/>
                  <a:gd name="T112" fmla="*/ 2147483647 w 2838"/>
                  <a:gd name="T113" fmla="*/ 2147483647 h 2664"/>
                  <a:gd name="T114" fmla="*/ 2147483647 w 2838"/>
                  <a:gd name="T115" fmla="*/ 2147483647 h 2664"/>
                  <a:gd name="T116" fmla="*/ 2147483647 w 2838"/>
                  <a:gd name="T117" fmla="*/ 2147483647 h 266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838"/>
                  <a:gd name="T178" fmla="*/ 0 h 2664"/>
                  <a:gd name="T179" fmla="*/ 2838 w 2838"/>
                  <a:gd name="T180" fmla="*/ 2664 h 266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838" h="2664">
                    <a:moveTo>
                      <a:pt x="1530" y="66"/>
                    </a:moveTo>
                    <a:lnTo>
                      <a:pt x="1524" y="60"/>
                    </a:lnTo>
                    <a:lnTo>
                      <a:pt x="1518" y="60"/>
                    </a:lnTo>
                    <a:lnTo>
                      <a:pt x="1506" y="66"/>
                    </a:lnTo>
                    <a:lnTo>
                      <a:pt x="1500" y="72"/>
                    </a:lnTo>
                    <a:lnTo>
                      <a:pt x="1494" y="84"/>
                    </a:lnTo>
                    <a:lnTo>
                      <a:pt x="1494" y="102"/>
                    </a:lnTo>
                    <a:lnTo>
                      <a:pt x="1506" y="102"/>
                    </a:lnTo>
                    <a:lnTo>
                      <a:pt x="1512" y="90"/>
                    </a:lnTo>
                    <a:lnTo>
                      <a:pt x="1524" y="78"/>
                    </a:lnTo>
                    <a:lnTo>
                      <a:pt x="1530" y="66"/>
                    </a:lnTo>
                    <a:close/>
                    <a:moveTo>
                      <a:pt x="1476" y="2016"/>
                    </a:moveTo>
                    <a:lnTo>
                      <a:pt x="1464" y="2016"/>
                    </a:lnTo>
                    <a:lnTo>
                      <a:pt x="1440" y="2028"/>
                    </a:lnTo>
                    <a:lnTo>
                      <a:pt x="1440" y="2034"/>
                    </a:lnTo>
                    <a:lnTo>
                      <a:pt x="1452" y="2046"/>
                    </a:lnTo>
                    <a:lnTo>
                      <a:pt x="1452" y="2052"/>
                    </a:lnTo>
                    <a:lnTo>
                      <a:pt x="1470" y="2052"/>
                    </a:lnTo>
                    <a:lnTo>
                      <a:pt x="1482" y="2046"/>
                    </a:lnTo>
                    <a:lnTo>
                      <a:pt x="1488" y="2040"/>
                    </a:lnTo>
                    <a:lnTo>
                      <a:pt x="1506" y="2040"/>
                    </a:lnTo>
                    <a:lnTo>
                      <a:pt x="1512" y="2034"/>
                    </a:lnTo>
                    <a:lnTo>
                      <a:pt x="1530" y="2034"/>
                    </a:lnTo>
                    <a:lnTo>
                      <a:pt x="1536" y="2028"/>
                    </a:lnTo>
                    <a:lnTo>
                      <a:pt x="1512" y="2028"/>
                    </a:lnTo>
                    <a:lnTo>
                      <a:pt x="1500" y="2016"/>
                    </a:lnTo>
                    <a:lnTo>
                      <a:pt x="1476" y="2016"/>
                    </a:lnTo>
                    <a:close/>
                    <a:moveTo>
                      <a:pt x="2802" y="1164"/>
                    </a:moveTo>
                    <a:lnTo>
                      <a:pt x="2802" y="1134"/>
                    </a:lnTo>
                    <a:lnTo>
                      <a:pt x="2796" y="1116"/>
                    </a:lnTo>
                    <a:lnTo>
                      <a:pt x="2796" y="1092"/>
                    </a:lnTo>
                    <a:lnTo>
                      <a:pt x="2790" y="1086"/>
                    </a:lnTo>
                    <a:lnTo>
                      <a:pt x="2778" y="1086"/>
                    </a:lnTo>
                    <a:lnTo>
                      <a:pt x="2772" y="1080"/>
                    </a:lnTo>
                    <a:lnTo>
                      <a:pt x="2760" y="1080"/>
                    </a:lnTo>
                    <a:lnTo>
                      <a:pt x="2760" y="1062"/>
                    </a:lnTo>
                    <a:lnTo>
                      <a:pt x="2742" y="1050"/>
                    </a:lnTo>
                    <a:lnTo>
                      <a:pt x="2742" y="1014"/>
                    </a:lnTo>
                    <a:lnTo>
                      <a:pt x="2736" y="1008"/>
                    </a:lnTo>
                    <a:lnTo>
                      <a:pt x="2724" y="1002"/>
                    </a:lnTo>
                    <a:lnTo>
                      <a:pt x="2718" y="996"/>
                    </a:lnTo>
                    <a:lnTo>
                      <a:pt x="2706" y="996"/>
                    </a:lnTo>
                    <a:lnTo>
                      <a:pt x="2712" y="996"/>
                    </a:lnTo>
                    <a:lnTo>
                      <a:pt x="2718" y="990"/>
                    </a:lnTo>
                    <a:lnTo>
                      <a:pt x="2730" y="990"/>
                    </a:lnTo>
                    <a:lnTo>
                      <a:pt x="2742" y="984"/>
                    </a:lnTo>
                    <a:lnTo>
                      <a:pt x="2760" y="966"/>
                    </a:lnTo>
                    <a:lnTo>
                      <a:pt x="2754" y="954"/>
                    </a:lnTo>
                    <a:lnTo>
                      <a:pt x="2736" y="936"/>
                    </a:lnTo>
                    <a:lnTo>
                      <a:pt x="2730" y="936"/>
                    </a:lnTo>
                    <a:lnTo>
                      <a:pt x="2730" y="930"/>
                    </a:lnTo>
                    <a:lnTo>
                      <a:pt x="2712" y="912"/>
                    </a:lnTo>
                    <a:lnTo>
                      <a:pt x="2700" y="906"/>
                    </a:lnTo>
                    <a:lnTo>
                      <a:pt x="2694" y="912"/>
                    </a:lnTo>
                    <a:lnTo>
                      <a:pt x="2694" y="936"/>
                    </a:lnTo>
                    <a:lnTo>
                      <a:pt x="2670" y="930"/>
                    </a:lnTo>
                    <a:lnTo>
                      <a:pt x="2670" y="924"/>
                    </a:lnTo>
                    <a:lnTo>
                      <a:pt x="2676" y="918"/>
                    </a:lnTo>
                    <a:lnTo>
                      <a:pt x="2676" y="906"/>
                    </a:lnTo>
                    <a:lnTo>
                      <a:pt x="2682" y="894"/>
                    </a:lnTo>
                    <a:lnTo>
                      <a:pt x="2688" y="876"/>
                    </a:lnTo>
                    <a:lnTo>
                      <a:pt x="2688" y="858"/>
                    </a:lnTo>
                    <a:lnTo>
                      <a:pt x="2682" y="852"/>
                    </a:lnTo>
                    <a:lnTo>
                      <a:pt x="2676" y="840"/>
                    </a:lnTo>
                    <a:lnTo>
                      <a:pt x="2670" y="840"/>
                    </a:lnTo>
                    <a:lnTo>
                      <a:pt x="2652" y="822"/>
                    </a:lnTo>
                    <a:lnTo>
                      <a:pt x="2652" y="816"/>
                    </a:lnTo>
                    <a:lnTo>
                      <a:pt x="2658" y="804"/>
                    </a:lnTo>
                    <a:lnTo>
                      <a:pt x="2658" y="792"/>
                    </a:lnTo>
                    <a:lnTo>
                      <a:pt x="2664" y="774"/>
                    </a:lnTo>
                    <a:lnTo>
                      <a:pt x="2664" y="762"/>
                    </a:lnTo>
                    <a:lnTo>
                      <a:pt x="2652" y="750"/>
                    </a:lnTo>
                    <a:lnTo>
                      <a:pt x="2628" y="732"/>
                    </a:lnTo>
                    <a:lnTo>
                      <a:pt x="2598" y="720"/>
                    </a:lnTo>
                    <a:lnTo>
                      <a:pt x="2580" y="708"/>
                    </a:lnTo>
                    <a:lnTo>
                      <a:pt x="2568" y="702"/>
                    </a:lnTo>
                    <a:lnTo>
                      <a:pt x="2556" y="708"/>
                    </a:lnTo>
                    <a:lnTo>
                      <a:pt x="2550" y="696"/>
                    </a:lnTo>
                    <a:lnTo>
                      <a:pt x="2538" y="684"/>
                    </a:lnTo>
                    <a:lnTo>
                      <a:pt x="2532" y="672"/>
                    </a:lnTo>
                    <a:lnTo>
                      <a:pt x="2520" y="660"/>
                    </a:lnTo>
                    <a:lnTo>
                      <a:pt x="2514" y="642"/>
                    </a:lnTo>
                    <a:lnTo>
                      <a:pt x="2514" y="594"/>
                    </a:lnTo>
                    <a:lnTo>
                      <a:pt x="2520" y="576"/>
                    </a:lnTo>
                    <a:lnTo>
                      <a:pt x="2526" y="564"/>
                    </a:lnTo>
                    <a:lnTo>
                      <a:pt x="2526" y="546"/>
                    </a:lnTo>
                    <a:lnTo>
                      <a:pt x="2520" y="504"/>
                    </a:lnTo>
                    <a:lnTo>
                      <a:pt x="2502" y="462"/>
                    </a:lnTo>
                    <a:lnTo>
                      <a:pt x="2490" y="426"/>
                    </a:lnTo>
                    <a:lnTo>
                      <a:pt x="2490" y="402"/>
                    </a:lnTo>
                    <a:lnTo>
                      <a:pt x="2496" y="390"/>
                    </a:lnTo>
                    <a:lnTo>
                      <a:pt x="2502" y="384"/>
                    </a:lnTo>
                    <a:lnTo>
                      <a:pt x="2502" y="324"/>
                    </a:lnTo>
                    <a:lnTo>
                      <a:pt x="2496" y="312"/>
                    </a:lnTo>
                    <a:lnTo>
                      <a:pt x="2496" y="300"/>
                    </a:lnTo>
                    <a:lnTo>
                      <a:pt x="2472" y="294"/>
                    </a:lnTo>
                    <a:lnTo>
                      <a:pt x="2460" y="288"/>
                    </a:lnTo>
                    <a:lnTo>
                      <a:pt x="2454" y="276"/>
                    </a:lnTo>
                    <a:lnTo>
                      <a:pt x="2442" y="270"/>
                    </a:lnTo>
                    <a:lnTo>
                      <a:pt x="2424" y="270"/>
                    </a:lnTo>
                    <a:lnTo>
                      <a:pt x="2418" y="282"/>
                    </a:lnTo>
                    <a:lnTo>
                      <a:pt x="2412" y="288"/>
                    </a:lnTo>
                    <a:lnTo>
                      <a:pt x="2412" y="282"/>
                    </a:lnTo>
                    <a:lnTo>
                      <a:pt x="2406" y="276"/>
                    </a:lnTo>
                    <a:lnTo>
                      <a:pt x="2400" y="264"/>
                    </a:lnTo>
                    <a:lnTo>
                      <a:pt x="2400" y="228"/>
                    </a:lnTo>
                    <a:lnTo>
                      <a:pt x="2406" y="216"/>
                    </a:lnTo>
                    <a:lnTo>
                      <a:pt x="2406" y="204"/>
                    </a:lnTo>
                    <a:lnTo>
                      <a:pt x="2388" y="180"/>
                    </a:lnTo>
                    <a:lnTo>
                      <a:pt x="2394" y="96"/>
                    </a:lnTo>
                    <a:lnTo>
                      <a:pt x="2382" y="90"/>
                    </a:lnTo>
                    <a:lnTo>
                      <a:pt x="2364" y="72"/>
                    </a:lnTo>
                    <a:lnTo>
                      <a:pt x="2364" y="66"/>
                    </a:lnTo>
                    <a:lnTo>
                      <a:pt x="2370" y="48"/>
                    </a:lnTo>
                    <a:lnTo>
                      <a:pt x="2370" y="24"/>
                    </a:lnTo>
                    <a:lnTo>
                      <a:pt x="2364" y="18"/>
                    </a:lnTo>
                    <a:lnTo>
                      <a:pt x="2346" y="18"/>
                    </a:lnTo>
                    <a:lnTo>
                      <a:pt x="2346" y="0"/>
                    </a:lnTo>
                    <a:lnTo>
                      <a:pt x="2316" y="12"/>
                    </a:lnTo>
                    <a:lnTo>
                      <a:pt x="2310" y="30"/>
                    </a:lnTo>
                    <a:lnTo>
                      <a:pt x="2298" y="36"/>
                    </a:lnTo>
                    <a:lnTo>
                      <a:pt x="2292" y="42"/>
                    </a:lnTo>
                    <a:lnTo>
                      <a:pt x="2280" y="48"/>
                    </a:lnTo>
                    <a:lnTo>
                      <a:pt x="2280" y="66"/>
                    </a:lnTo>
                    <a:lnTo>
                      <a:pt x="2286" y="78"/>
                    </a:lnTo>
                    <a:lnTo>
                      <a:pt x="2286" y="90"/>
                    </a:lnTo>
                    <a:lnTo>
                      <a:pt x="2292" y="102"/>
                    </a:lnTo>
                    <a:lnTo>
                      <a:pt x="2292" y="114"/>
                    </a:lnTo>
                    <a:lnTo>
                      <a:pt x="2286" y="126"/>
                    </a:lnTo>
                    <a:lnTo>
                      <a:pt x="2274" y="138"/>
                    </a:lnTo>
                    <a:lnTo>
                      <a:pt x="2268" y="150"/>
                    </a:lnTo>
                    <a:lnTo>
                      <a:pt x="2238" y="180"/>
                    </a:lnTo>
                    <a:lnTo>
                      <a:pt x="2256" y="192"/>
                    </a:lnTo>
                    <a:lnTo>
                      <a:pt x="2256" y="198"/>
                    </a:lnTo>
                    <a:lnTo>
                      <a:pt x="2250" y="204"/>
                    </a:lnTo>
                    <a:lnTo>
                      <a:pt x="2238" y="228"/>
                    </a:lnTo>
                    <a:lnTo>
                      <a:pt x="2232" y="234"/>
                    </a:lnTo>
                    <a:lnTo>
                      <a:pt x="2232" y="264"/>
                    </a:lnTo>
                    <a:lnTo>
                      <a:pt x="2238" y="276"/>
                    </a:lnTo>
                    <a:lnTo>
                      <a:pt x="2238" y="288"/>
                    </a:lnTo>
                    <a:lnTo>
                      <a:pt x="2232" y="300"/>
                    </a:lnTo>
                    <a:lnTo>
                      <a:pt x="2214" y="408"/>
                    </a:lnTo>
                    <a:lnTo>
                      <a:pt x="2208" y="432"/>
                    </a:lnTo>
                    <a:lnTo>
                      <a:pt x="2202" y="438"/>
                    </a:lnTo>
                    <a:lnTo>
                      <a:pt x="2190" y="462"/>
                    </a:lnTo>
                    <a:lnTo>
                      <a:pt x="2178" y="474"/>
                    </a:lnTo>
                    <a:lnTo>
                      <a:pt x="2172" y="486"/>
                    </a:lnTo>
                    <a:lnTo>
                      <a:pt x="2166" y="492"/>
                    </a:lnTo>
                    <a:lnTo>
                      <a:pt x="2166" y="516"/>
                    </a:lnTo>
                    <a:lnTo>
                      <a:pt x="2160" y="534"/>
                    </a:lnTo>
                    <a:lnTo>
                      <a:pt x="2154" y="546"/>
                    </a:lnTo>
                    <a:lnTo>
                      <a:pt x="2142" y="552"/>
                    </a:lnTo>
                    <a:lnTo>
                      <a:pt x="2088" y="570"/>
                    </a:lnTo>
                    <a:lnTo>
                      <a:pt x="2076" y="570"/>
                    </a:lnTo>
                    <a:lnTo>
                      <a:pt x="2064" y="576"/>
                    </a:lnTo>
                    <a:lnTo>
                      <a:pt x="2058" y="576"/>
                    </a:lnTo>
                    <a:lnTo>
                      <a:pt x="2058" y="570"/>
                    </a:lnTo>
                    <a:lnTo>
                      <a:pt x="2052" y="564"/>
                    </a:lnTo>
                    <a:lnTo>
                      <a:pt x="2028" y="516"/>
                    </a:lnTo>
                    <a:lnTo>
                      <a:pt x="2022" y="510"/>
                    </a:lnTo>
                    <a:lnTo>
                      <a:pt x="1998" y="492"/>
                    </a:lnTo>
                    <a:lnTo>
                      <a:pt x="1956" y="474"/>
                    </a:lnTo>
                    <a:lnTo>
                      <a:pt x="1920" y="462"/>
                    </a:lnTo>
                    <a:lnTo>
                      <a:pt x="1908" y="456"/>
                    </a:lnTo>
                    <a:lnTo>
                      <a:pt x="1896" y="438"/>
                    </a:lnTo>
                    <a:lnTo>
                      <a:pt x="1884" y="426"/>
                    </a:lnTo>
                    <a:lnTo>
                      <a:pt x="1872" y="402"/>
                    </a:lnTo>
                    <a:lnTo>
                      <a:pt x="1866" y="396"/>
                    </a:lnTo>
                    <a:lnTo>
                      <a:pt x="1830" y="396"/>
                    </a:lnTo>
                    <a:lnTo>
                      <a:pt x="1806" y="348"/>
                    </a:lnTo>
                    <a:lnTo>
                      <a:pt x="1824" y="330"/>
                    </a:lnTo>
                    <a:lnTo>
                      <a:pt x="1824" y="306"/>
                    </a:lnTo>
                    <a:lnTo>
                      <a:pt x="1830" y="294"/>
                    </a:lnTo>
                    <a:lnTo>
                      <a:pt x="1836" y="288"/>
                    </a:lnTo>
                    <a:lnTo>
                      <a:pt x="1848" y="282"/>
                    </a:lnTo>
                    <a:lnTo>
                      <a:pt x="1854" y="276"/>
                    </a:lnTo>
                    <a:lnTo>
                      <a:pt x="1848" y="228"/>
                    </a:lnTo>
                    <a:lnTo>
                      <a:pt x="1866" y="210"/>
                    </a:lnTo>
                    <a:lnTo>
                      <a:pt x="1872" y="216"/>
                    </a:lnTo>
                    <a:lnTo>
                      <a:pt x="1884" y="216"/>
                    </a:lnTo>
                    <a:lnTo>
                      <a:pt x="1890" y="222"/>
                    </a:lnTo>
                    <a:lnTo>
                      <a:pt x="1896" y="222"/>
                    </a:lnTo>
                    <a:lnTo>
                      <a:pt x="1902" y="216"/>
                    </a:lnTo>
                    <a:lnTo>
                      <a:pt x="1908" y="204"/>
                    </a:lnTo>
                    <a:lnTo>
                      <a:pt x="1908" y="180"/>
                    </a:lnTo>
                    <a:lnTo>
                      <a:pt x="1944" y="144"/>
                    </a:lnTo>
                    <a:lnTo>
                      <a:pt x="1938" y="132"/>
                    </a:lnTo>
                    <a:lnTo>
                      <a:pt x="1914" y="108"/>
                    </a:lnTo>
                    <a:lnTo>
                      <a:pt x="1890" y="108"/>
                    </a:lnTo>
                    <a:lnTo>
                      <a:pt x="1872" y="114"/>
                    </a:lnTo>
                    <a:lnTo>
                      <a:pt x="1848" y="126"/>
                    </a:lnTo>
                    <a:lnTo>
                      <a:pt x="1842" y="138"/>
                    </a:lnTo>
                    <a:lnTo>
                      <a:pt x="1842" y="120"/>
                    </a:lnTo>
                    <a:lnTo>
                      <a:pt x="1812" y="126"/>
                    </a:lnTo>
                    <a:lnTo>
                      <a:pt x="1794" y="138"/>
                    </a:lnTo>
                    <a:lnTo>
                      <a:pt x="1788" y="120"/>
                    </a:lnTo>
                    <a:lnTo>
                      <a:pt x="1752" y="114"/>
                    </a:lnTo>
                    <a:lnTo>
                      <a:pt x="1746" y="108"/>
                    </a:lnTo>
                    <a:lnTo>
                      <a:pt x="1734" y="102"/>
                    </a:lnTo>
                    <a:lnTo>
                      <a:pt x="1728" y="96"/>
                    </a:lnTo>
                    <a:lnTo>
                      <a:pt x="1716" y="90"/>
                    </a:lnTo>
                    <a:lnTo>
                      <a:pt x="1674" y="90"/>
                    </a:lnTo>
                    <a:lnTo>
                      <a:pt x="1662" y="84"/>
                    </a:lnTo>
                    <a:lnTo>
                      <a:pt x="1650" y="84"/>
                    </a:lnTo>
                    <a:lnTo>
                      <a:pt x="1650" y="78"/>
                    </a:lnTo>
                    <a:lnTo>
                      <a:pt x="1644" y="72"/>
                    </a:lnTo>
                    <a:lnTo>
                      <a:pt x="1632" y="48"/>
                    </a:lnTo>
                    <a:lnTo>
                      <a:pt x="1626" y="42"/>
                    </a:lnTo>
                    <a:lnTo>
                      <a:pt x="1620" y="42"/>
                    </a:lnTo>
                    <a:lnTo>
                      <a:pt x="1620" y="54"/>
                    </a:lnTo>
                    <a:lnTo>
                      <a:pt x="1614" y="60"/>
                    </a:lnTo>
                    <a:lnTo>
                      <a:pt x="1602" y="54"/>
                    </a:lnTo>
                    <a:lnTo>
                      <a:pt x="1596" y="54"/>
                    </a:lnTo>
                    <a:lnTo>
                      <a:pt x="1584" y="48"/>
                    </a:lnTo>
                    <a:lnTo>
                      <a:pt x="1566" y="48"/>
                    </a:lnTo>
                    <a:lnTo>
                      <a:pt x="1566" y="60"/>
                    </a:lnTo>
                    <a:lnTo>
                      <a:pt x="1572" y="66"/>
                    </a:lnTo>
                    <a:lnTo>
                      <a:pt x="1554" y="66"/>
                    </a:lnTo>
                    <a:lnTo>
                      <a:pt x="1548" y="72"/>
                    </a:lnTo>
                    <a:lnTo>
                      <a:pt x="1548" y="78"/>
                    </a:lnTo>
                    <a:lnTo>
                      <a:pt x="1554" y="84"/>
                    </a:lnTo>
                    <a:lnTo>
                      <a:pt x="1566" y="84"/>
                    </a:lnTo>
                    <a:lnTo>
                      <a:pt x="1590" y="96"/>
                    </a:lnTo>
                    <a:lnTo>
                      <a:pt x="1596" y="96"/>
                    </a:lnTo>
                    <a:lnTo>
                      <a:pt x="1608" y="90"/>
                    </a:lnTo>
                    <a:lnTo>
                      <a:pt x="1614" y="84"/>
                    </a:lnTo>
                    <a:lnTo>
                      <a:pt x="1644" y="102"/>
                    </a:lnTo>
                    <a:lnTo>
                      <a:pt x="1638" y="102"/>
                    </a:lnTo>
                    <a:lnTo>
                      <a:pt x="1632" y="108"/>
                    </a:lnTo>
                    <a:lnTo>
                      <a:pt x="1596" y="126"/>
                    </a:lnTo>
                    <a:lnTo>
                      <a:pt x="1572" y="126"/>
                    </a:lnTo>
                    <a:lnTo>
                      <a:pt x="1554" y="132"/>
                    </a:lnTo>
                    <a:lnTo>
                      <a:pt x="1512" y="132"/>
                    </a:lnTo>
                    <a:lnTo>
                      <a:pt x="1500" y="138"/>
                    </a:lnTo>
                    <a:lnTo>
                      <a:pt x="1482" y="144"/>
                    </a:lnTo>
                    <a:lnTo>
                      <a:pt x="1470" y="156"/>
                    </a:lnTo>
                    <a:lnTo>
                      <a:pt x="1452" y="162"/>
                    </a:lnTo>
                    <a:lnTo>
                      <a:pt x="1440" y="168"/>
                    </a:lnTo>
                    <a:lnTo>
                      <a:pt x="1434" y="174"/>
                    </a:lnTo>
                    <a:lnTo>
                      <a:pt x="1428" y="174"/>
                    </a:lnTo>
                    <a:lnTo>
                      <a:pt x="1428" y="186"/>
                    </a:lnTo>
                    <a:lnTo>
                      <a:pt x="1422" y="204"/>
                    </a:lnTo>
                    <a:lnTo>
                      <a:pt x="1422" y="228"/>
                    </a:lnTo>
                    <a:lnTo>
                      <a:pt x="1428" y="234"/>
                    </a:lnTo>
                    <a:lnTo>
                      <a:pt x="1440" y="240"/>
                    </a:lnTo>
                    <a:lnTo>
                      <a:pt x="1446" y="246"/>
                    </a:lnTo>
                    <a:lnTo>
                      <a:pt x="1452" y="246"/>
                    </a:lnTo>
                    <a:lnTo>
                      <a:pt x="1398" y="246"/>
                    </a:lnTo>
                    <a:lnTo>
                      <a:pt x="1368" y="282"/>
                    </a:lnTo>
                    <a:lnTo>
                      <a:pt x="1368" y="312"/>
                    </a:lnTo>
                    <a:lnTo>
                      <a:pt x="1362" y="324"/>
                    </a:lnTo>
                    <a:lnTo>
                      <a:pt x="1362" y="330"/>
                    </a:lnTo>
                    <a:lnTo>
                      <a:pt x="1368" y="336"/>
                    </a:lnTo>
                    <a:lnTo>
                      <a:pt x="1380" y="336"/>
                    </a:lnTo>
                    <a:lnTo>
                      <a:pt x="1404" y="348"/>
                    </a:lnTo>
                    <a:lnTo>
                      <a:pt x="1410" y="354"/>
                    </a:lnTo>
                    <a:lnTo>
                      <a:pt x="1410" y="390"/>
                    </a:lnTo>
                    <a:lnTo>
                      <a:pt x="1386" y="366"/>
                    </a:lnTo>
                    <a:lnTo>
                      <a:pt x="1356" y="366"/>
                    </a:lnTo>
                    <a:lnTo>
                      <a:pt x="1344" y="390"/>
                    </a:lnTo>
                    <a:lnTo>
                      <a:pt x="1308" y="354"/>
                    </a:lnTo>
                    <a:lnTo>
                      <a:pt x="1302" y="384"/>
                    </a:lnTo>
                    <a:lnTo>
                      <a:pt x="1278" y="396"/>
                    </a:lnTo>
                    <a:lnTo>
                      <a:pt x="1284" y="420"/>
                    </a:lnTo>
                    <a:lnTo>
                      <a:pt x="1254" y="414"/>
                    </a:lnTo>
                    <a:lnTo>
                      <a:pt x="1284" y="354"/>
                    </a:lnTo>
                    <a:lnTo>
                      <a:pt x="1278" y="348"/>
                    </a:lnTo>
                    <a:lnTo>
                      <a:pt x="1272" y="336"/>
                    </a:lnTo>
                    <a:lnTo>
                      <a:pt x="1272" y="324"/>
                    </a:lnTo>
                    <a:lnTo>
                      <a:pt x="1266" y="318"/>
                    </a:lnTo>
                    <a:lnTo>
                      <a:pt x="1254" y="312"/>
                    </a:lnTo>
                    <a:lnTo>
                      <a:pt x="1236" y="312"/>
                    </a:lnTo>
                    <a:lnTo>
                      <a:pt x="1224" y="282"/>
                    </a:lnTo>
                    <a:lnTo>
                      <a:pt x="1224" y="276"/>
                    </a:lnTo>
                    <a:lnTo>
                      <a:pt x="1230" y="270"/>
                    </a:lnTo>
                    <a:lnTo>
                      <a:pt x="1230" y="258"/>
                    </a:lnTo>
                    <a:lnTo>
                      <a:pt x="1224" y="246"/>
                    </a:lnTo>
                    <a:lnTo>
                      <a:pt x="1218" y="240"/>
                    </a:lnTo>
                    <a:lnTo>
                      <a:pt x="1206" y="234"/>
                    </a:lnTo>
                    <a:lnTo>
                      <a:pt x="1194" y="240"/>
                    </a:lnTo>
                    <a:lnTo>
                      <a:pt x="1188" y="246"/>
                    </a:lnTo>
                    <a:lnTo>
                      <a:pt x="1176" y="252"/>
                    </a:lnTo>
                    <a:lnTo>
                      <a:pt x="1176" y="264"/>
                    </a:lnTo>
                    <a:lnTo>
                      <a:pt x="1182" y="270"/>
                    </a:lnTo>
                    <a:lnTo>
                      <a:pt x="1182" y="282"/>
                    </a:lnTo>
                    <a:lnTo>
                      <a:pt x="1146" y="276"/>
                    </a:lnTo>
                    <a:lnTo>
                      <a:pt x="1152" y="306"/>
                    </a:lnTo>
                    <a:lnTo>
                      <a:pt x="1134" y="300"/>
                    </a:lnTo>
                    <a:lnTo>
                      <a:pt x="1116" y="306"/>
                    </a:lnTo>
                    <a:lnTo>
                      <a:pt x="1122" y="312"/>
                    </a:lnTo>
                    <a:lnTo>
                      <a:pt x="1122" y="330"/>
                    </a:lnTo>
                    <a:lnTo>
                      <a:pt x="1116" y="342"/>
                    </a:lnTo>
                    <a:lnTo>
                      <a:pt x="1110" y="348"/>
                    </a:lnTo>
                    <a:lnTo>
                      <a:pt x="1098" y="354"/>
                    </a:lnTo>
                    <a:lnTo>
                      <a:pt x="1092" y="360"/>
                    </a:lnTo>
                    <a:lnTo>
                      <a:pt x="1104" y="324"/>
                    </a:lnTo>
                    <a:lnTo>
                      <a:pt x="1080" y="348"/>
                    </a:lnTo>
                    <a:lnTo>
                      <a:pt x="1062" y="348"/>
                    </a:lnTo>
                    <a:lnTo>
                      <a:pt x="1056" y="360"/>
                    </a:lnTo>
                    <a:lnTo>
                      <a:pt x="1050" y="366"/>
                    </a:lnTo>
                    <a:lnTo>
                      <a:pt x="1050" y="378"/>
                    </a:lnTo>
                    <a:lnTo>
                      <a:pt x="1056" y="390"/>
                    </a:lnTo>
                    <a:lnTo>
                      <a:pt x="1056" y="396"/>
                    </a:lnTo>
                    <a:lnTo>
                      <a:pt x="1062" y="408"/>
                    </a:lnTo>
                    <a:lnTo>
                      <a:pt x="1014" y="384"/>
                    </a:lnTo>
                    <a:lnTo>
                      <a:pt x="1008" y="420"/>
                    </a:lnTo>
                    <a:lnTo>
                      <a:pt x="996" y="426"/>
                    </a:lnTo>
                    <a:lnTo>
                      <a:pt x="1008" y="450"/>
                    </a:lnTo>
                    <a:lnTo>
                      <a:pt x="1032" y="450"/>
                    </a:lnTo>
                    <a:lnTo>
                      <a:pt x="1026" y="468"/>
                    </a:lnTo>
                    <a:lnTo>
                      <a:pt x="954" y="474"/>
                    </a:lnTo>
                    <a:lnTo>
                      <a:pt x="948" y="468"/>
                    </a:lnTo>
                    <a:lnTo>
                      <a:pt x="936" y="462"/>
                    </a:lnTo>
                    <a:lnTo>
                      <a:pt x="930" y="462"/>
                    </a:lnTo>
                    <a:lnTo>
                      <a:pt x="918" y="468"/>
                    </a:lnTo>
                    <a:lnTo>
                      <a:pt x="912" y="474"/>
                    </a:lnTo>
                    <a:lnTo>
                      <a:pt x="918" y="486"/>
                    </a:lnTo>
                    <a:lnTo>
                      <a:pt x="918" y="492"/>
                    </a:lnTo>
                    <a:lnTo>
                      <a:pt x="924" y="504"/>
                    </a:lnTo>
                    <a:lnTo>
                      <a:pt x="930" y="510"/>
                    </a:lnTo>
                    <a:lnTo>
                      <a:pt x="930" y="540"/>
                    </a:lnTo>
                    <a:lnTo>
                      <a:pt x="924" y="564"/>
                    </a:lnTo>
                    <a:lnTo>
                      <a:pt x="930" y="600"/>
                    </a:lnTo>
                    <a:lnTo>
                      <a:pt x="912" y="600"/>
                    </a:lnTo>
                    <a:lnTo>
                      <a:pt x="906" y="522"/>
                    </a:lnTo>
                    <a:lnTo>
                      <a:pt x="888" y="510"/>
                    </a:lnTo>
                    <a:lnTo>
                      <a:pt x="888" y="480"/>
                    </a:lnTo>
                    <a:lnTo>
                      <a:pt x="870" y="480"/>
                    </a:lnTo>
                    <a:lnTo>
                      <a:pt x="852" y="504"/>
                    </a:lnTo>
                    <a:lnTo>
                      <a:pt x="822" y="534"/>
                    </a:lnTo>
                    <a:lnTo>
                      <a:pt x="804" y="546"/>
                    </a:lnTo>
                    <a:lnTo>
                      <a:pt x="792" y="558"/>
                    </a:lnTo>
                    <a:lnTo>
                      <a:pt x="786" y="570"/>
                    </a:lnTo>
                    <a:lnTo>
                      <a:pt x="786" y="600"/>
                    </a:lnTo>
                    <a:lnTo>
                      <a:pt x="792" y="606"/>
                    </a:lnTo>
                    <a:lnTo>
                      <a:pt x="792" y="618"/>
                    </a:lnTo>
                    <a:lnTo>
                      <a:pt x="798" y="618"/>
                    </a:lnTo>
                    <a:lnTo>
                      <a:pt x="816" y="636"/>
                    </a:lnTo>
                    <a:lnTo>
                      <a:pt x="810" y="648"/>
                    </a:lnTo>
                    <a:lnTo>
                      <a:pt x="792" y="654"/>
                    </a:lnTo>
                    <a:lnTo>
                      <a:pt x="774" y="666"/>
                    </a:lnTo>
                    <a:lnTo>
                      <a:pt x="750" y="678"/>
                    </a:lnTo>
                    <a:lnTo>
                      <a:pt x="750" y="696"/>
                    </a:lnTo>
                    <a:lnTo>
                      <a:pt x="720" y="726"/>
                    </a:lnTo>
                    <a:lnTo>
                      <a:pt x="702" y="732"/>
                    </a:lnTo>
                    <a:lnTo>
                      <a:pt x="690" y="744"/>
                    </a:lnTo>
                    <a:lnTo>
                      <a:pt x="666" y="756"/>
                    </a:lnTo>
                    <a:lnTo>
                      <a:pt x="630" y="762"/>
                    </a:lnTo>
                    <a:lnTo>
                      <a:pt x="600" y="768"/>
                    </a:lnTo>
                    <a:lnTo>
                      <a:pt x="588" y="768"/>
                    </a:lnTo>
                    <a:lnTo>
                      <a:pt x="534" y="762"/>
                    </a:lnTo>
                    <a:lnTo>
                      <a:pt x="492" y="780"/>
                    </a:lnTo>
                    <a:lnTo>
                      <a:pt x="438" y="786"/>
                    </a:lnTo>
                    <a:lnTo>
                      <a:pt x="432" y="798"/>
                    </a:lnTo>
                    <a:lnTo>
                      <a:pt x="414" y="798"/>
                    </a:lnTo>
                    <a:lnTo>
                      <a:pt x="402" y="804"/>
                    </a:lnTo>
                    <a:lnTo>
                      <a:pt x="396" y="810"/>
                    </a:lnTo>
                    <a:lnTo>
                      <a:pt x="384" y="816"/>
                    </a:lnTo>
                    <a:lnTo>
                      <a:pt x="372" y="828"/>
                    </a:lnTo>
                    <a:lnTo>
                      <a:pt x="342" y="828"/>
                    </a:lnTo>
                    <a:lnTo>
                      <a:pt x="324" y="834"/>
                    </a:lnTo>
                    <a:lnTo>
                      <a:pt x="312" y="840"/>
                    </a:lnTo>
                    <a:lnTo>
                      <a:pt x="306" y="852"/>
                    </a:lnTo>
                    <a:lnTo>
                      <a:pt x="294" y="858"/>
                    </a:lnTo>
                    <a:lnTo>
                      <a:pt x="288" y="870"/>
                    </a:lnTo>
                    <a:lnTo>
                      <a:pt x="282" y="876"/>
                    </a:lnTo>
                    <a:lnTo>
                      <a:pt x="282" y="882"/>
                    </a:lnTo>
                    <a:lnTo>
                      <a:pt x="276" y="882"/>
                    </a:lnTo>
                    <a:lnTo>
                      <a:pt x="270" y="888"/>
                    </a:lnTo>
                    <a:lnTo>
                      <a:pt x="252" y="888"/>
                    </a:lnTo>
                    <a:lnTo>
                      <a:pt x="240" y="894"/>
                    </a:lnTo>
                    <a:lnTo>
                      <a:pt x="228" y="894"/>
                    </a:lnTo>
                    <a:lnTo>
                      <a:pt x="216" y="900"/>
                    </a:lnTo>
                    <a:lnTo>
                      <a:pt x="210" y="906"/>
                    </a:lnTo>
                    <a:lnTo>
                      <a:pt x="198" y="912"/>
                    </a:lnTo>
                    <a:lnTo>
                      <a:pt x="192" y="930"/>
                    </a:lnTo>
                    <a:lnTo>
                      <a:pt x="150" y="972"/>
                    </a:lnTo>
                    <a:lnTo>
                      <a:pt x="150" y="978"/>
                    </a:lnTo>
                    <a:lnTo>
                      <a:pt x="162" y="912"/>
                    </a:lnTo>
                    <a:lnTo>
                      <a:pt x="144" y="918"/>
                    </a:lnTo>
                    <a:lnTo>
                      <a:pt x="120" y="978"/>
                    </a:lnTo>
                    <a:lnTo>
                      <a:pt x="90" y="1038"/>
                    </a:lnTo>
                    <a:lnTo>
                      <a:pt x="90" y="1056"/>
                    </a:lnTo>
                    <a:lnTo>
                      <a:pt x="96" y="1062"/>
                    </a:lnTo>
                    <a:lnTo>
                      <a:pt x="108" y="1068"/>
                    </a:lnTo>
                    <a:lnTo>
                      <a:pt x="114" y="1068"/>
                    </a:lnTo>
                    <a:lnTo>
                      <a:pt x="108" y="1080"/>
                    </a:lnTo>
                    <a:lnTo>
                      <a:pt x="96" y="1086"/>
                    </a:lnTo>
                    <a:lnTo>
                      <a:pt x="90" y="1098"/>
                    </a:lnTo>
                    <a:lnTo>
                      <a:pt x="66" y="1122"/>
                    </a:lnTo>
                    <a:lnTo>
                      <a:pt x="66" y="1134"/>
                    </a:lnTo>
                    <a:lnTo>
                      <a:pt x="72" y="1152"/>
                    </a:lnTo>
                    <a:lnTo>
                      <a:pt x="72" y="1164"/>
                    </a:lnTo>
                    <a:lnTo>
                      <a:pt x="84" y="1188"/>
                    </a:lnTo>
                    <a:lnTo>
                      <a:pt x="84" y="1200"/>
                    </a:lnTo>
                    <a:lnTo>
                      <a:pt x="102" y="1236"/>
                    </a:lnTo>
                    <a:lnTo>
                      <a:pt x="108" y="1254"/>
                    </a:lnTo>
                    <a:lnTo>
                      <a:pt x="114" y="1266"/>
                    </a:lnTo>
                    <a:lnTo>
                      <a:pt x="114" y="1278"/>
                    </a:lnTo>
                    <a:lnTo>
                      <a:pt x="108" y="1278"/>
                    </a:lnTo>
                    <a:lnTo>
                      <a:pt x="96" y="1266"/>
                    </a:lnTo>
                    <a:lnTo>
                      <a:pt x="90" y="1254"/>
                    </a:lnTo>
                    <a:lnTo>
                      <a:pt x="72" y="1236"/>
                    </a:lnTo>
                    <a:lnTo>
                      <a:pt x="66" y="1224"/>
                    </a:lnTo>
                    <a:lnTo>
                      <a:pt x="48" y="1218"/>
                    </a:lnTo>
                    <a:lnTo>
                      <a:pt x="66" y="1266"/>
                    </a:lnTo>
                    <a:lnTo>
                      <a:pt x="30" y="1236"/>
                    </a:lnTo>
                    <a:lnTo>
                      <a:pt x="30" y="1290"/>
                    </a:lnTo>
                    <a:lnTo>
                      <a:pt x="60" y="1350"/>
                    </a:lnTo>
                    <a:lnTo>
                      <a:pt x="66" y="1356"/>
                    </a:lnTo>
                    <a:lnTo>
                      <a:pt x="66" y="1368"/>
                    </a:lnTo>
                    <a:lnTo>
                      <a:pt x="60" y="1374"/>
                    </a:lnTo>
                    <a:lnTo>
                      <a:pt x="54" y="1386"/>
                    </a:lnTo>
                    <a:lnTo>
                      <a:pt x="54" y="1398"/>
                    </a:lnTo>
                    <a:lnTo>
                      <a:pt x="48" y="1410"/>
                    </a:lnTo>
                    <a:lnTo>
                      <a:pt x="54" y="1416"/>
                    </a:lnTo>
                    <a:lnTo>
                      <a:pt x="60" y="1428"/>
                    </a:lnTo>
                    <a:lnTo>
                      <a:pt x="78" y="1446"/>
                    </a:lnTo>
                    <a:lnTo>
                      <a:pt x="84" y="1458"/>
                    </a:lnTo>
                    <a:lnTo>
                      <a:pt x="90" y="1464"/>
                    </a:lnTo>
                    <a:lnTo>
                      <a:pt x="96" y="1476"/>
                    </a:lnTo>
                    <a:lnTo>
                      <a:pt x="96" y="1506"/>
                    </a:lnTo>
                    <a:lnTo>
                      <a:pt x="90" y="1518"/>
                    </a:lnTo>
                    <a:lnTo>
                      <a:pt x="84" y="1524"/>
                    </a:lnTo>
                    <a:lnTo>
                      <a:pt x="90" y="1542"/>
                    </a:lnTo>
                    <a:lnTo>
                      <a:pt x="90" y="1554"/>
                    </a:lnTo>
                    <a:lnTo>
                      <a:pt x="96" y="1572"/>
                    </a:lnTo>
                    <a:lnTo>
                      <a:pt x="96" y="1590"/>
                    </a:lnTo>
                    <a:lnTo>
                      <a:pt x="102" y="1596"/>
                    </a:lnTo>
                    <a:lnTo>
                      <a:pt x="102" y="1602"/>
                    </a:lnTo>
                    <a:lnTo>
                      <a:pt x="96" y="1602"/>
                    </a:lnTo>
                    <a:lnTo>
                      <a:pt x="78" y="1620"/>
                    </a:lnTo>
                    <a:lnTo>
                      <a:pt x="84" y="1626"/>
                    </a:lnTo>
                    <a:lnTo>
                      <a:pt x="84" y="1638"/>
                    </a:lnTo>
                    <a:lnTo>
                      <a:pt x="90" y="1650"/>
                    </a:lnTo>
                    <a:lnTo>
                      <a:pt x="90" y="1662"/>
                    </a:lnTo>
                    <a:lnTo>
                      <a:pt x="96" y="1668"/>
                    </a:lnTo>
                    <a:lnTo>
                      <a:pt x="96" y="1674"/>
                    </a:lnTo>
                    <a:lnTo>
                      <a:pt x="102" y="1674"/>
                    </a:lnTo>
                    <a:lnTo>
                      <a:pt x="108" y="1680"/>
                    </a:lnTo>
                    <a:lnTo>
                      <a:pt x="126" y="1716"/>
                    </a:lnTo>
                    <a:lnTo>
                      <a:pt x="126" y="1728"/>
                    </a:lnTo>
                    <a:lnTo>
                      <a:pt x="108" y="1764"/>
                    </a:lnTo>
                    <a:lnTo>
                      <a:pt x="90" y="1782"/>
                    </a:lnTo>
                    <a:lnTo>
                      <a:pt x="90" y="1824"/>
                    </a:lnTo>
                    <a:lnTo>
                      <a:pt x="84" y="1842"/>
                    </a:lnTo>
                    <a:lnTo>
                      <a:pt x="60" y="1866"/>
                    </a:lnTo>
                    <a:lnTo>
                      <a:pt x="42" y="1866"/>
                    </a:lnTo>
                    <a:lnTo>
                      <a:pt x="30" y="1872"/>
                    </a:lnTo>
                    <a:lnTo>
                      <a:pt x="18" y="1866"/>
                    </a:lnTo>
                    <a:lnTo>
                      <a:pt x="6" y="1866"/>
                    </a:lnTo>
                    <a:lnTo>
                      <a:pt x="0" y="1920"/>
                    </a:lnTo>
                    <a:lnTo>
                      <a:pt x="12" y="1920"/>
                    </a:lnTo>
                    <a:lnTo>
                      <a:pt x="24" y="1926"/>
                    </a:lnTo>
                    <a:lnTo>
                      <a:pt x="42" y="1926"/>
                    </a:lnTo>
                    <a:lnTo>
                      <a:pt x="54" y="1932"/>
                    </a:lnTo>
                    <a:lnTo>
                      <a:pt x="72" y="1950"/>
                    </a:lnTo>
                    <a:lnTo>
                      <a:pt x="78" y="1962"/>
                    </a:lnTo>
                    <a:lnTo>
                      <a:pt x="108" y="1956"/>
                    </a:lnTo>
                    <a:lnTo>
                      <a:pt x="114" y="1968"/>
                    </a:lnTo>
                    <a:lnTo>
                      <a:pt x="138" y="1980"/>
                    </a:lnTo>
                    <a:lnTo>
                      <a:pt x="174" y="1980"/>
                    </a:lnTo>
                    <a:lnTo>
                      <a:pt x="210" y="1968"/>
                    </a:lnTo>
                    <a:lnTo>
                      <a:pt x="234" y="1968"/>
                    </a:lnTo>
                    <a:lnTo>
                      <a:pt x="234" y="1950"/>
                    </a:lnTo>
                    <a:lnTo>
                      <a:pt x="228" y="1944"/>
                    </a:lnTo>
                    <a:lnTo>
                      <a:pt x="264" y="1950"/>
                    </a:lnTo>
                    <a:lnTo>
                      <a:pt x="276" y="1932"/>
                    </a:lnTo>
                    <a:lnTo>
                      <a:pt x="318" y="1926"/>
                    </a:lnTo>
                    <a:lnTo>
                      <a:pt x="354" y="1890"/>
                    </a:lnTo>
                    <a:lnTo>
                      <a:pt x="366" y="1884"/>
                    </a:lnTo>
                    <a:lnTo>
                      <a:pt x="372" y="1884"/>
                    </a:lnTo>
                    <a:lnTo>
                      <a:pt x="420" y="1908"/>
                    </a:lnTo>
                    <a:lnTo>
                      <a:pt x="426" y="1902"/>
                    </a:lnTo>
                    <a:lnTo>
                      <a:pt x="474" y="1878"/>
                    </a:lnTo>
                    <a:lnTo>
                      <a:pt x="480" y="1872"/>
                    </a:lnTo>
                    <a:lnTo>
                      <a:pt x="486" y="1872"/>
                    </a:lnTo>
                    <a:lnTo>
                      <a:pt x="498" y="1878"/>
                    </a:lnTo>
                    <a:lnTo>
                      <a:pt x="504" y="1884"/>
                    </a:lnTo>
                    <a:lnTo>
                      <a:pt x="516" y="1884"/>
                    </a:lnTo>
                    <a:lnTo>
                      <a:pt x="528" y="1890"/>
                    </a:lnTo>
                    <a:lnTo>
                      <a:pt x="534" y="1890"/>
                    </a:lnTo>
                    <a:lnTo>
                      <a:pt x="552" y="1884"/>
                    </a:lnTo>
                    <a:lnTo>
                      <a:pt x="576" y="1872"/>
                    </a:lnTo>
                    <a:lnTo>
                      <a:pt x="582" y="1872"/>
                    </a:lnTo>
                    <a:lnTo>
                      <a:pt x="594" y="1878"/>
                    </a:lnTo>
                    <a:lnTo>
                      <a:pt x="606" y="1878"/>
                    </a:lnTo>
                    <a:lnTo>
                      <a:pt x="624" y="1884"/>
                    </a:lnTo>
                    <a:lnTo>
                      <a:pt x="636" y="1884"/>
                    </a:lnTo>
                    <a:lnTo>
                      <a:pt x="648" y="1878"/>
                    </a:lnTo>
                    <a:lnTo>
                      <a:pt x="654" y="1872"/>
                    </a:lnTo>
                    <a:lnTo>
                      <a:pt x="654" y="1848"/>
                    </a:lnTo>
                    <a:lnTo>
                      <a:pt x="666" y="1848"/>
                    </a:lnTo>
                    <a:lnTo>
                      <a:pt x="672" y="1842"/>
                    </a:lnTo>
                    <a:lnTo>
                      <a:pt x="678" y="1842"/>
                    </a:lnTo>
                    <a:lnTo>
                      <a:pt x="684" y="1836"/>
                    </a:lnTo>
                    <a:lnTo>
                      <a:pt x="690" y="1824"/>
                    </a:lnTo>
                    <a:lnTo>
                      <a:pt x="702" y="1788"/>
                    </a:lnTo>
                    <a:lnTo>
                      <a:pt x="714" y="1776"/>
                    </a:lnTo>
                    <a:lnTo>
                      <a:pt x="726" y="1770"/>
                    </a:lnTo>
                    <a:lnTo>
                      <a:pt x="744" y="1764"/>
                    </a:lnTo>
                    <a:lnTo>
                      <a:pt x="756" y="1764"/>
                    </a:lnTo>
                    <a:lnTo>
                      <a:pt x="774" y="1770"/>
                    </a:lnTo>
                    <a:lnTo>
                      <a:pt x="798" y="1770"/>
                    </a:lnTo>
                    <a:lnTo>
                      <a:pt x="822" y="1758"/>
                    </a:lnTo>
                    <a:lnTo>
                      <a:pt x="840" y="1752"/>
                    </a:lnTo>
                    <a:lnTo>
                      <a:pt x="858" y="1740"/>
                    </a:lnTo>
                    <a:lnTo>
                      <a:pt x="876" y="1734"/>
                    </a:lnTo>
                    <a:lnTo>
                      <a:pt x="912" y="1734"/>
                    </a:lnTo>
                    <a:lnTo>
                      <a:pt x="918" y="1740"/>
                    </a:lnTo>
                    <a:lnTo>
                      <a:pt x="930" y="1740"/>
                    </a:lnTo>
                    <a:lnTo>
                      <a:pt x="942" y="1746"/>
                    </a:lnTo>
                    <a:lnTo>
                      <a:pt x="972" y="1740"/>
                    </a:lnTo>
                    <a:lnTo>
                      <a:pt x="1044" y="1704"/>
                    </a:lnTo>
                    <a:lnTo>
                      <a:pt x="1074" y="1692"/>
                    </a:lnTo>
                    <a:lnTo>
                      <a:pt x="1098" y="1686"/>
                    </a:lnTo>
                    <a:lnTo>
                      <a:pt x="1140" y="1680"/>
                    </a:lnTo>
                    <a:lnTo>
                      <a:pt x="1176" y="1674"/>
                    </a:lnTo>
                    <a:lnTo>
                      <a:pt x="1224" y="1674"/>
                    </a:lnTo>
                    <a:lnTo>
                      <a:pt x="1236" y="1662"/>
                    </a:lnTo>
                    <a:lnTo>
                      <a:pt x="1254" y="1680"/>
                    </a:lnTo>
                    <a:lnTo>
                      <a:pt x="1266" y="1686"/>
                    </a:lnTo>
                    <a:lnTo>
                      <a:pt x="1278" y="1698"/>
                    </a:lnTo>
                    <a:lnTo>
                      <a:pt x="1302" y="1710"/>
                    </a:lnTo>
                    <a:lnTo>
                      <a:pt x="1320" y="1716"/>
                    </a:lnTo>
                    <a:lnTo>
                      <a:pt x="1332" y="1716"/>
                    </a:lnTo>
                    <a:lnTo>
                      <a:pt x="1338" y="1710"/>
                    </a:lnTo>
                    <a:lnTo>
                      <a:pt x="1338" y="1716"/>
                    </a:lnTo>
                    <a:lnTo>
                      <a:pt x="1344" y="1722"/>
                    </a:lnTo>
                    <a:lnTo>
                      <a:pt x="1350" y="1734"/>
                    </a:lnTo>
                    <a:lnTo>
                      <a:pt x="1356" y="1740"/>
                    </a:lnTo>
                    <a:lnTo>
                      <a:pt x="1374" y="1740"/>
                    </a:lnTo>
                    <a:lnTo>
                      <a:pt x="1380" y="1734"/>
                    </a:lnTo>
                    <a:lnTo>
                      <a:pt x="1380" y="1752"/>
                    </a:lnTo>
                    <a:lnTo>
                      <a:pt x="1392" y="1752"/>
                    </a:lnTo>
                    <a:lnTo>
                      <a:pt x="1398" y="1758"/>
                    </a:lnTo>
                    <a:lnTo>
                      <a:pt x="1398" y="1770"/>
                    </a:lnTo>
                    <a:lnTo>
                      <a:pt x="1386" y="1794"/>
                    </a:lnTo>
                    <a:lnTo>
                      <a:pt x="1380" y="1800"/>
                    </a:lnTo>
                    <a:lnTo>
                      <a:pt x="1374" y="1812"/>
                    </a:lnTo>
                    <a:lnTo>
                      <a:pt x="1392" y="1842"/>
                    </a:lnTo>
                    <a:lnTo>
                      <a:pt x="1410" y="1830"/>
                    </a:lnTo>
                    <a:lnTo>
                      <a:pt x="1428" y="1866"/>
                    </a:lnTo>
                    <a:lnTo>
                      <a:pt x="1428" y="1872"/>
                    </a:lnTo>
                    <a:lnTo>
                      <a:pt x="1434" y="1878"/>
                    </a:lnTo>
                    <a:lnTo>
                      <a:pt x="1434" y="1902"/>
                    </a:lnTo>
                    <a:lnTo>
                      <a:pt x="1440" y="1914"/>
                    </a:lnTo>
                    <a:lnTo>
                      <a:pt x="1440" y="1926"/>
                    </a:lnTo>
                    <a:lnTo>
                      <a:pt x="1422" y="1926"/>
                    </a:lnTo>
                    <a:lnTo>
                      <a:pt x="1410" y="1920"/>
                    </a:lnTo>
                    <a:lnTo>
                      <a:pt x="1404" y="1920"/>
                    </a:lnTo>
                    <a:lnTo>
                      <a:pt x="1410" y="1956"/>
                    </a:lnTo>
                    <a:lnTo>
                      <a:pt x="1446" y="1956"/>
                    </a:lnTo>
                    <a:lnTo>
                      <a:pt x="1452" y="1962"/>
                    </a:lnTo>
                    <a:lnTo>
                      <a:pt x="1452" y="1968"/>
                    </a:lnTo>
                    <a:lnTo>
                      <a:pt x="1470" y="1968"/>
                    </a:lnTo>
                    <a:lnTo>
                      <a:pt x="1470" y="1956"/>
                    </a:lnTo>
                    <a:lnTo>
                      <a:pt x="1464" y="1938"/>
                    </a:lnTo>
                    <a:lnTo>
                      <a:pt x="1464" y="1926"/>
                    </a:lnTo>
                    <a:lnTo>
                      <a:pt x="1470" y="1914"/>
                    </a:lnTo>
                    <a:lnTo>
                      <a:pt x="1476" y="1908"/>
                    </a:lnTo>
                    <a:lnTo>
                      <a:pt x="1500" y="1896"/>
                    </a:lnTo>
                    <a:lnTo>
                      <a:pt x="1512" y="1896"/>
                    </a:lnTo>
                    <a:lnTo>
                      <a:pt x="1518" y="1890"/>
                    </a:lnTo>
                    <a:lnTo>
                      <a:pt x="1530" y="1884"/>
                    </a:lnTo>
                    <a:lnTo>
                      <a:pt x="1542" y="1872"/>
                    </a:lnTo>
                    <a:lnTo>
                      <a:pt x="1548" y="1860"/>
                    </a:lnTo>
                    <a:lnTo>
                      <a:pt x="1566" y="1842"/>
                    </a:lnTo>
                    <a:lnTo>
                      <a:pt x="1566" y="1836"/>
                    </a:lnTo>
                    <a:lnTo>
                      <a:pt x="1590" y="1842"/>
                    </a:lnTo>
                    <a:lnTo>
                      <a:pt x="1608" y="1788"/>
                    </a:lnTo>
                    <a:lnTo>
                      <a:pt x="1638" y="1788"/>
                    </a:lnTo>
                    <a:lnTo>
                      <a:pt x="1650" y="1782"/>
                    </a:lnTo>
                    <a:lnTo>
                      <a:pt x="1662" y="1770"/>
                    </a:lnTo>
                    <a:lnTo>
                      <a:pt x="1668" y="1752"/>
                    </a:lnTo>
                    <a:lnTo>
                      <a:pt x="1668" y="1740"/>
                    </a:lnTo>
                    <a:lnTo>
                      <a:pt x="1668" y="1746"/>
                    </a:lnTo>
                    <a:lnTo>
                      <a:pt x="1674" y="1752"/>
                    </a:lnTo>
                    <a:lnTo>
                      <a:pt x="1674" y="1764"/>
                    </a:lnTo>
                    <a:lnTo>
                      <a:pt x="1680" y="1776"/>
                    </a:lnTo>
                    <a:lnTo>
                      <a:pt x="1680" y="1782"/>
                    </a:lnTo>
                    <a:lnTo>
                      <a:pt x="1668" y="1794"/>
                    </a:lnTo>
                    <a:lnTo>
                      <a:pt x="1662" y="1806"/>
                    </a:lnTo>
                    <a:lnTo>
                      <a:pt x="1650" y="1812"/>
                    </a:lnTo>
                    <a:lnTo>
                      <a:pt x="1644" y="1818"/>
                    </a:lnTo>
                    <a:lnTo>
                      <a:pt x="1620" y="1818"/>
                    </a:lnTo>
                    <a:lnTo>
                      <a:pt x="1614" y="1830"/>
                    </a:lnTo>
                    <a:lnTo>
                      <a:pt x="1632" y="1866"/>
                    </a:lnTo>
                    <a:lnTo>
                      <a:pt x="1620" y="1866"/>
                    </a:lnTo>
                    <a:lnTo>
                      <a:pt x="1614" y="1872"/>
                    </a:lnTo>
                    <a:lnTo>
                      <a:pt x="1602" y="1878"/>
                    </a:lnTo>
                    <a:lnTo>
                      <a:pt x="1566" y="1914"/>
                    </a:lnTo>
                    <a:lnTo>
                      <a:pt x="1566" y="1926"/>
                    </a:lnTo>
                    <a:lnTo>
                      <a:pt x="1560" y="1932"/>
                    </a:lnTo>
                    <a:lnTo>
                      <a:pt x="1554" y="1944"/>
                    </a:lnTo>
                    <a:lnTo>
                      <a:pt x="1542" y="1956"/>
                    </a:lnTo>
                    <a:lnTo>
                      <a:pt x="1518" y="1968"/>
                    </a:lnTo>
                    <a:lnTo>
                      <a:pt x="1512" y="1974"/>
                    </a:lnTo>
                    <a:lnTo>
                      <a:pt x="1512" y="1980"/>
                    </a:lnTo>
                    <a:lnTo>
                      <a:pt x="1518" y="1986"/>
                    </a:lnTo>
                    <a:lnTo>
                      <a:pt x="1548" y="1986"/>
                    </a:lnTo>
                    <a:lnTo>
                      <a:pt x="1560" y="1980"/>
                    </a:lnTo>
                    <a:lnTo>
                      <a:pt x="1572" y="1980"/>
                    </a:lnTo>
                    <a:lnTo>
                      <a:pt x="1584" y="1968"/>
                    </a:lnTo>
                    <a:lnTo>
                      <a:pt x="1602" y="1932"/>
                    </a:lnTo>
                    <a:lnTo>
                      <a:pt x="1608" y="1926"/>
                    </a:lnTo>
                    <a:lnTo>
                      <a:pt x="1614" y="1914"/>
                    </a:lnTo>
                    <a:lnTo>
                      <a:pt x="1626" y="1908"/>
                    </a:lnTo>
                    <a:lnTo>
                      <a:pt x="1632" y="1902"/>
                    </a:lnTo>
                    <a:lnTo>
                      <a:pt x="1632" y="1920"/>
                    </a:lnTo>
                    <a:lnTo>
                      <a:pt x="1638" y="1932"/>
                    </a:lnTo>
                    <a:lnTo>
                      <a:pt x="1638" y="1956"/>
                    </a:lnTo>
                    <a:lnTo>
                      <a:pt x="1626" y="1968"/>
                    </a:lnTo>
                    <a:lnTo>
                      <a:pt x="1614" y="1974"/>
                    </a:lnTo>
                    <a:lnTo>
                      <a:pt x="1602" y="1986"/>
                    </a:lnTo>
                    <a:lnTo>
                      <a:pt x="1602" y="2004"/>
                    </a:lnTo>
                    <a:lnTo>
                      <a:pt x="1608" y="2010"/>
                    </a:lnTo>
                    <a:lnTo>
                      <a:pt x="1614" y="2010"/>
                    </a:lnTo>
                    <a:lnTo>
                      <a:pt x="1632" y="2016"/>
                    </a:lnTo>
                    <a:lnTo>
                      <a:pt x="1662" y="2016"/>
                    </a:lnTo>
                    <a:lnTo>
                      <a:pt x="1668" y="2028"/>
                    </a:lnTo>
                    <a:lnTo>
                      <a:pt x="1644" y="2052"/>
                    </a:lnTo>
                    <a:lnTo>
                      <a:pt x="1644" y="2058"/>
                    </a:lnTo>
                    <a:lnTo>
                      <a:pt x="1650" y="2064"/>
                    </a:lnTo>
                    <a:lnTo>
                      <a:pt x="1668" y="2100"/>
                    </a:lnTo>
                    <a:lnTo>
                      <a:pt x="1674" y="2106"/>
                    </a:lnTo>
                    <a:lnTo>
                      <a:pt x="1674" y="2118"/>
                    </a:lnTo>
                    <a:lnTo>
                      <a:pt x="1626" y="2166"/>
                    </a:lnTo>
                    <a:lnTo>
                      <a:pt x="1626" y="2178"/>
                    </a:lnTo>
                    <a:lnTo>
                      <a:pt x="1638" y="2190"/>
                    </a:lnTo>
                    <a:lnTo>
                      <a:pt x="1644" y="2202"/>
                    </a:lnTo>
                    <a:lnTo>
                      <a:pt x="1668" y="2214"/>
                    </a:lnTo>
                    <a:lnTo>
                      <a:pt x="1680" y="2226"/>
                    </a:lnTo>
                    <a:lnTo>
                      <a:pt x="1692" y="2232"/>
                    </a:lnTo>
                    <a:lnTo>
                      <a:pt x="1716" y="2256"/>
                    </a:lnTo>
                    <a:lnTo>
                      <a:pt x="1728" y="2262"/>
                    </a:lnTo>
                    <a:lnTo>
                      <a:pt x="1800" y="2262"/>
                    </a:lnTo>
                    <a:lnTo>
                      <a:pt x="1824" y="2286"/>
                    </a:lnTo>
                    <a:lnTo>
                      <a:pt x="1842" y="2292"/>
                    </a:lnTo>
                    <a:lnTo>
                      <a:pt x="1872" y="2286"/>
                    </a:lnTo>
                    <a:lnTo>
                      <a:pt x="1902" y="2274"/>
                    </a:lnTo>
                    <a:lnTo>
                      <a:pt x="1932" y="2256"/>
                    </a:lnTo>
                    <a:lnTo>
                      <a:pt x="1944" y="2250"/>
                    </a:lnTo>
                    <a:lnTo>
                      <a:pt x="1944" y="2226"/>
                    </a:lnTo>
                    <a:lnTo>
                      <a:pt x="1956" y="2214"/>
                    </a:lnTo>
                    <a:lnTo>
                      <a:pt x="1962" y="2214"/>
                    </a:lnTo>
                    <a:lnTo>
                      <a:pt x="1974" y="2226"/>
                    </a:lnTo>
                    <a:lnTo>
                      <a:pt x="1974" y="2256"/>
                    </a:lnTo>
                    <a:lnTo>
                      <a:pt x="1992" y="2256"/>
                    </a:lnTo>
                    <a:lnTo>
                      <a:pt x="1980" y="2280"/>
                    </a:lnTo>
                    <a:lnTo>
                      <a:pt x="1998" y="2280"/>
                    </a:lnTo>
                    <a:lnTo>
                      <a:pt x="1998" y="2292"/>
                    </a:lnTo>
                    <a:lnTo>
                      <a:pt x="2004" y="2298"/>
                    </a:lnTo>
                    <a:lnTo>
                      <a:pt x="2010" y="2310"/>
                    </a:lnTo>
                    <a:lnTo>
                      <a:pt x="2016" y="2316"/>
                    </a:lnTo>
                    <a:lnTo>
                      <a:pt x="2028" y="2316"/>
                    </a:lnTo>
                    <a:lnTo>
                      <a:pt x="2040" y="2304"/>
                    </a:lnTo>
                    <a:lnTo>
                      <a:pt x="2046" y="2304"/>
                    </a:lnTo>
                    <a:lnTo>
                      <a:pt x="2052" y="2298"/>
                    </a:lnTo>
                    <a:lnTo>
                      <a:pt x="2070" y="2292"/>
                    </a:lnTo>
                    <a:lnTo>
                      <a:pt x="2082" y="2286"/>
                    </a:lnTo>
                    <a:lnTo>
                      <a:pt x="2088" y="2280"/>
                    </a:lnTo>
                    <a:lnTo>
                      <a:pt x="2100" y="2274"/>
                    </a:lnTo>
                    <a:lnTo>
                      <a:pt x="2124" y="2250"/>
                    </a:lnTo>
                    <a:lnTo>
                      <a:pt x="2136" y="2244"/>
                    </a:lnTo>
                    <a:lnTo>
                      <a:pt x="2148" y="2232"/>
                    </a:lnTo>
                    <a:lnTo>
                      <a:pt x="2160" y="2226"/>
                    </a:lnTo>
                    <a:lnTo>
                      <a:pt x="2154" y="2214"/>
                    </a:lnTo>
                    <a:lnTo>
                      <a:pt x="2190" y="2202"/>
                    </a:lnTo>
                    <a:lnTo>
                      <a:pt x="2202" y="2214"/>
                    </a:lnTo>
                    <a:lnTo>
                      <a:pt x="2220" y="2214"/>
                    </a:lnTo>
                    <a:lnTo>
                      <a:pt x="2256" y="2208"/>
                    </a:lnTo>
                    <a:lnTo>
                      <a:pt x="2298" y="2196"/>
                    </a:lnTo>
                    <a:lnTo>
                      <a:pt x="2316" y="2178"/>
                    </a:lnTo>
                    <a:lnTo>
                      <a:pt x="2328" y="2148"/>
                    </a:lnTo>
                    <a:lnTo>
                      <a:pt x="2334" y="2118"/>
                    </a:lnTo>
                    <a:lnTo>
                      <a:pt x="2340" y="2100"/>
                    </a:lnTo>
                    <a:lnTo>
                      <a:pt x="2346" y="2088"/>
                    </a:lnTo>
                    <a:lnTo>
                      <a:pt x="2376" y="2058"/>
                    </a:lnTo>
                    <a:lnTo>
                      <a:pt x="2382" y="2058"/>
                    </a:lnTo>
                    <a:lnTo>
                      <a:pt x="2382" y="2034"/>
                    </a:lnTo>
                    <a:lnTo>
                      <a:pt x="2388" y="2034"/>
                    </a:lnTo>
                    <a:lnTo>
                      <a:pt x="2394" y="2028"/>
                    </a:lnTo>
                    <a:lnTo>
                      <a:pt x="2406" y="2022"/>
                    </a:lnTo>
                    <a:lnTo>
                      <a:pt x="2418" y="2010"/>
                    </a:lnTo>
                    <a:lnTo>
                      <a:pt x="2424" y="1998"/>
                    </a:lnTo>
                    <a:lnTo>
                      <a:pt x="2442" y="1980"/>
                    </a:lnTo>
                    <a:lnTo>
                      <a:pt x="2442" y="1956"/>
                    </a:lnTo>
                    <a:lnTo>
                      <a:pt x="2448" y="1944"/>
                    </a:lnTo>
                    <a:lnTo>
                      <a:pt x="2454" y="1926"/>
                    </a:lnTo>
                    <a:lnTo>
                      <a:pt x="2460" y="1914"/>
                    </a:lnTo>
                    <a:lnTo>
                      <a:pt x="2490" y="1884"/>
                    </a:lnTo>
                    <a:lnTo>
                      <a:pt x="2502" y="1866"/>
                    </a:lnTo>
                    <a:lnTo>
                      <a:pt x="2526" y="1842"/>
                    </a:lnTo>
                    <a:lnTo>
                      <a:pt x="2538" y="1836"/>
                    </a:lnTo>
                    <a:lnTo>
                      <a:pt x="2550" y="1824"/>
                    </a:lnTo>
                    <a:lnTo>
                      <a:pt x="2556" y="1812"/>
                    </a:lnTo>
                    <a:lnTo>
                      <a:pt x="2556" y="1800"/>
                    </a:lnTo>
                    <a:lnTo>
                      <a:pt x="2562" y="1788"/>
                    </a:lnTo>
                    <a:lnTo>
                      <a:pt x="2562" y="1782"/>
                    </a:lnTo>
                    <a:lnTo>
                      <a:pt x="2586" y="1782"/>
                    </a:lnTo>
                    <a:lnTo>
                      <a:pt x="2610" y="1770"/>
                    </a:lnTo>
                    <a:lnTo>
                      <a:pt x="2622" y="1752"/>
                    </a:lnTo>
                    <a:lnTo>
                      <a:pt x="2646" y="1728"/>
                    </a:lnTo>
                    <a:lnTo>
                      <a:pt x="2670" y="1698"/>
                    </a:lnTo>
                    <a:lnTo>
                      <a:pt x="2688" y="1674"/>
                    </a:lnTo>
                    <a:lnTo>
                      <a:pt x="2700" y="1662"/>
                    </a:lnTo>
                    <a:lnTo>
                      <a:pt x="2700" y="1656"/>
                    </a:lnTo>
                    <a:lnTo>
                      <a:pt x="2706" y="1638"/>
                    </a:lnTo>
                    <a:lnTo>
                      <a:pt x="2706" y="1614"/>
                    </a:lnTo>
                    <a:lnTo>
                      <a:pt x="2712" y="1596"/>
                    </a:lnTo>
                    <a:lnTo>
                      <a:pt x="2718" y="1590"/>
                    </a:lnTo>
                    <a:lnTo>
                      <a:pt x="2730" y="1572"/>
                    </a:lnTo>
                    <a:lnTo>
                      <a:pt x="2754" y="1542"/>
                    </a:lnTo>
                    <a:lnTo>
                      <a:pt x="2772" y="1494"/>
                    </a:lnTo>
                    <a:lnTo>
                      <a:pt x="2796" y="1458"/>
                    </a:lnTo>
                    <a:lnTo>
                      <a:pt x="2808" y="1428"/>
                    </a:lnTo>
                    <a:lnTo>
                      <a:pt x="2814" y="1416"/>
                    </a:lnTo>
                    <a:lnTo>
                      <a:pt x="2814" y="1386"/>
                    </a:lnTo>
                    <a:lnTo>
                      <a:pt x="2802" y="1362"/>
                    </a:lnTo>
                    <a:lnTo>
                      <a:pt x="2820" y="1308"/>
                    </a:lnTo>
                    <a:lnTo>
                      <a:pt x="2832" y="1290"/>
                    </a:lnTo>
                    <a:lnTo>
                      <a:pt x="2838" y="1266"/>
                    </a:lnTo>
                    <a:lnTo>
                      <a:pt x="2838" y="1224"/>
                    </a:lnTo>
                    <a:lnTo>
                      <a:pt x="2832" y="1194"/>
                    </a:lnTo>
                    <a:lnTo>
                      <a:pt x="2832" y="1176"/>
                    </a:lnTo>
                    <a:lnTo>
                      <a:pt x="2802" y="1164"/>
                    </a:lnTo>
                    <a:close/>
                    <a:moveTo>
                      <a:pt x="2016" y="2436"/>
                    </a:moveTo>
                    <a:lnTo>
                      <a:pt x="2022" y="2442"/>
                    </a:lnTo>
                    <a:lnTo>
                      <a:pt x="2028" y="2442"/>
                    </a:lnTo>
                    <a:lnTo>
                      <a:pt x="2040" y="2436"/>
                    </a:lnTo>
                    <a:lnTo>
                      <a:pt x="2046" y="2430"/>
                    </a:lnTo>
                    <a:lnTo>
                      <a:pt x="2034" y="2418"/>
                    </a:lnTo>
                    <a:lnTo>
                      <a:pt x="2016" y="2436"/>
                    </a:lnTo>
                    <a:close/>
                    <a:moveTo>
                      <a:pt x="1992" y="2454"/>
                    </a:moveTo>
                    <a:lnTo>
                      <a:pt x="1974" y="2454"/>
                    </a:lnTo>
                    <a:lnTo>
                      <a:pt x="1962" y="2466"/>
                    </a:lnTo>
                    <a:lnTo>
                      <a:pt x="1962" y="2472"/>
                    </a:lnTo>
                    <a:lnTo>
                      <a:pt x="1962" y="2460"/>
                    </a:lnTo>
                    <a:lnTo>
                      <a:pt x="1938" y="2460"/>
                    </a:lnTo>
                    <a:lnTo>
                      <a:pt x="1926" y="2466"/>
                    </a:lnTo>
                    <a:lnTo>
                      <a:pt x="1914" y="2466"/>
                    </a:lnTo>
                    <a:lnTo>
                      <a:pt x="1908" y="2478"/>
                    </a:lnTo>
                    <a:lnTo>
                      <a:pt x="1890" y="2460"/>
                    </a:lnTo>
                    <a:lnTo>
                      <a:pt x="1854" y="2460"/>
                    </a:lnTo>
                    <a:lnTo>
                      <a:pt x="1830" y="2430"/>
                    </a:lnTo>
                    <a:lnTo>
                      <a:pt x="1824" y="2436"/>
                    </a:lnTo>
                    <a:lnTo>
                      <a:pt x="1818" y="2436"/>
                    </a:lnTo>
                    <a:lnTo>
                      <a:pt x="1812" y="2442"/>
                    </a:lnTo>
                    <a:lnTo>
                      <a:pt x="1806" y="2442"/>
                    </a:lnTo>
                    <a:lnTo>
                      <a:pt x="1776" y="2412"/>
                    </a:lnTo>
                    <a:lnTo>
                      <a:pt x="1776" y="2424"/>
                    </a:lnTo>
                    <a:lnTo>
                      <a:pt x="1782" y="2448"/>
                    </a:lnTo>
                    <a:lnTo>
                      <a:pt x="1782" y="2472"/>
                    </a:lnTo>
                    <a:lnTo>
                      <a:pt x="1776" y="2478"/>
                    </a:lnTo>
                    <a:lnTo>
                      <a:pt x="1776" y="2484"/>
                    </a:lnTo>
                    <a:lnTo>
                      <a:pt x="1770" y="2490"/>
                    </a:lnTo>
                    <a:lnTo>
                      <a:pt x="1770" y="2502"/>
                    </a:lnTo>
                    <a:lnTo>
                      <a:pt x="1776" y="2514"/>
                    </a:lnTo>
                    <a:lnTo>
                      <a:pt x="1776" y="2532"/>
                    </a:lnTo>
                    <a:lnTo>
                      <a:pt x="1764" y="2538"/>
                    </a:lnTo>
                    <a:lnTo>
                      <a:pt x="1758" y="2544"/>
                    </a:lnTo>
                    <a:lnTo>
                      <a:pt x="1752" y="2544"/>
                    </a:lnTo>
                    <a:lnTo>
                      <a:pt x="1740" y="2532"/>
                    </a:lnTo>
                    <a:lnTo>
                      <a:pt x="1740" y="2538"/>
                    </a:lnTo>
                    <a:lnTo>
                      <a:pt x="1734" y="2544"/>
                    </a:lnTo>
                    <a:lnTo>
                      <a:pt x="1734" y="2556"/>
                    </a:lnTo>
                    <a:lnTo>
                      <a:pt x="1728" y="2574"/>
                    </a:lnTo>
                    <a:lnTo>
                      <a:pt x="1728" y="2586"/>
                    </a:lnTo>
                    <a:lnTo>
                      <a:pt x="1740" y="2610"/>
                    </a:lnTo>
                    <a:lnTo>
                      <a:pt x="1740" y="2616"/>
                    </a:lnTo>
                    <a:lnTo>
                      <a:pt x="1746" y="2628"/>
                    </a:lnTo>
                    <a:lnTo>
                      <a:pt x="1770" y="2628"/>
                    </a:lnTo>
                    <a:lnTo>
                      <a:pt x="1752" y="2640"/>
                    </a:lnTo>
                    <a:lnTo>
                      <a:pt x="1758" y="2664"/>
                    </a:lnTo>
                    <a:lnTo>
                      <a:pt x="1770" y="2658"/>
                    </a:lnTo>
                    <a:lnTo>
                      <a:pt x="1776" y="2658"/>
                    </a:lnTo>
                    <a:lnTo>
                      <a:pt x="1782" y="2652"/>
                    </a:lnTo>
                    <a:lnTo>
                      <a:pt x="1794" y="2652"/>
                    </a:lnTo>
                    <a:lnTo>
                      <a:pt x="1800" y="2658"/>
                    </a:lnTo>
                    <a:lnTo>
                      <a:pt x="1818" y="2658"/>
                    </a:lnTo>
                    <a:lnTo>
                      <a:pt x="1830" y="2652"/>
                    </a:lnTo>
                    <a:lnTo>
                      <a:pt x="1836" y="2646"/>
                    </a:lnTo>
                    <a:lnTo>
                      <a:pt x="1842" y="2634"/>
                    </a:lnTo>
                    <a:lnTo>
                      <a:pt x="1854" y="2634"/>
                    </a:lnTo>
                    <a:lnTo>
                      <a:pt x="1860" y="2640"/>
                    </a:lnTo>
                    <a:lnTo>
                      <a:pt x="1860" y="2646"/>
                    </a:lnTo>
                    <a:lnTo>
                      <a:pt x="1848" y="2658"/>
                    </a:lnTo>
                    <a:lnTo>
                      <a:pt x="1866" y="2664"/>
                    </a:lnTo>
                    <a:lnTo>
                      <a:pt x="1884" y="2646"/>
                    </a:lnTo>
                    <a:lnTo>
                      <a:pt x="1890" y="2634"/>
                    </a:lnTo>
                    <a:lnTo>
                      <a:pt x="1902" y="2628"/>
                    </a:lnTo>
                    <a:lnTo>
                      <a:pt x="1908" y="2616"/>
                    </a:lnTo>
                    <a:lnTo>
                      <a:pt x="1920" y="2604"/>
                    </a:lnTo>
                    <a:lnTo>
                      <a:pt x="1914" y="2604"/>
                    </a:lnTo>
                    <a:lnTo>
                      <a:pt x="1902" y="2592"/>
                    </a:lnTo>
                    <a:lnTo>
                      <a:pt x="1920" y="2562"/>
                    </a:lnTo>
                    <a:lnTo>
                      <a:pt x="1950" y="2562"/>
                    </a:lnTo>
                    <a:lnTo>
                      <a:pt x="1962" y="2538"/>
                    </a:lnTo>
                    <a:lnTo>
                      <a:pt x="1962" y="2514"/>
                    </a:lnTo>
                    <a:lnTo>
                      <a:pt x="1968" y="2502"/>
                    </a:lnTo>
                    <a:lnTo>
                      <a:pt x="1980" y="2496"/>
                    </a:lnTo>
                    <a:lnTo>
                      <a:pt x="1986" y="2484"/>
                    </a:lnTo>
                    <a:lnTo>
                      <a:pt x="1992" y="2478"/>
                    </a:lnTo>
                    <a:lnTo>
                      <a:pt x="1998" y="2466"/>
                    </a:lnTo>
                    <a:lnTo>
                      <a:pt x="1998" y="2460"/>
                    </a:lnTo>
                    <a:lnTo>
                      <a:pt x="1992" y="2454"/>
                    </a:lnTo>
                    <a:close/>
                    <a:moveTo>
                      <a:pt x="1902" y="246"/>
                    </a:moveTo>
                    <a:lnTo>
                      <a:pt x="1890" y="258"/>
                    </a:lnTo>
                    <a:lnTo>
                      <a:pt x="1890" y="270"/>
                    </a:lnTo>
                    <a:lnTo>
                      <a:pt x="1884" y="282"/>
                    </a:lnTo>
                    <a:lnTo>
                      <a:pt x="1884" y="294"/>
                    </a:lnTo>
                    <a:lnTo>
                      <a:pt x="1896" y="300"/>
                    </a:lnTo>
                    <a:lnTo>
                      <a:pt x="1920" y="300"/>
                    </a:lnTo>
                    <a:lnTo>
                      <a:pt x="1926" y="294"/>
                    </a:lnTo>
                    <a:lnTo>
                      <a:pt x="1932" y="294"/>
                    </a:lnTo>
                    <a:lnTo>
                      <a:pt x="1926" y="282"/>
                    </a:lnTo>
                    <a:lnTo>
                      <a:pt x="1932" y="252"/>
                    </a:lnTo>
                    <a:lnTo>
                      <a:pt x="1920" y="252"/>
                    </a:lnTo>
                    <a:lnTo>
                      <a:pt x="1908" y="246"/>
                    </a:lnTo>
                    <a:lnTo>
                      <a:pt x="1902" y="246"/>
                    </a:lnTo>
                    <a:close/>
                    <a:moveTo>
                      <a:pt x="1770" y="2334"/>
                    </a:moveTo>
                    <a:lnTo>
                      <a:pt x="1758" y="2376"/>
                    </a:lnTo>
                    <a:lnTo>
                      <a:pt x="1812" y="2328"/>
                    </a:lnTo>
                    <a:lnTo>
                      <a:pt x="1770" y="2334"/>
                    </a:lnTo>
                    <a:close/>
                    <a:moveTo>
                      <a:pt x="2034" y="2400"/>
                    </a:moveTo>
                    <a:lnTo>
                      <a:pt x="2016" y="2358"/>
                    </a:lnTo>
                    <a:lnTo>
                      <a:pt x="1998" y="2376"/>
                    </a:lnTo>
                    <a:lnTo>
                      <a:pt x="1998" y="2394"/>
                    </a:lnTo>
                    <a:lnTo>
                      <a:pt x="2010" y="2406"/>
                    </a:lnTo>
                    <a:lnTo>
                      <a:pt x="2028" y="2406"/>
                    </a:lnTo>
                    <a:lnTo>
                      <a:pt x="2034" y="2400"/>
                    </a:lnTo>
                    <a:close/>
                  </a:path>
                </a:pathLst>
              </a:custGeom>
              <a:solidFill>
                <a:srgbClr val="9D90A0">
                  <a:lumMod val="40000"/>
                  <a:lumOff val="60000"/>
                </a:srgbClr>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35" name="Venezuela" descr="© INSCALE GmbH, 05.05.2010&#10;http://www.presentationload.com/">
                <a:extLst>
                  <a:ext uri="{FF2B5EF4-FFF2-40B4-BE49-F238E27FC236}">
                    <a16:creationId xmlns:a16="http://schemas.microsoft.com/office/drawing/2014/main" id="{42B81BCA-F155-4A32-8DAB-9F1DEAA90E83}"/>
                  </a:ext>
                </a:extLst>
              </p:cNvPr>
              <p:cNvSpPr>
                <a:spLocks noEditPoints="1"/>
              </p:cNvSpPr>
              <p:nvPr/>
            </p:nvSpPr>
            <p:spPr bwMode="gray">
              <a:xfrm>
                <a:off x="2158740" y="4122593"/>
                <a:ext cx="377499" cy="408917"/>
              </a:xfrm>
              <a:custGeom>
                <a:avLst/>
                <a:gdLst>
                  <a:gd name="T0" fmla="*/ 2147483647 w 954"/>
                  <a:gd name="T1" fmla="*/ 2147483647 h 930"/>
                  <a:gd name="T2" fmla="*/ 2147483647 w 954"/>
                  <a:gd name="T3" fmla="*/ 2147483647 h 930"/>
                  <a:gd name="T4" fmla="*/ 2147483647 w 954"/>
                  <a:gd name="T5" fmla="*/ 2147483647 h 930"/>
                  <a:gd name="T6" fmla="*/ 2147483647 w 954"/>
                  <a:gd name="T7" fmla="*/ 2147483647 h 930"/>
                  <a:gd name="T8" fmla="*/ 2147483647 w 954"/>
                  <a:gd name="T9" fmla="*/ 2147483647 h 930"/>
                  <a:gd name="T10" fmla="*/ 2147483647 w 954"/>
                  <a:gd name="T11" fmla="*/ 2147483647 h 930"/>
                  <a:gd name="T12" fmla="*/ 2147483647 w 954"/>
                  <a:gd name="T13" fmla="*/ 2147483647 h 930"/>
                  <a:gd name="T14" fmla="*/ 2147483647 w 954"/>
                  <a:gd name="T15" fmla="*/ 2147483647 h 930"/>
                  <a:gd name="T16" fmla="*/ 2147483647 w 954"/>
                  <a:gd name="T17" fmla="*/ 2147483647 h 930"/>
                  <a:gd name="T18" fmla="*/ 2147483647 w 954"/>
                  <a:gd name="T19" fmla="*/ 2147483647 h 930"/>
                  <a:gd name="T20" fmla="*/ 2147483647 w 954"/>
                  <a:gd name="T21" fmla="*/ 2147483647 h 930"/>
                  <a:gd name="T22" fmla="*/ 2147483647 w 954"/>
                  <a:gd name="T23" fmla="*/ 2147483647 h 930"/>
                  <a:gd name="T24" fmla="*/ 2147483647 w 954"/>
                  <a:gd name="T25" fmla="*/ 2147483647 h 930"/>
                  <a:gd name="T26" fmla="*/ 2147483647 w 954"/>
                  <a:gd name="T27" fmla="*/ 2147483647 h 930"/>
                  <a:gd name="T28" fmla="*/ 2147483647 w 954"/>
                  <a:gd name="T29" fmla="*/ 2147483647 h 930"/>
                  <a:gd name="T30" fmla="*/ 2147483647 w 954"/>
                  <a:gd name="T31" fmla="*/ 2147483647 h 930"/>
                  <a:gd name="T32" fmla="*/ 2147483647 w 954"/>
                  <a:gd name="T33" fmla="*/ 2147483647 h 930"/>
                  <a:gd name="T34" fmla="*/ 2147483647 w 954"/>
                  <a:gd name="T35" fmla="*/ 2147483647 h 930"/>
                  <a:gd name="T36" fmla="*/ 2147483647 w 954"/>
                  <a:gd name="T37" fmla="*/ 2147483647 h 930"/>
                  <a:gd name="T38" fmla="*/ 2147483647 w 954"/>
                  <a:gd name="T39" fmla="*/ 2147483647 h 930"/>
                  <a:gd name="T40" fmla="*/ 2147483647 w 954"/>
                  <a:gd name="T41" fmla="*/ 2147483647 h 930"/>
                  <a:gd name="T42" fmla="*/ 2147483647 w 954"/>
                  <a:gd name="T43" fmla="*/ 2147483647 h 930"/>
                  <a:gd name="T44" fmla="*/ 2147483647 w 954"/>
                  <a:gd name="T45" fmla="*/ 2147483647 h 930"/>
                  <a:gd name="T46" fmla="*/ 2147483647 w 954"/>
                  <a:gd name="T47" fmla="*/ 2147483647 h 930"/>
                  <a:gd name="T48" fmla="*/ 2147483647 w 954"/>
                  <a:gd name="T49" fmla="*/ 2147483647 h 930"/>
                  <a:gd name="T50" fmla="*/ 0 w 954"/>
                  <a:gd name="T51" fmla="*/ 2147483647 h 930"/>
                  <a:gd name="T52" fmla="*/ 2147483647 w 954"/>
                  <a:gd name="T53" fmla="*/ 2147483647 h 930"/>
                  <a:gd name="T54" fmla="*/ 2147483647 w 954"/>
                  <a:gd name="T55" fmla="*/ 2147483647 h 930"/>
                  <a:gd name="T56" fmla="*/ 2147483647 w 954"/>
                  <a:gd name="T57" fmla="*/ 2147483647 h 930"/>
                  <a:gd name="T58" fmla="*/ 2147483647 w 954"/>
                  <a:gd name="T59" fmla="*/ 2147483647 h 930"/>
                  <a:gd name="T60" fmla="*/ 2147483647 w 954"/>
                  <a:gd name="T61" fmla="*/ 2147483647 h 930"/>
                  <a:gd name="T62" fmla="*/ 2147483647 w 954"/>
                  <a:gd name="T63" fmla="*/ 2147483647 h 930"/>
                  <a:gd name="T64" fmla="*/ 2147483647 w 954"/>
                  <a:gd name="T65" fmla="*/ 2147483647 h 930"/>
                  <a:gd name="T66" fmla="*/ 2147483647 w 954"/>
                  <a:gd name="T67" fmla="*/ 2147483647 h 930"/>
                  <a:gd name="T68" fmla="*/ 2147483647 w 954"/>
                  <a:gd name="T69" fmla="*/ 2147483647 h 930"/>
                  <a:gd name="T70" fmla="*/ 2147483647 w 954"/>
                  <a:gd name="T71" fmla="*/ 2147483647 h 930"/>
                  <a:gd name="T72" fmla="*/ 2147483647 w 954"/>
                  <a:gd name="T73" fmla="*/ 2147483647 h 930"/>
                  <a:gd name="T74" fmla="*/ 2147483647 w 954"/>
                  <a:gd name="T75" fmla="*/ 2147483647 h 930"/>
                  <a:gd name="T76" fmla="*/ 2147483647 w 954"/>
                  <a:gd name="T77" fmla="*/ 2147483647 h 930"/>
                  <a:gd name="T78" fmla="*/ 2147483647 w 954"/>
                  <a:gd name="T79" fmla="*/ 2147483647 h 930"/>
                  <a:gd name="T80" fmla="*/ 2147483647 w 954"/>
                  <a:gd name="T81" fmla="*/ 2147483647 h 930"/>
                  <a:gd name="T82" fmla="*/ 2147483647 w 954"/>
                  <a:gd name="T83" fmla="*/ 2147483647 h 930"/>
                  <a:gd name="T84" fmla="*/ 2147483647 w 954"/>
                  <a:gd name="T85" fmla="*/ 2147483647 h 930"/>
                  <a:gd name="T86" fmla="*/ 2147483647 w 954"/>
                  <a:gd name="T87" fmla="*/ 2147483647 h 930"/>
                  <a:gd name="T88" fmla="*/ 2147483647 w 954"/>
                  <a:gd name="T89" fmla="*/ 2147483647 h 930"/>
                  <a:gd name="T90" fmla="*/ 2147483647 w 954"/>
                  <a:gd name="T91" fmla="*/ 2147483647 h 930"/>
                  <a:gd name="T92" fmla="*/ 2147483647 w 954"/>
                  <a:gd name="T93" fmla="*/ 2147483647 h 930"/>
                  <a:gd name="T94" fmla="*/ 2147483647 w 954"/>
                  <a:gd name="T95" fmla="*/ 2147483647 h 930"/>
                  <a:gd name="T96" fmla="*/ 2147483647 w 954"/>
                  <a:gd name="T97" fmla="*/ 2147483647 h 930"/>
                  <a:gd name="T98" fmla="*/ 2147483647 w 954"/>
                  <a:gd name="T99" fmla="*/ 2147483647 h 930"/>
                  <a:gd name="T100" fmla="*/ 2147483647 w 954"/>
                  <a:gd name="T101" fmla="*/ 2147483647 h 930"/>
                  <a:gd name="T102" fmla="*/ 2147483647 w 954"/>
                  <a:gd name="T103" fmla="*/ 2147483647 h 930"/>
                  <a:gd name="T104" fmla="*/ 2147483647 w 954"/>
                  <a:gd name="T105" fmla="*/ 2147483647 h 930"/>
                  <a:gd name="T106" fmla="*/ 2147483647 w 954"/>
                  <a:gd name="T107" fmla="*/ 2147483647 h 930"/>
                  <a:gd name="T108" fmla="*/ 2147483647 w 954"/>
                  <a:gd name="T109" fmla="*/ 2147483647 h 930"/>
                  <a:gd name="T110" fmla="*/ 2147483647 w 954"/>
                  <a:gd name="T111" fmla="*/ 2147483647 h 930"/>
                  <a:gd name="T112" fmla="*/ 2147483647 w 954"/>
                  <a:gd name="T113" fmla="*/ 2147483647 h 930"/>
                  <a:gd name="T114" fmla="*/ 2147483647 w 954"/>
                  <a:gd name="T115" fmla="*/ 2147483647 h 930"/>
                  <a:gd name="T116" fmla="*/ 2147483647 w 954"/>
                  <a:gd name="T117" fmla="*/ 2147483647 h 930"/>
                  <a:gd name="T118" fmla="*/ 2147483647 w 954"/>
                  <a:gd name="T119" fmla="*/ 2147483647 h 93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54"/>
                  <a:gd name="T181" fmla="*/ 0 h 930"/>
                  <a:gd name="T182" fmla="*/ 954 w 954"/>
                  <a:gd name="T183" fmla="*/ 930 h 93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54" h="930">
                    <a:moveTo>
                      <a:pt x="264" y="42"/>
                    </a:moveTo>
                    <a:lnTo>
                      <a:pt x="264" y="12"/>
                    </a:lnTo>
                    <a:lnTo>
                      <a:pt x="252" y="0"/>
                    </a:lnTo>
                    <a:lnTo>
                      <a:pt x="234" y="0"/>
                    </a:lnTo>
                    <a:lnTo>
                      <a:pt x="228" y="6"/>
                    </a:lnTo>
                    <a:lnTo>
                      <a:pt x="228" y="18"/>
                    </a:lnTo>
                    <a:lnTo>
                      <a:pt x="234" y="24"/>
                    </a:lnTo>
                    <a:lnTo>
                      <a:pt x="234" y="36"/>
                    </a:lnTo>
                    <a:lnTo>
                      <a:pt x="240" y="42"/>
                    </a:lnTo>
                    <a:lnTo>
                      <a:pt x="264" y="42"/>
                    </a:lnTo>
                    <a:close/>
                    <a:moveTo>
                      <a:pt x="936" y="276"/>
                    </a:moveTo>
                    <a:lnTo>
                      <a:pt x="930" y="276"/>
                    </a:lnTo>
                    <a:lnTo>
                      <a:pt x="924" y="282"/>
                    </a:lnTo>
                    <a:lnTo>
                      <a:pt x="912" y="288"/>
                    </a:lnTo>
                    <a:lnTo>
                      <a:pt x="906" y="294"/>
                    </a:lnTo>
                    <a:lnTo>
                      <a:pt x="900" y="288"/>
                    </a:lnTo>
                    <a:lnTo>
                      <a:pt x="888" y="288"/>
                    </a:lnTo>
                    <a:lnTo>
                      <a:pt x="882" y="282"/>
                    </a:lnTo>
                    <a:lnTo>
                      <a:pt x="876" y="282"/>
                    </a:lnTo>
                    <a:lnTo>
                      <a:pt x="852" y="306"/>
                    </a:lnTo>
                    <a:lnTo>
                      <a:pt x="822" y="282"/>
                    </a:lnTo>
                    <a:lnTo>
                      <a:pt x="846" y="282"/>
                    </a:lnTo>
                    <a:lnTo>
                      <a:pt x="858" y="276"/>
                    </a:lnTo>
                    <a:lnTo>
                      <a:pt x="864" y="276"/>
                    </a:lnTo>
                    <a:lnTo>
                      <a:pt x="870" y="264"/>
                    </a:lnTo>
                    <a:lnTo>
                      <a:pt x="870" y="246"/>
                    </a:lnTo>
                    <a:lnTo>
                      <a:pt x="882" y="234"/>
                    </a:lnTo>
                    <a:lnTo>
                      <a:pt x="888" y="222"/>
                    </a:lnTo>
                    <a:lnTo>
                      <a:pt x="876" y="210"/>
                    </a:lnTo>
                    <a:lnTo>
                      <a:pt x="846" y="210"/>
                    </a:lnTo>
                    <a:lnTo>
                      <a:pt x="846" y="204"/>
                    </a:lnTo>
                    <a:lnTo>
                      <a:pt x="840" y="198"/>
                    </a:lnTo>
                    <a:lnTo>
                      <a:pt x="840" y="192"/>
                    </a:lnTo>
                    <a:lnTo>
                      <a:pt x="834" y="186"/>
                    </a:lnTo>
                    <a:lnTo>
                      <a:pt x="828" y="186"/>
                    </a:lnTo>
                    <a:lnTo>
                      <a:pt x="822" y="192"/>
                    </a:lnTo>
                    <a:lnTo>
                      <a:pt x="822" y="210"/>
                    </a:lnTo>
                    <a:lnTo>
                      <a:pt x="816" y="198"/>
                    </a:lnTo>
                    <a:lnTo>
                      <a:pt x="816" y="180"/>
                    </a:lnTo>
                    <a:lnTo>
                      <a:pt x="792" y="180"/>
                    </a:lnTo>
                    <a:lnTo>
                      <a:pt x="786" y="210"/>
                    </a:lnTo>
                    <a:lnTo>
                      <a:pt x="780" y="204"/>
                    </a:lnTo>
                    <a:lnTo>
                      <a:pt x="774" y="192"/>
                    </a:lnTo>
                    <a:lnTo>
                      <a:pt x="774" y="186"/>
                    </a:lnTo>
                    <a:lnTo>
                      <a:pt x="768" y="180"/>
                    </a:lnTo>
                    <a:lnTo>
                      <a:pt x="768" y="156"/>
                    </a:lnTo>
                    <a:lnTo>
                      <a:pt x="738" y="168"/>
                    </a:lnTo>
                    <a:lnTo>
                      <a:pt x="744" y="162"/>
                    </a:lnTo>
                    <a:lnTo>
                      <a:pt x="756" y="156"/>
                    </a:lnTo>
                    <a:lnTo>
                      <a:pt x="762" y="156"/>
                    </a:lnTo>
                    <a:lnTo>
                      <a:pt x="762" y="144"/>
                    </a:lnTo>
                    <a:lnTo>
                      <a:pt x="750" y="138"/>
                    </a:lnTo>
                    <a:lnTo>
                      <a:pt x="744" y="138"/>
                    </a:lnTo>
                    <a:lnTo>
                      <a:pt x="744" y="132"/>
                    </a:lnTo>
                    <a:lnTo>
                      <a:pt x="750" y="132"/>
                    </a:lnTo>
                    <a:lnTo>
                      <a:pt x="762" y="126"/>
                    </a:lnTo>
                    <a:lnTo>
                      <a:pt x="774" y="126"/>
                    </a:lnTo>
                    <a:lnTo>
                      <a:pt x="792" y="120"/>
                    </a:lnTo>
                    <a:lnTo>
                      <a:pt x="804" y="120"/>
                    </a:lnTo>
                    <a:lnTo>
                      <a:pt x="810" y="114"/>
                    </a:lnTo>
                    <a:lnTo>
                      <a:pt x="726" y="114"/>
                    </a:lnTo>
                    <a:lnTo>
                      <a:pt x="690" y="120"/>
                    </a:lnTo>
                    <a:lnTo>
                      <a:pt x="678" y="120"/>
                    </a:lnTo>
                    <a:lnTo>
                      <a:pt x="690" y="132"/>
                    </a:lnTo>
                    <a:lnTo>
                      <a:pt x="678" y="132"/>
                    </a:lnTo>
                    <a:lnTo>
                      <a:pt x="666" y="138"/>
                    </a:lnTo>
                    <a:lnTo>
                      <a:pt x="654" y="138"/>
                    </a:lnTo>
                    <a:lnTo>
                      <a:pt x="642" y="144"/>
                    </a:lnTo>
                    <a:lnTo>
                      <a:pt x="636" y="144"/>
                    </a:lnTo>
                    <a:lnTo>
                      <a:pt x="624" y="150"/>
                    </a:lnTo>
                    <a:lnTo>
                      <a:pt x="606" y="168"/>
                    </a:lnTo>
                    <a:lnTo>
                      <a:pt x="594" y="174"/>
                    </a:lnTo>
                    <a:lnTo>
                      <a:pt x="576" y="174"/>
                    </a:lnTo>
                    <a:lnTo>
                      <a:pt x="564" y="162"/>
                    </a:lnTo>
                    <a:lnTo>
                      <a:pt x="546" y="156"/>
                    </a:lnTo>
                    <a:lnTo>
                      <a:pt x="534" y="144"/>
                    </a:lnTo>
                    <a:lnTo>
                      <a:pt x="522" y="138"/>
                    </a:lnTo>
                    <a:lnTo>
                      <a:pt x="510" y="126"/>
                    </a:lnTo>
                    <a:lnTo>
                      <a:pt x="492" y="126"/>
                    </a:lnTo>
                    <a:lnTo>
                      <a:pt x="450" y="132"/>
                    </a:lnTo>
                    <a:lnTo>
                      <a:pt x="372" y="132"/>
                    </a:lnTo>
                    <a:lnTo>
                      <a:pt x="360" y="120"/>
                    </a:lnTo>
                    <a:lnTo>
                      <a:pt x="354" y="108"/>
                    </a:lnTo>
                    <a:lnTo>
                      <a:pt x="354" y="84"/>
                    </a:lnTo>
                    <a:lnTo>
                      <a:pt x="348" y="72"/>
                    </a:lnTo>
                    <a:lnTo>
                      <a:pt x="336" y="60"/>
                    </a:lnTo>
                    <a:lnTo>
                      <a:pt x="324" y="54"/>
                    </a:lnTo>
                    <a:lnTo>
                      <a:pt x="276" y="54"/>
                    </a:lnTo>
                    <a:lnTo>
                      <a:pt x="240" y="60"/>
                    </a:lnTo>
                    <a:lnTo>
                      <a:pt x="222" y="72"/>
                    </a:lnTo>
                    <a:lnTo>
                      <a:pt x="210" y="78"/>
                    </a:lnTo>
                    <a:lnTo>
                      <a:pt x="204" y="78"/>
                    </a:lnTo>
                    <a:lnTo>
                      <a:pt x="180" y="90"/>
                    </a:lnTo>
                    <a:lnTo>
                      <a:pt x="162" y="96"/>
                    </a:lnTo>
                    <a:lnTo>
                      <a:pt x="144" y="108"/>
                    </a:lnTo>
                    <a:lnTo>
                      <a:pt x="138" y="120"/>
                    </a:lnTo>
                    <a:lnTo>
                      <a:pt x="138" y="144"/>
                    </a:lnTo>
                    <a:lnTo>
                      <a:pt x="150" y="168"/>
                    </a:lnTo>
                    <a:lnTo>
                      <a:pt x="156" y="186"/>
                    </a:lnTo>
                    <a:lnTo>
                      <a:pt x="162" y="198"/>
                    </a:lnTo>
                    <a:lnTo>
                      <a:pt x="156" y="210"/>
                    </a:lnTo>
                    <a:lnTo>
                      <a:pt x="150" y="228"/>
                    </a:lnTo>
                    <a:lnTo>
                      <a:pt x="138" y="234"/>
                    </a:lnTo>
                    <a:lnTo>
                      <a:pt x="132" y="246"/>
                    </a:lnTo>
                    <a:lnTo>
                      <a:pt x="126" y="252"/>
                    </a:lnTo>
                    <a:lnTo>
                      <a:pt x="120" y="252"/>
                    </a:lnTo>
                    <a:lnTo>
                      <a:pt x="126" y="222"/>
                    </a:lnTo>
                    <a:lnTo>
                      <a:pt x="114" y="222"/>
                    </a:lnTo>
                    <a:lnTo>
                      <a:pt x="108" y="216"/>
                    </a:lnTo>
                    <a:lnTo>
                      <a:pt x="96" y="210"/>
                    </a:lnTo>
                    <a:lnTo>
                      <a:pt x="90" y="204"/>
                    </a:lnTo>
                    <a:lnTo>
                      <a:pt x="84" y="192"/>
                    </a:lnTo>
                    <a:lnTo>
                      <a:pt x="96" y="168"/>
                    </a:lnTo>
                    <a:lnTo>
                      <a:pt x="108" y="156"/>
                    </a:lnTo>
                    <a:lnTo>
                      <a:pt x="120" y="132"/>
                    </a:lnTo>
                    <a:lnTo>
                      <a:pt x="120" y="78"/>
                    </a:lnTo>
                    <a:lnTo>
                      <a:pt x="114" y="66"/>
                    </a:lnTo>
                    <a:lnTo>
                      <a:pt x="114" y="54"/>
                    </a:lnTo>
                    <a:lnTo>
                      <a:pt x="108" y="48"/>
                    </a:lnTo>
                    <a:lnTo>
                      <a:pt x="108" y="54"/>
                    </a:lnTo>
                    <a:lnTo>
                      <a:pt x="102" y="66"/>
                    </a:lnTo>
                    <a:lnTo>
                      <a:pt x="90" y="78"/>
                    </a:lnTo>
                    <a:lnTo>
                      <a:pt x="72" y="84"/>
                    </a:lnTo>
                    <a:lnTo>
                      <a:pt x="48" y="108"/>
                    </a:lnTo>
                    <a:lnTo>
                      <a:pt x="36" y="144"/>
                    </a:lnTo>
                    <a:lnTo>
                      <a:pt x="36" y="162"/>
                    </a:lnTo>
                    <a:lnTo>
                      <a:pt x="30" y="168"/>
                    </a:lnTo>
                    <a:lnTo>
                      <a:pt x="30" y="192"/>
                    </a:lnTo>
                    <a:lnTo>
                      <a:pt x="6" y="216"/>
                    </a:lnTo>
                    <a:lnTo>
                      <a:pt x="0" y="228"/>
                    </a:lnTo>
                    <a:lnTo>
                      <a:pt x="0" y="240"/>
                    </a:lnTo>
                    <a:lnTo>
                      <a:pt x="6" y="246"/>
                    </a:lnTo>
                    <a:lnTo>
                      <a:pt x="6" y="240"/>
                    </a:lnTo>
                    <a:lnTo>
                      <a:pt x="18" y="228"/>
                    </a:lnTo>
                    <a:lnTo>
                      <a:pt x="24" y="228"/>
                    </a:lnTo>
                    <a:lnTo>
                      <a:pt x="36" y="240"/>
                    </a:lnTo>
                    <a:lnTo>
                      <a:pt x="42" y="252"/>
                    </a:lnTo>
                    <a:lnTo>
                      <a:pt x="42" y="288"/>
                    </a:lnTo>
                    <a:lnTo>
                      <a:pt x="48" y="294"/>
                    </a:lnTo>
                    <a:lnTo>
                      <a:pt x="60" y="300"/>
                    </a:lnTo>
                    <a:lnTo>
                      <a:pt x="66" y="306"/>
                    </a:lnTo>
                    <a:lnTo>
                      <a:pt x="66" y="318"/>
                    </a:lnTo>
                    <a:lnTo>
                      <a:pt x="54" y="342"/>
                    </a:lnTo>
                    <a:lnTo>
                      <a:pt x="54" y="384"/>
                    </a:lnTo>
                    <a:lnTo>
                      <a:pt x="66" y="384"/>
                    </a:lnTo>
                    <a:lnTo>
                      <a:pt x="66" y="396"/>
                    </a:lnTo>
                    <a:lnTo>
                      <a:pt x="72" y="408"/>
                    </a:lnTo>
                    <a:lnTo>
                      <a:pt x="78" y="414"/>
                    </a:lnTo>
                    <a:lnTo>
                      <a:pt x="102" y="414"/>
                    </a:lnTo>
                    <a:lnTo>
                      <a:pt x="108" y="408"/>
                    </a:lnTo>
                    <a:lnTo>
                      <a:pt x="120" y="408"/>
                    </a:lnTo>
                    <a:lnTo>
                      <a:pt x="132" y="414"/>
                    </a:lnTo>
                    <a:lnTo>
                      <a:pt x="138" y="414"/>
                    </a:lnTo>
                    <a:lnTo>
                      <a:pt x="150" y="420"/>
                    </a:lnTo>
                    <a:lnTo>
                      <a:pt x="162" y="420"/>
                    </a:lnTo>
                    <a:lnTo>
                      <a:pt x="168" y="414"/>
                    </a:lnTo>
                    <a:lnTo>
                      <a:pt x="168" y="408"/>
                    </a:lnTo>
                    <a:lnTo>
                      <a:pt x="180" y="408"/>
                    </a:lnTo>
                    <a:lnTo>
                      <a:pt x="186" y="414"/>
                    </a:lnTo>
                    <a:lnTo>
                      <a:pt x="198" y="420"/>
                    </a:lnTo>
                    <a:lnTo>
                      <a:pt x="222" y="420"/>
                    </a:lnTo>
                    <a:lnTo>
                      <a:pt x="222" y="426"/>
                    </a:lnTo>
                    <a:lnTo>
                      <a:pt x="228" y="432"/>
                    </a:lnTo>
                    <a:lnTo>
                      <a:pt x="234" y="444"/>
                    </a:lnTo>
                    <a:lnTo>
                      <a:pt x="240" y="462"/>
                    </a:lnTo>
                    <a:lnTo>
                      <a:pt x="264" y="486"/>
                    </a:lnTo>
                    <a:lnTo>
                      <a:pt x="288" y="486"/>
                    </a:lnTo>
                    <a:lnTo>
                      <a:pt x="288" y="480"/>
                    </a:lnTo>
                    <a:lnTo>
                      <a:pt x="306" y="480"/>
                    </a:lnTo>
                    <a:lnTo>
                      <a:pt x="312" y="486"/>
                    </a:lnTo>
                    <a:lnTo>
                      <a:pt x="336" y="486"/>
                    </a:lnTo>
                    <a:lnTo>
                      <a:pt x="342" y="480"/>
                    </a:lnTo>
                    <a:lnTo>
                      <a:pt x="366" y="486"/>
                    </a:lnTo>
                    <a:lnTo>
                      <a:pt x="372" y="480"/>
                    </a:lnTo>
                    <a:lnTo>
                      <a:pt x="384" y="474"/>
                    </a:lnTo>
                    <a:lnTo>
                      <a:pt x="402" y="474"/>
                    </a:lnTo>
                    <a:lnTo>
                      <a:pt x="408" y="480"/>
                    </a:lnTo>
                    <a:lnTo>
                      <a:pt x="408" y="492"/>
                    </a:lnTo>
                    <a:lnTo>
                      <a:pt x="390" y="510"/>
                    </a:lnTo>
                    <a:lnTo>
                      <a:pt x="390" y="534"/>
                    </a:lnTo>
                    <a:lnTo>
                      <a:pt x="384" y="540"/>
                    </a:lnTo>
                    <a:lnTo>
                      <a:pt x="378" y="540"/>
                    </a:lnTo>
                    <a:lnTo>
                      <a:pt x="366" y="552"/>
                    </a:lnTo>
                    <a:lnTo>
                      <a:pt x="366" y="576"/>
                    </a:lnTo>
                    <a:lnTo>
                      <a:pt x="372" y="588"/>
                    </a:lnTo>
                    <a:lnTo>
                      <a:pt x="372" y="618"/>
                    </a:lnTo>
                    <a:lnTo>
                      <a:pt x="366" y="630"/>
                    </a:lnTo>
                    <a:lnTo>
                      <a:pt x="366" y="642"/>
                    </a:lnTo>
                    <a:lnTo>
                      <a:pt x="372" y="648"/>
                    </a:lnTo>
                    <a:lnTo>
                      <a:pt x="384" y="648"/>
                    </a:lnTo>
                    <a:lnTo>
                      <a:pt x="384" y="672"/>
                    </a:lnTo>
                    <a:lnTo>
                      <a:pt x="390" y="684"/>
                    </a:lnTo>
                    <a:lnTo>
                      <a:pt x="402" y="690"/>
                    </a:lnTo>
                    <a:lnTo>
                      <a:pt x="408" y="702"/>
                    </a:lnTo>
                    <a:lnTo>
                      <a:pt x="408" y="708"/>
                    </a:lnTo>
                    <a:lnTo>
                      <a:pt x="402" y="720"/>
                    </a:lnTo>
                    <a:lnTo>
                      <a:pt x="372" y="750"/>
                    </a:lnTo>
                    <a:lnTo>
                      <a:pt x="366" y="750"/>
                    </a:lnTo>
                    <a:lnTo>
                      <a:pt x="390" y="762"/>
                    </a:lnTo>
                    <a:lnTo>
                      <a:pt x="402" y="774"/>
                    </a:lnTo>
                    <a:lnTo>
                      <a:pt x="414" y="774"/>
                    </a:lnTo>
                    <a:lnTo>
                      <a:pt x="414" y="798"/>
                    </a:lnTo>
                    <a:lnTo>
                      <a:pt x="420" y="804"/>
                    </a:lnTo>
                    <a:lnTo>
                      <a:pt x="420" y="822"/>
                    </a:lnTo>
                    <a:lnTo>
                      <a:pt x="426" y="828"/>
                    </a:lnTo>
                    <a:lnTo>
                      <a:pt x="426" y="846"/>
                    </a:lnTo>
                    <a:lnTo>
                      <a:pt x="432" y="858"/>
                    </a:lnTo>
                    <a:lnTo>
                      <a:pt x="432" y="876"/>
                    </a:lnTo>
                    <a:lnTo>
                      <a:pt x="444" y="888"/>
                    </a:lnTo>
                    <a:lnTo>
                      <a:pt x="450" y="900"/>
                    </a:lnTo>
                    <a:lnTo>
                      <a:pt x="450" y="906"/>
                    </a:lnTo>
                    <a:lnTo>
                      <a:pt x="462" y="918"/>
                    </a:lnTo>
                    <a:lnTo>
                      <a:pt x="468" y="918"/>
                    </a:lnTo>
                    <a:lnTo>
                      <a:pt x="480" y="924"/>
                    </a:lnTo>
                    <a:lnTo>
                      <a:pt x="486" y="924"/>
                    </a:lnTo>
                    <a:lnTo>
                      <a:pt x="498" y="918"/>
                    </a:lnTo>
                    <a:lnTo>
                      <a:pt x="504" y="912"/>
                    </a:lnTo>
                    <a:lnTo>
                      <a:pt x="516" y="906"/>
                    </a:lnTo>
                    <a:lnTo>
                      <a:pt x="522" y="900"/>
                    </a:lnTo>
                    <a:lnTo>
                      <a:pt x="528" y="906"/>
                    </a:lnTo>
                    <a:lnTo>
                      <a:pt x="528" y="930"/>
                    </a:lnTo>
                    <a:lnTo>
                      <a:pt x="534" y="930"/>
                    </a:lnTo>
                    <a:lnTo>
                      <a:pt x="546" y="918"/>
                    </a:lnTo>
                    <a:lnTo>
                      <a:pt x="558" y="894"/>
                    </a:lnTo>
                    <a:lnTo>
                      <a:pt x="570" y="882"/>
                    </a:lnTo>
                    <a:lnTo>
                      <a:pt x="588" y="882"/>
                    </a:lnTo>
                    <a:lnTo>
                      <a:pt x="594" y="876"/>
                    </a:lnTo>
                    <a:lnTo>
                      <a:pt x="630" y="858"/>
                    </a:lnTo>
                    <a:lnTo>
                      <a:pt x="636" y="846"/>
                    </a:lnTo>
                    <a:lnTo>
                      <a:pt x="636" y="816"/>
                    </a:lnTo>
                    <a:lnTo>
                      <a:pt x="678" y="816"/>
                    </a:lnTo>
                    <a:lnTo>
                      <a:pt x="684" y="810"/>
                    </a:lnTo>
                    <a:lnTo>
                      <a:pt x="690" y="798"/>
                    </a:lnTo>
                    <a:lnTo>
                      <a:pt x="690" y="792"/>
                    </a:lnTo>
                    <a:lnTo>
                      <a:pt x="684" y="786"/>
                    </a:lnTo>
                    <a:lnTo>
                      <a:pt x="636" y="780"/>
                    </a:lnTo>
                    <a:lnTo>
                      <a:pt x="636" y="750"/>
                    </a:lnTo>
                    <a:lnTo>
                      <a:pt x="630" y="738"/>
                    </a:lnTo>
                    <a:lnTo>
                      <a:pt x="618" y="726"/>
                    </a:lnTo>
                    <a:lnTo>
                      <a:pt x="624" y="720"/>
                    </a:lnTo>
                    <a:lnTo>
                      <a:pt x="624" y="690"/>
                    </a:lnTo>
                    <a:lnTo>
                      <a:pt x="618" y="684"/>
                    </a:lnTo>
                    <a:lnTo>
                      <a:pt x="606" y="678"/>
                    </a:lnTo>
                    <a:lnTo>
                      <a:pt x="588" y="660"/>
                    </a:lnTo>
                    <a:lnTo>
                      <a:pt x="588" y="630"/>
                    </a:lnTo>
                    <a:lnTo>
                      <a:pt x="594" y="636"/>
                    </a:lnTo>
                    <a:lnTo>
                      <a:pt x="594" y="642"/>
                    </a:lnTo>
                    <a:lnTo>
                      <a:pt x="636" y="642"/>
                    </a:lnTo>
                    <a:lnTo>
                      <a:pt x="642" y="648"/>
                    </a:lnTo>
                    <a:lnTo>
                      <a:pt x="642" y="666"/>
                    </a:lnTo>
                    <a:lnTo>
                      <a:pt x="654" y="666"/>
                    </a:lnTo>
                    <a:lnTo>
                      <a:pt x="666" y="660"/>
                    </a:lnTo>
                    <a:lnTo>
                      <a:pt x="678" y="666"/>
                    </a:lnTo>
                    <a:lnTo>
                      <a:pt x="684" y="660"/>
                    </a:lnTo>
                    <a:lnTo>
                      <a:pt x="696" y="660"/>
                    </a:lnTo>
                    <a:lnTo>
                      <a:pt x="702" y="666"/>
                    </a:lnTo>
                    <a:lnTo>
                      <a:pt x="708" y="678"/>
                    </a:lnTo>
                    <a:lnTo>
                      <a:pt x="720" y="690"/>
                    </a:lnTo>
                    <a:lnTo>
                      <a:pt x="732" y="696"/>
                    </a:lnTo>
                    <a:lnTo>
                      <a:pt x="738" y="690"/>
                    </a:lnTo>
                    <a:lnTo>
                      <a:pt x="738" y="672"/>
                    </a:lnTo>
                    <a:lnTo>
                      <a:pt x="744" y="660"/>
                    </a:lnTo>
                    <a:lnTo>
                      <a:pt x="744" y="648"/>
                    </a:lnTo>
                    <a:lnTo>
                      <a:pt x="750" y="642"/>
                    </a:lnTo>
                    <a:lnTo>
                      <a:pt x="768" y="642"/>
                    </a:lnTo>
                    <a:lnTo>
                      <a:pt x="774" y="648"/>
                    </a:lnTo>
                    <a:lnTo>
                      <a:pt x="792" y="648"/>
                    </a:lnTo>
                    <a:lnTo>
                      <a:pt x="804" y="642"/>
                    </a:lnTo>
                    <a:lnTo>
                      <a:pt x="828" y="618"/>
                    </a:lnTo>
                    <a:lnTo>
                      <a:pt x="840" y="612"/>
                    </a:lnTo>
                    <a:lnTo>
                      <a:pt x="864" y="612"/>
                    </a:lnTo>
                    <a:lnTo>
                      <a:pt x="864" y="600"/>
                    </a:lnTo>
                    <a:lnTo>
                      <a:pt x="876" y="600"/>
                    </a:lnTo>
                    <a:lnTo>
                      <a:pt x="882" y="594"/>
                    </a:lnTo>
                    <a:lnTo>
                      <a:pt x="882" y="558"/>
                    </a:lnTo>
                    <a:lnTo>
                      <a:pt x="846" y="522"/>
                    </a:lnTo>
                    <a:lnTo>
                      <a:pt x="840" y="510"/>
                    </a:lnTo>
                    <a:lnTo>
                      <a:pt x="834" y="504"/>
                    </a:lnTo>
                    <a:lnTo>
                      <a:pt x="834" y="492"/>
                    </a:lnTo>
                    <a:lnTo>
                      <a:pt x="846" y="486"/>
                    </a:lnTo>
                    <a:lnTo>
                      <a:pt x="852" y="486"/>
                    </a:lnTo>
                    <a:lnTo>
                      <a:pt x="864" y="480"/>
                    </a:lnTo>
                    <a:lnTo>
                      <a:pt x="864" y="462"/>
                    </a:lnTo>
                    <a:lnTo>
                      <a:pt x="846" y="444"/>
                    </a:lnTo>
                    <a:lnTo>
                      <a:pt x="846" y="438"/>
                    </a:lnTo>
                    <a:lnTo>
                      <a:pt x="876" y="438"/>
                    </a:lnTo>
                    <a:lnTo>
                      <a:pt x="888" y="432"/>
                    </a:lnTo>
                    <a:lnTo>
                      <a:pt x="900" y="432"/>
                    </a:lnTo>
                    <a:lnTo>
                      <a:pt x="912" y="426"/>
                    </a:lnTo>
                    <a:lnTo>
                      <a:pt x="918" y="420"/>
                    </a:lnTo>
                    <a:lnTo>
                      <a:pt x="918" y="402"/>
                    </a:lnTo>
                    <a:lnTo>
                      <a:pt x="894" y="402"/>
                    </a:lnTo>
                    <a:lnTo>
                      <a:pt x="894" y="360"/>
                    </a:lnTo>
                    <a:lnTo>
                      <a:pt x="906" y="348"/>
                    </a:lnTo>
                    <a:lnTo>
                      <a:pt x="918" y="348"/>
                    </a:lnTo>
                    <a:lnTo>
                      <a:pt x="924" y="342"/>
                    </a:lnTo>
                    <a:lnTo>
                      <a:pt x="930" y="342"/>
                    </a:lnTo>
                    <a:lnTo>
                      <a:pt x="936" y="336"/>
                    </a:lnTo>
                    <a:lnTo>
                      <a:pt x="954" y="300"/>
                    </a:lnTo>
                    <a:lnTo>
                      <a:pt x="948" y="294"/>
                    </a:lnTo>
                    <a:lnTo>
                      <a:pt x="942" y="282"/>
                    </a:lnTo>
                    <a:lnTo>
                      <a:pt x="936" y="276"/>
                    </a:lnTo>
                    <a:close/>
                  </a:path>
                </a:pathLst>
              </a:custGeom>
              <a:solidFill>
                <a:srgbClr val="9D90A0">
                  <a:lumMod val="40000"/>
                  <a:lumOff val="60000"/>
                </a:srgbClr>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36" name="USA" descr="© INSCALE GmbH, 05.05.2010&#10;http://www.presentationload.com/">
                <a:extLst>
                  <a:ext uri="{FF2B5EF4-FFF2-40B4-BE49-F238E27FC236}">
                    <a16:creationId xmlns:a16="http://schemas.microsoft.com/office/drawing/2014/main" id="{A3BD7E58-57B0-4017-A78D-B2F873899D64}"/>
                  </a:ext>
                </a:extLst>
              </p:cNvPr>
              <p:cNvSpPr>
                <a:spLocks noEditPoints="1"/>
              </p:cNvSpPr>
              <p:nvPr/>
            </p:nvSpPr>
            <p:spPr bwMode="gray">
              <a:xfrm>
                <a:off x="1009085" y="2809206"/>
                <a:ext cx="1548992" cy="854221"/>
              </a:xfrm>
              <a:custGeom>
                <a:avLst/>
                <a:gdLst>
                  <a:gd name="T0" fmla="*/ 2147483647 w 3918"/>
                  <a:gd name="T1" fmla="*/ 2147483647 h 1944"/>
                  <a:gd name="T2" fmla="*/ 2147483647 w 3918"/>
                  <a:gd name="T3" fmla="*/ 2147483647 h 1944"/>
                  <a:gd name="T4" fmla="*/ 2147483647 w 3918"/>
                  <a:gd name="T5" fmla="*/ 2147483647 h 1944"/>
                  <a:gd name="T6" fmla="*/ 2147483647 w 3918"/>
                  <a:gd name="T7" fmla="*/ 2147483647 h 1944"/>
                  <a:gd name="T8" fmla="*/ 2147483647 w 3918"/>
                  <a:gd name="T9" fmla="*/ 2147483647 h 1944"/>
                  <a:gd name="T10" fmla="*/ 2147483647 w 3918"/>
                  <a:gd name="T11" fmla="*/ 2147483647 h 1944"/>
                  <a:gd name="T12" fmla="*/ 2147483647 w 3918"/>
                  <a:gd name="T13" fmla="*/ 2147483647 h 1944"/>
                  <a:gd name="T14" fmla="*/ 2147483647 w 3918"/>
                  <a:gd name="T15" fmla="*/ 2147483647 h 1944"/>
                  <a:gd name="T16" fmla="*/ 2147483647 w 3918"/>
                  <a:gd name="T17" fmla="*/ 2147483647 h 1944"/>
                  <a:gd name="T18" fmla="*/ 2147483647 w 3918"/>
                  <a:gd name="T19" fmla="*/ 2147483647 h 1944"/>
                  <a:gd name="T20" fmla="*/ 2147483647 w 3918"/>
                  <a:gd name="T21" fmla="*/ 2147483647 h 1944"/>
                  <a:gd name="T22" fmla="*/ 2147483647 w 3918"/>
                  <a:gd name="T23" fmla="*/ 2147483647 h 1944"/>
                  <a:gd name="T24" fmla="*/ 2147483647 w 3918"/>
                  <a:gd name="T25" fmla="*/ 2147483647 h 1944"/>
                  <a:gd name="T26" fmla="*/ 2147483647 w 3918"/>
                  <a:gd name="T27" fmla="*/ 2147483647 h 1944"/>
                  <a:gd name="T28" fmla="*/ 2147483647 w 3918"/>
                  <a:gd name="T29" fmla="*/ 2147483647 h 1944"/>
                  <a:gd name="T30" fmla="*/ 2147483647 w 3918"/>
                  <a:gd name="T31" fmla="*/ 2147483647 h 1944"/>
                  <a:gd name="T32" fmla="*/ 2147483647 w 3918"/>
                  <a:gd name="T33" fmla="*/ 2147483647 h 1944"/>
                  <a:gd name="T34" fmla="*/ 2147483647 w 3918"/>
                  <a:gd name="T35" fmla="*/ 2147483647 h 1944"/>
                  <a:gd name="T36" fmla="*/ 2147483647 w 3918"/>
                  <a:gd name="T37" fmla="*/ 2147483647 h 1944"/>
                  <a:gd name="T38" fmla="*/ 2147483647 w 3918"/>
                  <a:gd name="T39" fmla="*/ 2147483647 h 1944"/>
                  <a:gd name="T40" fmla="*/ 2147483647 w 3918"/>
                  <a:gd name="T41" fmla="*/ 2147483647 h 1944"/>
                  <a:gd name="T42" fmla="*/ 2147483647 w 3918"/>
                  <a:gd name="T43" fmla="*/ 2147483647 h 1944"/>
                  <a:gd name="T44" fmla="*/ 2147483647 w 3918"/>
                  <a:gd name="T45" fmla="*/ 2147483647 h 1944"/>
                  <a:gd name="T46" fmla="*/ 2147483647 w 3918"/>
                  <a:gd name="T47" fmla="*/ 2147483647 h 1944"/>
                  <a:gd name="T48" fmla="*/ 2147483647 w 3918"/>
                  <a:gd name="T49" fmla="*/ 2147483647 h 1944"/>
                  <a:gd name="T50" fmla="*/ 2147483647 w 3918"/>
                  <a:gd name="T51" fmla="*/ 2147483647 h 1944"/>
                  <a:gd name="T52" fmla="*/ 2147483647 w 3918"/>
                  <a:gd name="T53" fmla="*/ 2147483647 h 1944"/>
                  <a:gd name="T54" fmla="*/ 2147483647 w 3918"/>
                  <a:gd name="T55" fmla="*/ 2147483647 h 1944"/>
                  <a:gd name="T56" fmla="*/ 2147483647 w 3918"/>
                  <a:gd name="T57" fmla="*/ 2147483647 h 1944"/>
                  <a:gd name="T58" fmla="*/ 2147483647 w 3918"/>
                  <a:gd name="T59" fmla="*/ 2147483647 h 1944"/>
                  <a:gd name="T60" fmla="*/ 2147483647 w 3918"/>
                  <a:gd name="T61" fmla="*/ 2147483647 h 1944"/>
                  <a:gd name="T62" fmla="*/ 2147483647 w 3918"/>
                  <a:gd name="T63" fmla="*/ 2147483647 h 1944"/>
                  <a:gd name="T64" fmla="*/ 2147483647 w 3918"/>
                  <a:gd name="T65" fmla="*/ 2147483647 h 1944"/>
                  <a:gd name="T66" fmla="*/ 2147483647 w 3918"/>
                  <a:gd name="T67" fmla="*/ 2147483647 h 1944"/>
                  <a:gd name="T68" fmla="*/ 2147483647 w 3918"/>
                  <a:gd name="T69" fmla="*/ 2147483647 h 1944"/>
                  <a:gd name="T70" fmla="*/ 2147483647 w 3918"/>
                  <a:gd name="T71" fmla="*/ 2147483647 h 1944"/>
                  <a:gd name="T72" fmla="*/ 2147483647 w 3918"/>
                  <a:gd name="T73" fmla="*/ 2147483647 h 1944"/>
                  <a:gd name="T74" fmla="*/ 2147483647 w 3918"/>
                  <a:gd name="T75" fmla="*/ 2147483647 h 1944"/>
                  <a:gd name="T76" fmla="*/ 2147483647 w 3918"/>
                  <a:gd name="T77" fmla="*/ 2147483647 h 1944"/>
                  <a:gd name="T78" fmla="*/ 2147483647 w 3918"/>
                  <a:gd name="T79" fmla="*/ 2147483647 h 1944"/>
                  <a:gd name="T80" fmla="*/ 2147483647 w 3918"/>
                  <a:gd name="T81" fmla="*/ 2147483647 h 1944"/>
                  <a:gd name="T82" fmla="*/ 2147483647 w 3918"/>
                  <a:gd name="T83" fmla="*/ 2147483647 h 1944"/>
                  <a:gd name="T84" fmla="*/ 2147483647 w 3918"/>
                  <a:gd name="T85" fmla="*/ 2147483647 h 1944"/>
                  <a:gd name="T86" fmla="*/ 2147483647 w 3918"/>
                  <a:gd name="T87" fmla="*/ 2147483647 h 1944"/>
                  <a:gd name="T88" fmla="*/ 2147483647 w 3918"/>
                  <a:gd name="T89" fmla="*/ 2147483647 h 1944"/>
                  <a:gd name="T90" fmla="*/ 2147483647 w 3918"/>
                  <a:gd name="T91" fmla="*/ 2147483647 h 1944"/>
                  <a:gd name="T92" fmla="*/ 2147483647 w 3918"/>
                  <a:gd name="T93" fmla="*/ 2147483647 h 1944"/>
                  <a:gd name="T94" fmla="*/ 2147483647 w 3918"/>
                  <a:gd name="T95" fmla="*/ 2147483647 h 1944"/>
                  <a:gd name="T96" fmla="*/ 2147483647 w 3918"/>
                  <a:gd name="T97" fmla="*/ 2147483647 h 1944"/>
                  <a:gd name="T98" fmla="*/ 2147483647 w 3918"/>
                  <a:gd name="T99" fmla="*/ 2147483647 h 1944"/>
                  <a:gd name="T100" fmla="*/ 2147483647 w 3918"/>
                  <a:gd name="T101" fmla="*/ 2147483647 h 1944"/>
                  <a:gd name="T102" fmla="*/ 2147483647 w 3918"/>
                  <a:gd name="T103" fmla="*/ 2147483647 h 1944"/>
                  <a:gd name="T104" fmla="*/ 2147483647 w 3918"/>
                  <a:gd name="T105" fmla="*/ 2147483647 h 1944"/>
                  <a:gd name="T106" fmla="*/ 2147483647 w 3918"/>
                  <a:gd name="T107" fmla="*/ 2147483647 h 1944"/>
                  <a:gd name="T108" fmla="*/ 2147483647 w 3918"/>
                  <a:gd name="T109" fmla="*/ 2147483647 h 1944"/>
                  <a:gd name="T110" fmla="*/ 2147483647 w 3918"/>
                  <a:gd name="T111" fmla="*/ 2147483647 h 1944"/>
                  <a:gd name="T112" fmla="*/ 2147483647 w 3918"/>
                  <a:gd name="T113" fmla="*/ 2147483647 h 1944"/>
                  <a:gd name="T114" fmla="*/ 2147483647 w 3918"/>
                  <a:gd name="T115" fmla="*/ 2147483647 h 1944"/>
                  <a:gd name="T116" fmla="*/ 2147483647 w 3918"/>
                  <a:gd name="T117" fmla="*/ 2147483647 h 1944"/>
                  <a:gd name="T118" fmla="*/ 2147483647 w 3918"/>
                  <a:gd name="T119" fmla="*/ 2147483647 h 1944"/>
                  <a:gd name="T120" fmla="*/ 2147483647 w 3918"/>
                  <a:gd name="T121" fmla="*/ 2147483647 h 1944"/>
                  <a:gd name="T122" fmla="*/ 2147483647 w 3918"/>
                  <a:gd name="T123" fmla="*/ 2147483647 h 1944"/>
                  <a:gd name="T124" fmla="*/ 2147483647 w 3918"/>
                  <a:gd name="T125" fmla="*/ 2147483647 h 194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918"/>
                  <a:gd name="T190" fmla="*/ 0 h 1944"/>
                  <a:gd name="T191" fmla="*/ 3918 w 3918"/>
                  <a:gd name="T192" fmla="*/ 1944 h 194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918" h="1944">
                    <a:moveTo>
                      <a:pt x="3858" y="168"/>
                    </a:moveTo>
                    <a:lnTo>
                      <a:pt x="3852" y="168"/>
                    </a:lnTo>
                    <a:lnTo>
                      <a:pt x="3846" y="162"/>
                    </a:lnTo>
                    <a:lnTo>
                      <a:pt x="3846" y="156"/>
                    </a:lnTo>
                    <a:lnTo>
                      <a:pt x="3840" y="150"/>
                    </a:lnTo>
                    <a:lnTo>
                      <a:pt x="3828" y="150"/>
                    </a:lnTo>
                    <a:lnTo>
                      <a:pt x="3804" y="174"/>
                    </a:lnTo>
                    <a:lnTo>
                      <a:pt x="3798" y="186"/>
                    </a:lnTo>
                    <a:lnTo>
                      <a:pt x="3756" y="210"/>
                    </a:lnTo>
                    <a:lnTo>
                      <a:pt x="3756" y="234"/>
                    </a:lnTo>
                    <a:lnTo>
                      <a:pt x="3744" y="246"/>
                    </a:lnTo>
                    <a:lnTo>
                      <a:pt x="3738" y="246"/>
                    </a:lnTo>
                    <a:lnTo>
                      <a:pt x="3726" y="258"/>
                    </a:lnTo>
                    <a:lnTo>
                      <a:pt x="3720" y="270"/>
                    </a:lnTo>
                    <a:lnTo>
                      <a:pt x="3720" y="294"/>
                    </a:lnTo>
                    <a:lnTo>
                      <a:pt x="3714" y="294"/>
                    </a:lnTo>
                    <a:lnTo>
                      <a:pt x="3708" y="288"/>
                    </a:lnTo>
                    <a:lnTo>
                      <a:pt x="3696" y="288"/>
                    </a:lnTo>
                    <a:lnTo>
                      <a:pt x="3690" y="294"/>
                    </a:lnTo>
                    <a:lnTo>
                      <a:pt x="3678" y="300"/>
                    </a:lnTo>
                    <a:lnTo>
                      <a:pt x="3666" y="312"/>
                    </a:lnTo>
                    <a:lnTo>
                      <a:pt x="3666" y="318"/>
                    </a:lnTo>
                    <a:lnTo>
                      <a:pt x="3660" y="318"/>
                    </a:lnTo>
                    <a:lnTo>
                      <a:pt x="3648" y="324"/>
                    </a:lnTo>
                    <a:lnTo>
                      <a:pt x="3630" y="324"/>
                    </a:lnTo>
                    <a:lnTo>
                      <a:pt x="3618" y="336"/>
                    </a:lnTo>
                    <a:lnTo>
                      <a:pt x="3618" y="342"/>
                    </a:lnTo>
                    <a:lnTo>
                      <a:pt x="3384" y="342"/>
                    </a:lnTo>
                    <a:lnTo>
                      <a:pt x="3372" y="354"/>
                    </a:lnTo>
                    <a:lnTo>
                      <a:pt x="3360" y="360"/>
                    </a:lnTo>
                    <a:lnTo>
                      <a:pt x="3336" y="384"/>
                    </a:lnTo>
                    <a:lnTo>
                      <a:pt x="3324" y="390"/>
                    </a:lnTo>
                    <a:lnTo>
                      <a:pt x="3312" y="402"/>
                    </a:lnTo>
                    <a:lnTo>
                      <a:pt x="3282" y="402"/>
                    </a:lnTo>
                    <a:lnTo>
                      <a:pt x="3282" y="408"/>
                    </a:lnTo>
                    <a:lnTo>
                      <a:pt x="3276" y="408"/>
                    </a:lnTo>
                    <a:lnTo>
                      <a:pt x="3282" y="414"/>
                    </a:lnTo>
                    <a:lnTo>
                      <a:pt x="3282" y="420"/>
                    </a:lnTo>
                    <a:lnTo>
                      <a:pt x="3288" y="426"/>
                    </a:lnTo>
                    <a:lnTo>
                      <a:pt x="3282" y="432"/>
                    </a:lnTo>
                    <a:lnTo>
                      <a:pt x="3282" y="438"/>
                    </a:lnTo>
                    <a:lnTo>
                      <a:pt x="3276" y="444"/>
                    </a:lnTo>
                    <a:lnTo>
                      <a:pt x="3270" y="456"/>
                    </a:lnTo>
                    <a:lnTo>
                      <a:pt x="3264" y="462"/>
                    </a:lnTo>
                    <a:lnTo>
                      <a:pt x="3264" y="468"/>
                    </a:lnTo>
                    <a:lnTo>
                      <a:pt x="3246" y="468"/>
                    </a:lnTo>
                    <a:lnTo>
                      <a:pt x="3246" y="474"/>
                    </a:lnTo>
                    <a:lnTo>
                      <a:pt x="3240" y="474"/>
                    </a:lnTo>
                    <a:lnTo>
                      <a:pt x="3228" y="480"/>
                    </a:lnTo>
                    <a:lnTo>
                      <a:pt x="3204" y="480"/>
                    </a:lnTo>
                    <a:lnTo>
                      <a:pt x="3198" y="474"/>
                    </a:lnTo>
                    <a:lnTo>
                      <a:pt x="3186" y="486"/>
                    </a:lnTo>
                    <a:lnTo>
                      <a:pt x="3162" y="486"/>
                    </a:lnTo>
                    <a:lnTo>
                      <a:pt x="3150" y="480"/>
                    </a:lnTo>
                    <a:lnTo>
                      <a:pt x="3144" y="474"/>
                    </a:lnTo>
                    <a:lnTo>
                      <a:pt x="3114" y="474"/>
                    </a:lnTo>
                    <a:lnTo>
                      <a:pt x="3096" y="486"/>
                    </a:lnTo>
                    <a:lnTo>
                      <a:pt x="3078" y="492"/>
                    </a:lnTo>
                    <a:lnTo>
                      <a:pt x="3072" y="492"/>
                    </a:lnTo>
                    <a:lnTo>
                      <a:pt x="3072" y="516"/>
                    </a:lnTo>
                    <a:lnTo>
                      <a:pt x="3066" y="522"/>
                    </a:lnTo>
                    <a:lnTo>
                      <a:pt x="3078" y="522"/>
                    </a:lnTo>
                    <a:lnTo>
                      <a:pt x="3066" y="528"/>
                    </a:lnTo>
                    <a:lnTo>
                      <a:pt x="3036" y="546"/>
                    </a:lnTo>
                    <a:lnTo>
                      <a:pt x="3000" y="564"/>
                    </a:lnTo>
                    <a:lnTo>
                      <a:pt x="2964" y="576"/>
                    </a:lnTo>
                    <a:lnTo>
                      <a:pt x="2946" y="588"/>
                    </a:lnTo>
                    <a:lnTo>
                      <a:pt x="2934" y="594"/>
                    </a:lnTo>
                    <a:lnTo>
                      <a:pt x="2928" y="594"/>
                    </a:lnTo>
                    <a:lnTo>
                      <a:pt x="2856" y="618"/>
                    </a:lnTo>
                    <a:lnTo>
                      <a:pt x="2850" y="624"/>
                    </a:lnTo>
                    <a:lnTo>
                      <a:pt x="2838" y="624"/>
                    </a:lnTo>
                    <a:lnTo>
                      <a:pt x="2826" y="630"/>
                    </a:lnTo>
                    <a:lnTo>
                      <a:pt x="2808" y="630"/>
                    </a:lnTo>
                    <a:lnTo>
                      <a:pt x="2802" y="636"/>
                    </a:lnTo>
                    <a:lnTo>
                      <a:pt x="2778" y="636"/>
                    </a:lnTo>
                    <a:lnTo>
                      <a:pt x="2772" y="630"/>
                    </a:lnTo>
                    <a:lnTo>
                      <a:pt x="2772" y="624"/>
                    </a:lnTo>
                    <a:lnTo>
                      <a:pt x="2760" y="624"/>
                    </a:lnTo>
                    <a:lnTo>
                      <a:pt x="2748" y="618"/>
                    </a:lnTo>
                    <a:lnTo>
                      <a:pt x="2736" y="606"/>
                    </a:lnTo>
                    <a:lnTo>
                      <a:pt x="2742" y="606"/>
                    </a:lnTo>
                    <a:lnTo>
                      <a:pt x="2748" y="600"/>
                    </a:lnTo>
                    <a:lnTo>
                      <a:pt x="2772" y="588"/>
                    </a:lnTo>
                    <a:lnTo>
                      <a:pt x="2772" y="582"/>
                    </a:lnTo>
                    <a:lnTo>
                      <a:pt x="2796" y="558"/>
                    </a:lnTo>
                    <a:lnTo>
                      <a:pt x="2832" y="540"/>
                    </a:lnTo>
                    <a:lnTo>
                      <a:pt x="2838" y="540"/>
                    </a:lnTo>
                    <a:lnTo>
                      <a:pt x="2844" y="534"/>
                    </a:lnTo>
                    <a:lnTo>
                      <a:pt x="2844" y="510"/>
                    </a:lnTo>
                    <a:lnTo>
                      <a:pt x="2850" y="504"/>
                    </a:lnTo>
                    <a:lnTo>
                      <a:pt x="2856" y="492"/>
                    </a:lnTo>
                    <a:lnTo>
                      <a:pt x="2850" y="486"/>
                    </a:lnTo>
                    <a:lnTo>
                      <a:pt x="2850" y="480"/>
                    </a:lnTo>
                    <a:lnTo>
                      <a:pt x="2856" y="468"/>
                    </a:lnTo>
                    <a:lnTo>
                      <a:pt x="2856" y="444"/>
                    </a:lnTo>
                    <a:lnTo>
                      <a:pt x="2862" y="432"/>
                    </a:lnTo>
                    <a:lnTo>
                      <a:pt x="2862" y="426"/>
                    </a:lnTo>
                    <a:lnTo>
                      <a:pt x="2856" y="420"/>
                    </a:lnTo>
                    <a:lnTo>
                      <a:pt x="2850" y="420"/>
                    </a:lnTo>
                    <a:lnTo>
                      <a:pt x="2844" y="426"/>
                    </a:lnTo>
                    <a:lnTo>
                      <a:pt x="2832" y="426"/>
                    </a:lnTo>
                    <a:lnTo>
                      <a:pt x="2814" y="444"/>
                    </a:lnTo>
                    <a:lnTo>
                      <a:pt x="2802" y="450"/>
                    </a:lnTo>
                    <a:lnTo>
                      <a:pt x="2796" y="456"/>
                    </a:lnTo>
                    <a:lnTo>
                      <a:pt x="2778" y="456"/>
                    </a:lnTo>
                    <a:lnTo>
                      <a:pt x="2772" y="450"/>
                    </a:lnTo>
                    <a:lnTo>
                      <a:pt x="2778" y="444"/>
                    </a:lnTo>
                    <a:lnTo>
                      <a:pt x="2784" y="432"/>
                    </a:lnTo>
                    <a:lnTo>
                      <a:pt x="2808" y="420"/>
                    </a:lnTo>
                    <a:lnTo>
                      <a:pt x="2826" y="402"/>
                    </a:lnTo>
                    <a:lnTo>
                      <a:pt x="2850" y="390"/>
                    </a:lnTo>
                    <a:lnTo>
                      <a:pt x="2856" y="384"/>
                    </a:lnTo>
                    <a:lnTo>
                      <a:pt x="2856" y="366"/>
                    </a:lnTo>
                    <a:lnTo>
                      <a:pt x="2850" y="360"/>
                    </a:lnTo>
                    <a:lnTo>
                      <a:pt x="2850" y="348"/>
                    </a:lnTo>
                    <a:lnTo>
                      <a:pt x="2856" y="348"/>
                    </a:lnTo>
                    <a:lnTo>
                      <a:pt x="2862" y="342"/>
                    </a:lnTo>
                    <a:lnTo>
                      <a:pt x="2868" y="330"/>
                    </a:lnTo>
                    <a:lnTo>
                      <a:pt x="2868" y="318"/>
                    </a:lnTo>
                    <a:lnTo>
                      <a:pt x="2862" y="312"/>
                    </a:lnTo>
                    <a:lnTo>
                      <a:pt x="2850" y="312"/>
                    </a:lnTo>
                    <a:lnTo>
                      <a:pt x="2838" y="306"/>
                    </a:lnTo>
                    <a:lnTo>
                      <a:pt x="2832" y="306"/>
                    </a:lnTo>
                    <a:lnTo>
                      <a:pt x="2826" y="294"/>
                    </a:lnTo>
                    <a:lnTo>
                      <a:pt x="2820" y="288"/>
                    </a:lnTo>
                    <a:lnTo>
                      <a:pt x="2820" y="282"/>
                    </a:lnTo>
                    <a:lnTo>
                      <a:pt x="2814" y="288"/>
                    </a:lnTo>
                    <a:lnTo>
                      <a:pt x="2808" y="288"/>
                    </a:lnTo>
                    <a:lnTo>
                      <a:pt x="2808" y="264"/>
                    </a:lnTo>
                    <a:lnTo>
                      <a:pt x="2844" y="270"/>
                    </a:lnTo>
                    <a:lnTo>
                      <a:pt x="2850" y="264"/>
                    </a:lnTo>
                    <a:lnTo>
                      <a:pt x="2850" y="246"/>
                    </a:lnTo>
                    <a:lnTo>
                      <a:pt x="2862" y="246"/>
                    </a:lnTo>
                    <a:lnTo>
                      <a:pt x="2868" y="228"/>
                    </a:lnTo>
                    <a:lnTo>
                      <a:pt x="2850" y="228"/>
                    </a:lnTo>
                    <a:lnTo>
                      <a:pt x="2844" y="240"/>
                    </a:lnTo>
                    <a:lnTo>
                      <a:pt x="2820" y="228"/>
                    </a:lnTo>
                    <a:lnTo>
                      <a:pt x="2820" y="210"/>
                    </a:lnTo>
                    <a:lnTo>
                      <a:pt x="2802" y="210"/>
                    </a:lnTo>
                    <a:lnTo>
                      <a:pt x="2790" y="216"/>
                    </a:lnTo>
                    <a:lnTo>
                      <a:pt x="2736" y="216"/>
                    </a:lnTo>
                    <a:lnTo>
                      <a:pt x="2724" y="222"/>
                    </a:lnTo>
                    <a:lnTo>
                      <a:pt x="2712" y="222"/>
                    </a:lnTo>
                    <a:lnTo>
                      <a:pt x="2700" y="228"/>
                    </a:lnTo>
                    <a:lnTo>
                      <a:pt x="2682" y="228"/>
                    </a:lnTo>
                    <a:lnTo>
                      <a:pt x="2658" y="216"/>
                    </a:lnTo>
                    <a:lnTo>
                      <a:pt x="2658" y="210"/>
                    </a:lnTo>
                    <a:lnTo>
                      <a:pt x="2652" y="204"/>
                    </a:lnTo>
                    <a:lnTo>
                      <a:pt x="2652" y="198"/>
                    </a:lnTo>
                    <a:lnTo>
                      <a:pt x="2646" y="192"/>
                    </a:lnTo>
                    <a:lnTo>
                      <a:pt x="2628" y="192"/>
                    </a:lnTo>
                    <a:lnTo>
                      <a:pt x="2622" y="198"/>
                    </a:lnTo>
                    <a:lnTo>
                      <a:pt x="2616" y="198"/>
                    </a:lnTo>
                    <a:lnTo>
                      <a:pt x="2610" y="192"/>
                    </a:lnTo>
                    <a:lnTo>
                      <a:pt x="2670" y="162"/>
                    </a:lnTo>
                    <a:lnTo>
                      <a:pt x="2658" y="150"/>
                    </a:lnTo>
                    <a:lnTo>
                      <a:pt x="2640" y="150"/>
                    </a:lnTo>
                    <a:lnTo>
                      <a:pt x="2628" y="162"/>
                    </a:lnTo>
                    <a:lnTo>
                      <a:pt x="2616" y="168"/>
                    </a:lnTo>
                    <a:lnTo>
                      <a:pt x="2610" y="174"/>
                    </a:lnTo>
                    <a:lnTo>
                      <a:pt x="2604" y="174"/>
                    </a:lnTo>
                    <a:lnTo>
                      <a:pt x="2580" y="186"/>
                    </a:lnTo>
                    <a:lnTo>
                      <a:pt x="2562" y="192"/>
                    </a:lnTo>
                    <a:lnTo>
                      <a:pt x="2538" y="204"/>
                    </a:lnTo>
                    <a:lnTo>
                      <a:pt x="2508" y="204"/>
                    </a:lnTo>
                    <a:lnTo>
                      <a:pt x="2496" y="216"/>
                    </a:lnTo>
                    <a:lnTo>
                      <a:pt x="2448" y="216"/>
                    </a:lnTo>
                    <a:lnTo>
                      <a:pt x="2448" y="210"/>
                    </a:lnTo>
                    <a:lnTo>
                      <a:pt x="2454" y="204"/>
                    </a:lnTo>
                    <a:lnTo>
                      <a:pt x="2460" y="204"/>
                    </a:lnTo>
                    <a:lnTo>
                      <a:pt x="2472" y="192"/>
                    </a:lnTo>
                    <a:lnTo>
                      <a:pt x="2460" y="192"/>
                    </a:lnTo>
                    <a:lnTo>
                      <a:pt x="2448" y="198"/>
                    </a:lnTo>
                    <a:lnTo>
                      <a:pt x="2412" y="198"/>
                    </a:lnTo>
                    <a:lnTo>
                      <a:pt x="2400" y="204"/>
                    </a:lnTo>
                    <a:lnTo>
                      <a:pt x="2394" y="210"/>
                    </a:lnTo>
                    <a:lnTo>
                      <a:pt x="2370" y="210"/>
                    </a:lnTo>
                    <a:lnTo>
                      <a:pt x="2370" y="198"/>
                    </a:lnTo>
                    <a:lnTo>
                      <a:pt x="2400" y="180"/>
                    </a:lnTo>
                    <a:lnTo>
                      <a:pt x="2442" y="168"/>
                    </a:lnTo>
                    <a:lnTo>
                      <a:pt x="2502" y="138"/>
                    </a:lnTo>
                    <a:lnTo>
                      <a:pt x="2520" y="126"/>
                    </a:lnTo>
                    <a:lnTo>
                      <a:pt x="2544" y="120"/>
                    </a:lnTo>
                    <a:lnTo>
                      <a:pt x="2574" y="114"/>
                    </a:lnTo>
                    <a:lnTo>
                      <a:pt x="2580" y="114"/>
                    </a:lnTo>
                    <a:lnTo>
                      <a:pt x="2592" y="108"/>
                    </a:lnTo>
                    <a:lnTo>
                      <a:pt x="2574" y="108"/>
                    </a:lnTo>
                    <a:lnTo>
                      <a:pt x="2562" y="102"/>
                    </a:lnTo>
                    <a:lnTo>
                      <a:pt x="2556" y="102"/>
                    </a:lnTo>
                    <a:lnTo>
                      <a:pt x="2556" y="96"/>
                    </a:lnTo>
                    <a:lnTo>
                      <a:pt x="2508" y="102"/>
                    </a:lnTo>
                    <a:lnTo>
                      <a:pt x="2508" y="84"/>
                    </a:lnTo>
                    <a:lnTo>
                      <a:pt x="2502" y="90"/>
                    </a:lnTo>
                    <a:lnTo>
                      <a:pt x="2490" y="96"/>
                    </a:lnTo>
                    <a:lnTo>
                      <a:pt x="2478" y="108"/>
                    </a:lnTo>
                    <a:lnTo>
                      <a:pt x="2466" y="108"/>
                    </a:lnTo>
                    <a:lnTo>
                      <a:pt x="2448" y="90"/>
                    </a:lnTo>
                    <a:lnTo>
                      <a:pt x="2418" y="90"/>
                    </a:lnTo>
                    <a:lnTo>
                      <a:pt x="2412" y="84"/>
                    </a:lnTo>
                    <a:lnTo>
                      <a:pt x="2412" y="78"/>
                    </a:lnTo>
                    <a:lnTo>
                      <a:pt x="2400" y="66"/>
                    </a:lnTo>
                    <a:lnTo>
                      <a:pt x="2388" y="60"/>
                    </a:lnTo>
                    <a:lnTo>
                      <a:pt x="2376" y="60"/>
                    </a:lnTo>
                    <a:lnTo>
                      <a:pt x="2364" y="72"/>
                    </a:lnTo>
                    <a:lnTo>
                      <a:pt x="2364" y="78"/>
                    </a:lnTo>
                    <a:lnTo>
                      <a:pt x="2352" y="78"/>
                    </a:lnTo>
                    <a:lnTo>
                      <a:pt x="2334" y="60"/>
                    </a:lnTo>
                    <a:lnTo>
                      <a:pt x="2322" y="60"/>
                    </a:lnTo>
                    <a:lnTo>
                      <a:pt x="2304" y="54"/>
                    </a:lnTo>
                    <a:lnTo>
                      <a:pt x="2292" y="48"/>
                    </a:lnTo>
                    <a:lnTo>
                      <a:pt x="2292" y="36"/>
                    </a:lnTo>
                    <a:lnTo>
                      <a:pt x="2298" y="24"/>
                    </a:lnTo>
                    <a:lnTo>
                      <a:pt x="2310" y="12"/>
                    </a:lnTo>
                    <a:lnTo>
                      <a:pt x="2298" y="0"/>
                    </a:lnTo>
                    <a:lnTo>
                      <a:pt x="2286" y="6"/>
                    </a:lnTo>
                    <a:lnTo>
                      <a:pt x="2280" y="12"/>
                    </a:lnTo>
                    <a:lnTo>
                      <a:pt x="2274" y="24"/>
                    </a:lnTo>
                    <a:lnTo>
                      <a:pt x="2274" y="30"/>
                    </a:lnTo>
                    <a:lnTo>
                      <a:pt x="2268" y="42"/>
                    </a:lnTo>
                    <a:lnTo>
                      <a:pt x="558" y="42"/>
                    </a:lnTo>
                    <a:lnTo>
                      <a:pt x="552" y="54"/>
                    </a:lnTo>
                    <a:lnTo>
                      <a:pt x="552" y="60"/>
                    </a:lnTo>
                    <a:lnTo>
                      <a:pt x="546" y="60"/>
                    </a:lnTo>
                    <a:lnTo>
                      <a:pt x="546" y="72"/>
                    </a:lnTo>
                    <a:lnTo>
                      <a:pt x="540" y="84"/>
                    </a:lnTo>
                    <a:lnTo>
                      <a:pt x="540" y="108"/>
                    </a:lnTo>
                    <a:lnTo>
                      <a:pt x="510" y="126"/>
                    </a:lnTo>
                    <a:lnTo>
                      <a:pt x="504" y="144"/>
                    </a:lnTo>
                    <a:lnTo>
                      <a:pt x="486" y="168"/>
                    </a:lnTo>
                    <a:lnTo>
                      <a:pt x="438" y="180"/>
                    </a:lnTo>
                    <a:lnTo>
                      <a:pt x="474" y="162"/>
                    </a:lnTo>
                    <a:lnTo>
                      <a:pt x="450" y="162"/>
                    </a:lnTo>
                    <a:lnTo>
                      <a:pt x="456" y="156"/>
                    </a:lnTo>
                    <a:lnTo>
                      <a:pt x="462" y="144"/>
                    </a:lnTo>
                    <a:lnTo>
                      <a:pt x="486" y="120"/>
                    </a:lnTo>
                    <a:lnTo>
                      <a:pt x="492" y="120"/>
                    </a:lnTo>
                    <a:lnTo>
                      <a:pt x="504" y="108"/>
                    </a:lnTo>
                    <a:lnTo>
                      <a:pt x="504" y="102"/>
                    </a:lnTo>
                    <a:lnTo>
                      <a:pt x="456" y="102"/>
                    </a:lnTo>
                    <a:lnTo>
                      <a:pt x="450" y="96"/>
                    </a:lnTo>
                    <a:lnTo>
                      <a:pt x="438" y="90"/>
                    </a:lnTo>
                    <a:lnTo>
                      <a:pt x="432" y="84"/>
                    </a:lnTo>
                    <a:lnTo>
                      <a:pt x="420" y="78"/>
                    </a:lnTo>
                    <a:lnTo>
                      <a:pt x="402" y="78"/>
                    </a:lnTo>
                    <a:lnTo>
                      <a:pt x="390" y="90"/>
                    </a:lnTo>
                    <a:lnTo>
                      <a:pt x="384" y="102"/>
                    </a:lnTo>
                    <a:lnTo>
                      <a:pt x="384" y="150"/>
                    </a:lnTo>
                    <a:lnTo>
                      <a:pt x="378" y="156"/>
                    </a:lnTo>
                    <a:lnTo>
                      <a:pt x="378" y="162"/>
                    </a:lnTo>
                    <a:lnTo>
                      <a:pt x="360" y="180"/>
                    </a:lnTo>
                    <a:lnTo>
                      <a:pt x="390" y="186"/>
                    </a:lnTo>
                    <a:lnTo>
                      <a:pt x="360" y="192"/>
                    </a:lnTo>
                    <a:lnTo>
                      <a:pt x="366" y="210"/>
                    </a:lnTo>
                    <a:lnTo>
                      <a:pt x="348" y="234"/>
                    </a:lnTo>
                    <a:lnTo>
                      <a:pt x="354" y="234"/>
                    </a:lnTo>
                    <a:lnTo>
                      <a:pt x="366" y="246"/>
                    </a:lnTo>
                    <a:lnTo>
                      <a:pt x="372" y="246"/>
                    </a:lnTo>
                    <a:lnTo>
                      <a:pt x="378" y="252"/>
                    </a:lnTo>
                    <a:lnTo>
                      <a:pt x="330" y="252"/>
                    </a:lnTo>
                    <a:lnTo>
                      <a:pt x="324" y="264"/>
                    </a:lnTo>
                    <a:lnTo>
                      <a:pt x="306" y="282"/>
                    </a:lnTo>
                    <a:lnTo>
                      <a:pt x="270" y="342"/>
                    </a:lnTo>
                    <a:lnTo>
                      <a:pt x="258" y="360"/>
                    </a:lnTo>
                    <a:lnTo>
                      <a:pt x="216" y="402"/>
                    </a:lnTo>
                    <a:lnTo>
                      <a:pt x="192" y="432"/>
                    </a:lnTo>
                    <a:lnTo>
                      <a:pt x="174" y="456"/>
                    </a:lnTo>
                    <a:lnTo>
                      <a:pt x="168" y="462"/>
                    </a:lnTo>
                    <a:lnTo>
                      <a:pt x="174" y="480"/>
                    </a:lnTo>
                    <a:lnTo>
                      <a:pt x="168" y="480"/>
                    </a:lnTo>
                    <a:lnTo>
                      <a:pt x="162" y="486"/>
                    </a:lnTo>
                    <a:lnTo>
                      <a:pt x="150" y="492"/>
                    </a:lnTo>
                    <a:lnTo>
                      <a:pt x="126" y="516"/>
                    </a:lnTo>
                    <a:lnTo>
                      <a:pt x="120" y="534"/>
                    </a:lnTo>
                    <a:lnTo>
                      <a:pt x="120" y="546"/>
                    </a:lnTo>
                    <a:lnTo>
                      <a:pt x="102" y="570"/>
                    </a:lnTo>
                    <a:lnTo>
                      <a:pt x="96" y="618"/>
                    </a:lnTo>
                    <a:lnTo>
                      <a:pt x="90" y="630"/>
                    </a:lnTo>
                    <a:lnTo>
                      <a:pt x="72" y="648"/>
                    </a:lnTo>
                    <a:lnTo>
                      <a:pt x="60" y="672"/>
                    </a:lnTo>
                    <a:lnTo>
                      <a:pt x="54" y="678"/>
                    </a:lnTo>
                    <a:lnTo>
                      <a:pt x="42" y="684"/>
                    </a:lnTo>
                    <a:lnTo>
                      <a:pt x="18" y="708"/>
                    </a:lnTo>
                    <a:lnTo>
                      <a:pt x="12" y="720"/>
                    </a:lnTo>
                    <a:lnTo>
                      <a:pt x="18" y="732"/>
                    </a:lnTo>
                    <a:lnTo>
                      <a:pt x="36" y="750"/>
                    </a:lnTo>
                    <a:lnTo>
                      <a:pt x="36" y="762"/>
                    </a:lnTo>
                    <a:lnTo>
                      <a:pt x="30" y="774"/>
                    </a:lnTo>
                    <a:lnTo>
                      <a:pt x="18" y="786"/>
                    </a:lnTo>
                    <a:lnTo>
                      <a:pt x="12" y="798"/>
                    </a:lnTo>
                    <a:lnTo>
                      <a:pt x="6" y="816"/>
                    </a:lnTo>
                    <a:lnTo>
                      <a:pt x="0" y="828"/>
                    </a:lnTo>
                    <a:lnTo>
                      <a:pt x="0" y="840"/>
                    </a:lnTo>
                    <a:lnTo>
                      <a:pt x="6" y="852"/>
                    </a:lnTo>
                    <a:lnTo>
                      <a:pt x="12" y="870"/>
                    </a:lnTo>
                    <a:lnTo>
                      <a:pt x="12" y="882"/>
                    </a:lnTo>
                    <a:lnTo>
                      <a:pt x="18" y="900"/>
                    </a:lnTo>
                    <a:lnTo>
                      <a:pt x="24" y="906"/>
                    </a:lnTo>
                    <a:lnTo>
                      <a:pt x="24" y="912"/>
                    </a:lnTo>
                    <a:lnTo>
                      <a:pt x="48" y="894"/>
                    </a:lnTo>
                    <a:lnTo>
                      <a:pt x="114" y="900"/>
                    </a:lnTo>
                    <a:lnTo>
                      <a:pt x="78" y="900"/>
                    </a:lnTo>
                    <a:lnTo>
                      <a:pt x="66" y="906"/>
                    </a:lnTo>
                    <a:lnTo>
                      <a:pt x="60" y="906"/>
                    </a:lnTo>
                    <a:lnTo>
                      <a:pt x="48" y="918"/>
                    </a:lnTo>
                    <a:lnTo>
                      <a:pt x="48" y="942"/>
                    </a:lnTo>
                    <a:lnTo>
                      <a:pt x="30" y="924"/>
                    </a:lnTo>
                    <a:lnTo>
                      <a:pt x="24" y="924"/>
                    </a:lnTo>
                    <a:lnTo>
                      <a:pt x="18" y="936"/>
                    </a:lnTo>
                    <a:lnTo>
                      <a:pt x="18" y="942"/>
                    </a:lnTo>
                    <a:lnTo>
                      <a:pt x="12" y="960"/>
                    </a:lnTo>
                    <a:lnTo>
                      <a:pt x="12" y="978"/>
                    </a:lnTo>
                    <a:lnTo>
                      <a:pt x="18" y="984"/>
                    </a:lnTo>
                    <a:lnTo>
                      <a:pt x="30" y="990"/>
                    </a:lnTo>
                    <a:lnTo>
                      <a:pt x="42" y="990"/>
                    </a:lnTo>
                    <a:lnTo>
                      <a:pt x="42" y="1002"/>
                    </a:lnTo>
                    <a:lnTo>
                      <a:pt x="36" y="1008"/>
                    </a:lnTo>
                    <a:lnTo>
                      <a:pt x="36" y="1014"/>
                    </a:lnTo>
                    <a:lnTo>
                      <a:pt x="18" y="1032"/>
                    </a:lnTo>
                    <a:lnTo>
                      <a:pt x="12" y="1044"/>
                    </a:lnTo>
                    <a:lnTo>
                      <a:pt x="12" y="1056"/>
                    </a:lnTo>
                    <a:lnTo>
                      <a:pt x="18" y="1068"/>
                    </a:lnTo>
                    <a:lnTo>
                      <a:pt x="24" y="1074"/>
                    </a:lnTo>
                    <a:lnTo>
                      <a:pt x="36" y="1098"/>
                    </a:lnTo>
                    <a:lnTo>
                      <a:pt x="42" y="1104"/>
                    </a:lnTo>
                    <a:lnTo>
                      <a:pt x="54" y="1128"/>
                    </a:lnTo>
                    <a:lnTo>
                      <a:pt x="60" y="1134"/>
                    </a:lnTo>
                    <a:lnTo>
                      <a:pt x="60" y="1146"/>
                    </a:lnTo>
                    <a:lnTo>
                      <a:pt x="54" y="1152"/>
                    </a:lnTo>
                    <a:lnTo>
                      <a:pt x="42" y="1176"/>
                    </a:lnTo>
                    <a:lnTo>
                      <a:pt x="36" y="1182"/>
                    </a:lnTo>
                    <a:lnTo>
                      <a:pt x="36" y="1188"/>
                    </a:lnTo>
                    <a:lnTo>
                      <a:pt x="42" y="1194"/>
                    </a:lnTo>
                    <a:lnTo>
                      <a:pt x="54" y="1194"/>
                    </a:lnTo>
                    <a:lnTo>
                      <a:pt x="72" y="1200"/>
                    </a:lnTo>
                    <a:lnTo>
                      <a:pt x="102" y="1200"/>
                    </a:lnTo>
                    <a:lnTo>
                      <a:pt x="102" y="1212"/>
                    </a:lnTo>
                    <a:lnTo>
                      <a:pt x="120" y="1230"/>
                    </a:lnTo>
                    <a:lnTo>
                      <a:pt x="132" y="1230"/>
                    </a:lnTo>
                    <a:lnTo>
                      <a:pt x="144" y="1224"/>
                    </a:lnTo>
                    <a:lnTo>
                      <a:pt x="150" y="1224"/>
                    </a:lnTo>
                    <a:lnTo>
                      <a:pt x="162" y="1218"/>
                    </a:lnTo>
                    <a:lnTo>
                      <a:pt x="168" y="1248"/>
                    </a:lnTo>
                    <a:lnTo>
                      <a:pt x="174" y="1248"/>
                    </a:lnTo>
                    <a:lnTo>
                      <a:pt x="180" y="1254"/>
                    </a:lnTo>
                    <a:lnTo>
                      <a:pt x="204" y="1266"/>
                    </a:lnTo>
                    <a:lnTo>
                      <a:pt x="216" y="1290"/>
                    </a:lnTo>
                    <a:lnTo>
                      <a:pt x="216" y="1314"/>
                    </a:lnTo>
                    <a:lnTo>
                      <a:pt x="210" y="1338"/>
                    </a:lnTo>
                    <a:lnTo>
                      <a:pt x="216" y="1344"/>
                    </a:lnTo>
                    <a:lnTo>
                      <a:pt x="360" y="1338"/>
                    </a:lnTo>
                    <a:lnTo>
                      <a:pt x="354" y="1344"/>
                    </a:lnTo>
                    <a:lnTo>
                      <a:pt x="354" y="1350"/>
                    </a:lnTo>
                    <a:lnTo>
                      <a:pt x="360" y="1350"/>
                    </a:lnTo>
                    <a:lnTo>
                      <a:pt x="570" y="1446"/>
                    </a:lnTo>
                    <a:lnTo>
                      <a:pt x="774" y="1446"/>
                    </a:lnTo>
                    <a:lnTo>
                      <a:pt x="774" y="1440"/>
                    </a:lnTo>
                    <a:lnTo>
                      <a:pt x="780" y="1428"/>
                    </a:lnTo>
                    <a:lnTo>
                      <a:pt x="780" y="1410"/>
                    </a:lnTo>
                    <a:lnTo>
                      <a:pt x="786" y="1404"/>
                    </a:lnTo>
                    <a:lnTo>
                      <a:pt x="900" y="1404"/>
                    </a:lnTo>
                    <a:lnTo>
                      <a:pt x="912" y="1416"/>
                    </a:lnTo>
                    <a:lnTo>
                      <a:pt x="912" y="1440"/>
                    </a:lnTo>
                    <a:lnTo>
                      <a:pt x="942" y="1452"/>
                    </a:lnTo>
                    <a:lnTo>
                      <a:pt x="948" y="1482"/>
                    </a:lnTo>
                    <a:lnTo>
                      <a:pt x="960" y="1482"/>
                    </a:lnTo>
                    <a:lnTo>
                      <a:pt x="972" y="1488"/>
                    </a:lnTo>
                    <a:lnTo>
                      <a:pt x="984" y="1500"/>
                    </a:lnTo>
                    <a:lnTo>
                      <a:pt x="990" y="1512"/>
                    </a:lnTo>
                    <a:lnTo>
                      <a:pt x="990" y="1554"/>
                    </a:lnTo>
                    <a:lnTo>
                      <a:pt x="984" y="1566"/>
                    </a:lnTo>
                    <a:lnTo>
                      <a:pt x="984" y="1578"/>
                    </a:lnTo>
                    <a:lnTo>
                      <a:pt x="1014" y="1608"/>
                    </a:lnTo>
                    <a:lnTo>
                      <a:pt x="1026" y="1614"/>
                    </a:lnTo>
                    <a:lnTo>
                      <a:pt x="1044" y="1626"/>
                    </a:lnTo>
                    <a:lnTo>
                      <a:pt x="1056" y="1626"/>
                    </a:lnTo>
                    <a:lnTo>
                      <a:pt x="1080" y="1614"/>
                    </a:lnTo>
                    <a:lnTo>
                      <a:pt x="1092" y="1602"/>
                    </a:lnTo>
                    <a:lnTo>
                      <a:pt x="1104" y="1578"/>
                    </a:lnTo>
                    <a:lnTo>
                      <a:pt x="1116" y="1566"/>
                    </a:lnTo>
                    <a:lnTo>
                      <a:pt x="1134" y="1566"/>
                    </a:lnTo>
                    <a:lnTo>
                      <a:pt x="1134" y="1560"/>
                    </a:lnTo>
                    <a:lnTo>
                      <a:pt x="1152" y="1566"/>
                    </a:lnTo>
                    <a:lnTo>
                      <a:pt x="1194" y="1566"/>
                    </a:lnTo>
                    <a:lnTo>
                      <a:pt x="1200" y="1578"/>
                    </a:lnTo>
                    <a:lnTo>
                      <a:pt x="1206" y="1584"/>
                    </a:lnTo>
                    <a:lnTo>
                      <a:pt x="1212" y="1596"/>
                    </a:lnTo>
                    <a:lnTo>
                      <a:pt x="1224" y="1608"/>
                    </a:lnTo>
                    <a:lnTo>
                      <a:pt x="1230" y="1620"/>
                    </a:lnTo>
                    <a:lnTo>
                      <a:pt x="1242" y="1632"/>
                    </a:lnTo>
                    <a:lnTo>
                      <a:pt x="1242" y="1656"/>
                    </a:lnTo>
                    <a:lnTo>
                      <a:pt x="1236" y="1668"/>
                    </a:lnTo>
                    <a:lnTo>
                      <a:pt x="1236" y="1680"/>
                    </a:lnTo>
                    <a:lnTo>
                      <a:pt x="1242" y="1692"/>
                    </a:lnTo>
                    <a:lnTo>
                      <a:pt x="1254" y="1698"/>
                    </a:lnTo>
                    <a:lnTo>
                      <a:pt x="1254" y="1722"/>
                    </a:lnTo>
                    <a:lnTo>
                      <a:pt x="1260" y="1728"/>
                    </a:lnTo>
                    <a:lnTo>
                      <a:pt x="1272" y="1734"/>
                    </a:lnTo>
                    <a:lnTo>
                      <a:pt x="1284" y="1746"/>
                    </a:lnTo>
                    <a:lnTo>
                      <a:pt x="1284" y="1752"/>
                    </a:lnTo>
                    <a:lnTo>
                      <a:pt x="1278" y="1758"/>
                    </a:lnTo>
                    <a:lnTo>
                      <a:pt x="1272" y="1758"/>
                    </a:lnTo>
                    <a:lnTo>
                      <a:pt x="1272" y="1794"/>
                    </a:lnTo>
                    <a:lnTo>
                      <a:pt x="1284" y="1806"/>
                    </a:lnTo>
                    <a:lnTo>
                      <a:pt x="1284" y="1836"/>
                    </a:lnTo>
                    <a:lnTo>
                      <a:pt x="1296" y="1848"/>
                    </a:lnTo>
                    <a:lnTo>
                      <a:pt x="1314" y="1854"/>
                    </a:lnTo>
                    <a:lnTo>
                      <a:pt x="1326" y="1854"/>
                    </a:lnTo>
                    <a:lnTo>
                      <a:pt x="1338" y="1866"/>
                    </a:lnTo>
                    <a:lnTo>
                      <a:pt x="1380" y="1866"/>
                    </a:lnTo>
                    <a:lnTo>
                      <a:pt x="1380" y="1872"/>
                    </a:lnTo>
                    <a:lnTo>
                      <a:pt x="1386" y="1884"/>
                    </a:lnTo>
                    <a:lnTo>
                      <a:pt x="1410" y="1884"/>
                    </a:lnTo>
                    <a:lnTo>
                      <a:pt x="1410" y="1878"/>
                    </a:lnTo>
                    <a:lnTo>
                      <a:pt x="1398" y="1806"/>
                    </a:lnTo>
                    <a:lnTo>
                      <a:pt x="1416" y="1788"/>
                    </a:lnTo>
                    <a:lnTo>
                      <a:pt x="1398" y="1776"/>
                    </a:lnTo>
                    <a:lnTo>
                      <a:pt x="1398" y="1758"/>
                    </a:lnTo>
                    <a:lnTo>
                      <a:pt x="1404" y="1764"/>
                    </a:lnTo>
                    <a:lnTo>
                      <a:pt x="1422" y="1764"/>
                    </a:lnTo>
                    <a:lnTo>
                      <a:pt x="1428" y="1758"/>
                    </a:lnTo>
                    <a:lnTo>
                      <a:pt x="1428" y="1728"/>
                    </a:lnTo>
                    <a:lnTo>
                      <a:pt x="1452" y="1722"/>
                    </a:lnTo>
                    <a:lnTo>
                      <a:pt x="1458" y="1698"/>
                    </a:lnTo>
                    <a:lnTo>
                      <a:pt x="1476" y="1704"/>
                    </a:lnTo>
                    <a:lnTo>
                      <a:pt x="1494" y="1692"/>
                    </a:lnTo>
                    <a:lnTo>
                      <a:pt x="1488" y="1668"/>
                    </a:lnTo>
                    <a:lnTo>
                      <a:pt x="1500" y="1680"/>
                    </a:lnTo>
                    <a:lnTo>
                      <a:pt x="1500" y="1668"/>
                    </a:lnTo>
                    <a:lnTo>
                      <a:pt x="1506" y="1656"/>
                    </a:lnTo>
                    <a:lnTo>
                      <a:pt x="1512" y="1650"/>
                    </a:lnTo>
                    <a:lnTo>
                      <a:pt x="1518" y="1650"/>
                    </a:lnTo>
                    <a:lnTo>
                      <a:pt x="1524" y="1656"/>
                    </a:lnTo>
                    <a:lnTo>
                      <a:pt x="1524" y="1668"/>
                    </a:lnTo>
                    <a:lnTo>
                      <a:pt x="1542" y="1668"/>
                    </a:lnTo>
                    <a:lnTo>
                      <a:pt x="1554" y="1662"/>
                    </a:lnTo>
                    <a:lnTo>
                      <a:pt x="1572" y="1656"/>
                    </a:lnTo>
                    <a:lnTo>
                      <a:pt x="1596" y="1644"/>
                    </a:lnTo>
                    <a:lnTo>
                      <a:pt x="1602" y="1638"/>
                    </a:lnTo>
                    <a:lnTo>
                      <a:pt x="1608" y="1626"/>
                    </a:lnTo>
                    <a:lnTo>
                      <a:pt x="1620" y="1620"/>
                    </a:lnTo>
                    <a:lnTo>
                      <a:pt x="1626" y="1608"/>
                    </a:lnTo>
                    <a:lnTo>
                      <a:pt x="1632" y="1602"/>
                    </a:lnTo>
                    <a:lnTo>
                      <a:pt x="1632" y="1590"/>
                    </a:lnTo>
                    <a:lnTo>
                      <a:pt x="1626" y="1584"/>
                    </a:lnTo>
                    <a:lnTo>
                      <a:pt x="1626" y="1566"/>
                    </a:lnTo>
                    <a:lnTo>
                      <a:pt x="1632" y="1566"/>
                    </a:lnTo>
                    <a:lnTo>
                      <a:pt x="1656" y="1578"/>
                    </a:lnTo>
                    <a:lnTo>
                      <a:pt x="1662" y="1584"/>
                    </a:lnTo>
                    <a:lnTo>
                      <a:pt x="1674" y="1590"/>
                    </a:lnTo>
                    <a:lnTo>
                      <a:pt x="1686" y="1590"/>
                    </a:lnTo>
                    <a:lnTo>
                      <a:pt x="1692" y="1584"/>
                    </a:lnTo>
                    <a:lnTo>
                      <a:pt x="1710" y="1548"/>
                    </a:lnTo>
                    <a:lnTo>
                      <a:pt x="1716" y="1548"/>
                    </a:lnTo>
                    <a:lnTo>
                      <a:pt x="1734" y="1566"/>
                    </a:lnTo>
                    <a:lnTo>
                      <a:pt x="1746" y="1566"/>
                    </a:lnTo>
                    <a:lnTo>
                      <a:pt x="1752" y="1560"/>
                    </a:lnTo>
                    <a:lnTo>
                      <a:pt x="1758" y="1548"/>
                    </a:lnTo>
                    <a:lnTo>
                      <a:pt x="1764" y="1542"/>
                    </a:lnTo>
                    <a:lnTo>
                      <a:pt x="1770" y="1554"/>
                    </a:lnTo>
                    <a:lnTo>
                      <a:pt x="1776" y="1560"/>
                    </a:lnTo>
                    <a:lnTo>
                      <a:pt x="1782" y="1572"/>
                    </a:lnTo>
                    <a:lnTo>
                      <a:pt x="1794" y="1578"/>
                    </a:lnTo>
                    <a:lnTo>
                      <a:pt x="1800" y="1584"/>
                    </a:lnTo>
                    <a:lnTo>
                      <a:pt x="1818" y="1584"/>
                    </a:lnTo>
                    <a:lnTo>
                      <a:pt x="1824" y="1578"/>
                    </a:lnTo>
                    <a:lnTo>
                      <a:pt x="1830" y="1566"/>
                    </a:lnTo>
                    <a:lnTo>
                      <a:pt x="1842" y="1554"/>
                    </a:lnTo>
                    <a:lnTo>
                      <a:pt x="1848" y="1554"/>
                    </a:lnTo>
                    <a:lnTo>
                      <a:pt x="1860" y="1560"/>
                    </a:lnTo>
                    <a:lnTo>
                      <a:pt x="1872" y="1572"/>
                    </a:lnTo>
                    <a:lnTo>
                      <a:pt x="1872" y="1584"/>
                    </a:lnTo>
                    <a:lnTo>
                      <a:pt x="1878" y="1596"/>
                    </a:lnTo>
                    <a:lnTo>
                      <a:pt x="1878" y="1614"/>
                    </a:lnTo>
                    <a:lnTo>
                      <a:pt x="1914" y="1614"/>
                    </a:lnTo>
                    <a:lnTo>
                      <a:pt x="1920" y="1620"/>
                    </a:lnTo>
                    <a:lnTo>
                      <a:pt x="1926" y="1620"/>
                    </a:lnTo>
                    <a:lnTo>
                      <a:pt x="1926" y="1608"/>
                    </a:lnTo>
                    <a:lnTo>
                      <a:pt x="1932" y="1602"/>
                    </a:lnTo>
                    <a:lnTo>
                      <a:pt x="1932" y="1608"/>
                    </a:lnTo>
                    <a:lnTo>
                      <a:pt x="1956" y="1632"/>
                    </a:lnTo>
                    <a:lnTo>
                      <a:pt x="1962" y="1626"/>
                    </a:lnTo>
                    <a:lnTo>
                      <a:pt x="1968" y="1614"/>
                    </a:lnTo>
                    <a:lnTo>
                      <a:pt x="1968" y="1596"/>
                    </a:lnTo>
                    <a:lnTo>
                      <a:pt x="1962" y="1584"/>
                    </a:lnTo>
                    <a:lnTo>
                      <a:pt x="1980" y="1590"/>
                    </a:lnTo>
                    <a:lnTo>
                      <a:pt x="1992" y="1608"/>
                    </a:lnTo>
                    <a:lnTo>
                      <a:pt x="2004" y="1614"/>
                    </a:lnTo>
                    <a:lnTo>
                      <a:pt x="2004" y="1626"/>
                    </a:lnTo>
                    <a:lnTo>
                      <a:pt x="2010" y="1626"/>
                    </a:lnTo>
                    <a:lnTo>
                      <a:pt x="2016" y="1632"/>
                    </a:lnTo>
                    <a:lnTo>
                      <a:pt x="2028" y="1632"/>
                    </a:lnTo>
                    <a:lnTo>
                      <a:pt x="2034" y="1626"/>
                    </a:lnTo>
                    <a:lnTo>
                      <a:pt x="2034" y="1620"/>
                    </a:lnTo>
                    <a:lnTo>
                      <a:pt x="2028" y="1608"/>
                    </a:lnTo>
                    <a:lnTo>
                      <a:pt x="2022" y="1602"/>
                    </a:lnTo>
                    <a:lnTo>
                      <a:pt x="2010" y="1596"/>
                    </a:lnTo>
                    <a:lnTo>
                      <a:pt x="2004" y="1590"/>
                    </a:lnTo>
                    <a:lnTo>
                      <a:pt x="1998" y="1578"/>
                    </a:lnTo>
                    <a:lnTo>
                      <a:pt x="2010" y="1578"/>
                    </a:lnTo>
                    <a:lnTo>
                      <a:pt x="2022" y="1566"/>
                    </a:lnTo>
                    <a:lnTo>
                      <a:pt x="2022" y="1554"/>
                    </a:lnTo>
                    <a:lnTo>
                      <a:pt x="2016" y="1548"/>
                    </a:lnTo>
                    <a:lnTo>
                      <a:pt x="1968" y="1548"/>
                    </a:lnTo>
                    <a:lnTo>
                      <a:pt x="1962" y="1542"/>
                    </a:lnTo>
                    <a:lnTo>
                      <a:pt x="1962" y="1530"/>
                    </a:lnTo>
                    <a:lnTo>
                      <a:pt x="1968" y="1524"/>
                    </a:lnTo>
                    <a:lnTo>
                      <a:pt x="1986" y="1524"/>
                    </a:lnTo>
                    <a:lnTo>
                      <a:pt x="1998" y="1530"/>
                    </a:lnTo>
                    <a:lnTo>
                      <a:pt x="2004" y="1530"/>
                    </a:lnTo>
                    <a:lnTo>
                      <a:pt x="2016" y="1536"/>
                    </a:lnTo>
                    <a:lnTo>
                      <a:pt x="2028" y="1536"/>
                    </a:lnTo>
                    <a:lnTo>
                      <a:pt x="2064" y="1518"/>
                    </a:lnTo>
                    <a:lnTo>
                      <a:pt x="2070" y="1512"/>
                    </a:lnTo>
                    <a:lnTo>
                      <a:pt x="2082" y="1512"/>
                    </a:lnTo>
                    <a:lnTo>
                      <a:pt x="2082" y="1518"/>
                    </a:lnTo>
                    <a:lnTo>
                      <a:pt x="2106" y="1518"/>
                    </a:lnTo>
                    <a:lnTo>
                      <a:pt x="2118" y="1512"/>
                    </a:lnTo>
                    <a:lnTo>
                      <a:pt x="2124" y="1512"/>
                    </a:lnTo>
                    <a:lnTo>
                      <a:pt x="2130" y="1506"/>
                    </a:lnTo>
                    <a:lnTo>
                      <a:pt x="2130" y="1500"/>
                    </a:lnTo>
                    <a:lnTo>
                      <a:pt x="2136" y="1488"/>
                    </a:lnTo>
                    <a:lnTo>
                      <a:pt x="2136" y="1482"/>
                    </a:lnTo>
                    <a:lnTo>
                      <a:pt x="2142" y="1482"/>
                    </a:lnTo>
                    <a:lnTo>
                      <a:pt x="2142" y="1488"/>
                    </a:lnTo>
                    <a:lnTo>
                      <a:pt x="2148" y="1500"/>
                    </a:lnTo>
                    <a:lnTo>
                      <a:pt x="2148" y="1524"/>
                    </a:lnTo>
                    <a:lnTo>
                      <a:pt x="2154" y="1524"/>
                    </a:lnTo>
                    <a:lnTo>
                      <a:pt x="2160" y="1518"/>
                    </a:lnTo>
                    <a:lnTo>
                      <a:pt x="2172" y="1512"/>
                    </a:lnTo>
                    <a:lnTo>
                      <a:pt x="2190" y="1512"/>
                    </a:lnTo>
                    <a:lnTo>
                      <a:pt x="2202" y="1506"/>
                    </a:lnTo>
                    <a:lnTo>
                      <a:pt x="2214" y="1506"/>
                    </a:lnTo>
                    <a:lnTo>
                      <a:pt x="2226" y="1512"/>
                    </a:lnTo>
                    <a:lnTo>
                      <a:pt x="2232" y="1524"/>
                    </a:lnTo>
                    <a:lnTo>
                      <a:pt x="2232" y="1506"/>
                    </a:lnTo>
                    <a:lnTo>
                      <a:pt x="2244" y="1506"/>
                    </a:lnTo>
                    <a:lnTo>
                      <a:pt x="2256" y="1518"/>
                    </a:lnTo>
                    <a:lnTo>
                      <a:pt x="2256" y="1530"/>
                    </a:lnTo>
                    <a:lnTo>
                      <a:pt x="2286" y="1524"/>
                    </a:lnTo>
                    <a:lnTo>
                      <a:pt x="2280" y="1536"/>
                    </a:lnTo>
                    <a:lnTo>
                      <a:pt x="2280" y="1548"/>
                    </a:lnTo>
                    <a:lnTo>
                      <a:pt x="2286" y="1554"/>
                    </a:lnTo>
                    <a:lnTo>
                      <a:pt x="2286" y="1566"/>
                    </a:lnTo>
                    <a:lnTo>
                      <a:pt x="2298" y="1578"/>
                    </a:lnTo>
                    <a:lnTo>
                      <a:pt x="2310" y="1578"/>
                    </a:lnTo>
                    <a:lnTo>
                      <a:pt x="2328" y="1572"/>
                    </a:lnTo>
                    <a:lnTo>
                      <a:pt x="2352" y="1548"/>
                    </a:lnTo>
                    <a:lnTo>
                      <a:pt x="2370" y="1542"/>
                    </a:lnTo>
                    <a:lnTo>
                      <a:pt x="2382" y="1542"/>
                    </a:lnTo>
                    <a:lnTo>
                      <a:pt x="2394" y="1548"/>
                    </a:lnTo>
                    <a:lnTo>
                      <a:pt x="2400" y="1554"/>
                    </a:lnTo>
                    <a:lnTo>
                      <a:pt x="2418" y="1590"/>
                    </a:lnTo>
                    <a:lnTo>
                      <a:pt x="2418" y="1602"/>
                    </a:lnTo>
                    <a:lnTo>
                      <a:pt x="2424" y="1608"/>
                    </a:lnTo>
                    <a:lnTo>
                      <a:pt x="2436" y="1614"/>
                    </a:lnTo>
                    <a:lnTo>
                      <a:pt x="2466" y="1614"/>
                    </a:lnTo>
                    <a:lnTo>
                      <a:pt x="2460" y="1656"/>
                    </a:lnTo>
                    <a:lnTo>
                      <a:pt x="2460" y="1662"/>
                    </a:lnTo>
                    <a:lnTo>
                      <a:pt x="2454" y="1668"/>
                    </a:lnTo>
                    <a:lnTo>
                      <a:pt x="2436" y="1704"/>
                    </a:lnTo>
                    <a:lnTo>
                      <a:pt x="2436" y="1710"/>
                    </a:lnTo>
                    <a:lnTo>
                      <a:pt x="2448" y="1722"/>
                    </a:lnTo>
                    <a:lnTo>
                      <a:pt x="2454" y="1722"/>
                    </a:lnTo>
                    <a:lnTo>
                      <a:pt x="2460" y="1734"/>
                    </a:lnTo>
                    <a:lnTo>
                      <a:pt x="2436" y="1758"/>
                    </a:lnTo>
                    <a:lnTo>
                      <a:pt x="2454" y="1806"/>
                    </a:lnTo>
                    <a:lnTo>
                      <a:pt x="2472" y="1788"/>
                    </a:lnTo>
                    <a:lnTo>
                      <a:pt x="2478" y="1788"/>
                    </a:lnTo>
                    <a:lnTo>
                      <a:pt x="2478" y="1794"/>
                    </a:lnTo>
                    <a:lnTo>
                      <a:pt x="2472" y="1800"/>
                    </a:lnTo>
                    <a:lnTo>
                      <a:pt x="2466" y="1812"/>
                    </a:lnTo>
                    <a:lnTo>
                      <a:pt x="2466" y="1818"/>
                    </a:lnTo>
                    <a:lnTo>
                      <a:pt x="2460" y="1830"/>
                    </a:lnTo>
                    <a:lnTo>
                      <a:pt x="2478" y="1830"/>
                    </a:lnTo>
                    <a:lnTo>
                      <a:pt x="2478" y="1878"/>
                    </a:lnTo>
                    <a:lnTo>
                      <a:pt x="2496" y="1878"/>
                    </a:lnTo>
                    <a:lnTo>
                      <a:pt x="2502" y="1884"/>
                    </a:lnTo>
                    <a:lnTo>
                      <a:pt x="2508" y="1884"/>
                    </a:lnTo>
                    <a:lnTo>
                      <a:pt x="2508" y="1896"/>
                    </a:lnTo>
                    <a:lnTo>
                      <a:pt x="2502" y="1908"/>
                    </a:lnTo>
                    <a:lnTo>
                      <a:pt x="2502" y="1920"/>
                    </a:lnTo>
                    <a:lnTo>
                      <a:pt x="2526" y="1944"/>
                    </a:lnTo>
                    <a:lnTo>
                      <a:pt x="2532" y="1944"/>
                    </a:lnTo>
                    <a:lnTo>
                      <a:pt x="2538" y="1938"/>
                    </a:lnTo>
                    <a:lnTo>
                      <a:pt x="2550" y="1932"/>
                    </a:lnTo>
                    <a:lnTo>
                      <a:pt x="2556" y="1932"/>
                    </a:lnTo>
                    <a:lnTo>
                      <a:pt x="2562" y="1926"/>
                    </a:lnTo>
                    <a:lnTo>
                      <a:pt x="2568" y="1914"/>
                    </a:lnTo>
                    <a:lnTo>
                      <a:pt x="2568" y="1896"/>
                    </a:lnTo>
                    <a:lnTo>
                      <a:pt x="2586" y="1896"/>
                    </a:lnTo>
                    <a:lnTo>
                      <a:pt x="2586" y="1872"/>
                    </a:lnTo>
                    <a:lnTo>
                      <a:pt x="2604" y="1836"/>
                    </a:lnTo>
                    <a:lnTo>
                      <a:pt x="2604" y="1818"/>
                    </a:lnTo>
                    <a:lnTo>
                      <a:pt x="2610" y="1806"/>
                    </a:lnTo>
                    <a:lnTo>
                      <a:pt x="2610" y="1794"/>
                    </a:lnTo>
                    <a:lnTo>
                      <a:pt x="2604" y="1782"/>
                    </a:lnTo>
                    <a:lnTo>
                      <a:pt x="2604" y="1770"/>
                    </a:lnTo>
                    <a:lnTo>
                      <a:pt x="2598" y="1752"/>
                    </a:lnTo>
                    <a:lnTo>
                      <a:pt x="2592" y="1740"/>
                    </a:lnTo>
                    <a:lnTo>
                      <a:pt x="2586" y="1722"/>
                    </a:lnTo>
                    <a:lnTo>
                      <a:pt x="2586" y="1704"/>
                    </a:lnTo>
                    <a:lnTo>
                      <a:pt x="2592" y="1686"/>
                    </a:lnTo>
                    <a:lnTo>
                      <a:pt x="2598" y="1674"/>
                    </a:lnTo>
                    <a:lnTo>
                      <a:pt x="2598" y="1644"/>
                    </a:lnTo>
                    <a:lnTo>
                      <a:pt x="2592" y="1626"/>
                    </a:lnTo>
                    <a:lnTo>
                      <a:pt x="2586" y="1614"/>
                    </a:lnTo>
                    <a:lnTo>
                      <a:pt x="2580" y="1596"/>
                    </a:lnTo>
                    <a:lnTo>
                      <a:pt x="2574" y="1584"/>
                    </a:lnTo>
                    <a:lnTo>
                      <a:pt x="2574" y="1518"/>
                    </a:lnTo>
                    <a:lnTo>
                      <a:pt x="2580" y="1488"/>
                    </a:lnTo>
                    <a:lnTo>
                      <a:pt x="2586" y="1470"/>
                    </a:lnTo>
                    <a:lnTo>
                      <a:pt x="2598" y="1452"/>
                    </a:lnTo>
                    <a:lnTo>
                      <a:pt x="2604" y="1440"/>
                    </a:lnTo>
                    <a:lnTo>
                      <a:pt x="2610" y="1422"/>
                    </a:lnTo>
                    <a:lnTo>
                      <a:pt x="2616" y="1416"/>
                    </a:lnTo>
                    <a:lnTo>
                      <a:pt x="2616" y="1410"/>
                    </a:lnTo>
                    <a:lnTo>
                      <a:pt x="2628" y="1398"/>
                    </a:lnTo>
                    <a:lnTo>
                      <a:pt x="2652" y="1380"/>
                    </a:lnTo>
                    <a:lnTo>
                      <a:pt x="2658" y="1356"/>
                    </a:lnTo>
                    <a:lnTo>
                      <a:pt x="2670" y="1368"/>
                    </a:lnTo>
                    <a:lnTo>
                      <a:pt x="2676" y="1344"/>
                    </a:lnTo>
                    <a:lnTo>
                      <a:pt x="2730" y="1344"/>
                    </a:lnTo>
                    <a:lnTo>
                      <a:pt x="2730" y="1314"/>
                    </a:lnTo>
                    <a:lnTo>
                      <a:pt x="2748" y="1320"/>
                    </a:lnTo>
                    <a:lnTo>
                      <a:pt x="2754" y="1308"/>
                    </a:lnTo>
                    <a:lnTo>
                      <a:pt x="2772" y="1308"/>
                    </a:lnTo>
                    <a:lnTo>
                      <a:pt x="2796" y="1278"/>
                    </a:lnTo>
                    <a:lnTo>
                      <a:pt x="2796" y="1272"/>
                    </a:lnTo>
                    <a:lnTo>
                      <a:pt x="2802" y="1266"/>
                    </a:lnTo>
                    <a:lnTo>
                      <a:pt x="2814" y="1242"/>
                    </a:lnTo>
                    <a:lnTo>
                      <a:pt x="2832" y="1236"/>
                    </a:lnTo>
                    <a:lnTo>
                      <a:pt x="2862" y="1236"/>
                    </a:lnTo>
                    <a:lnTo>
                      <a:pt x="2874" y="1242"/>
                    </a:lnTo>
                    <a:lnTo>
                      <a:pt x="2886" y="1242"/>
                    </a:lnTo>
                    <a:lnTo>
                      <a:pt x="2892" y="1236"/>
                    </a:lnTo>
                    <a:lnTo>
                      <a:pt x="2904" y="1212"/>
                    </a:lnTo>
                    <a:lnTo>
                      <a:pt x="2910" y="1206"/>
                    </a:lnTo>
                    <a:lnTo>
                      <a:pt x="2916" y="1194"/>
                    </a:lnTo>
                    <a:lnTo>
                      <a:pt x="2928" y="1200"/>
                    </a:lnTo>
                    <a:lnTo>
                      <a:pt x="2934" y="1176"/>
                    </a:lnTo>
                    <a:lnTo>
                      <a:pt x="3018" y="1170"/>
                    </a:lnTo>
                    <a:lnTo>
                      <a:pt x="3024" y="1146"/>
                    </a:lnTo>
                    <a:lnTo>
                      <a:pt x="2982" y="1152"/>
                    </a:lnTo>
                    <a:lnTo>
                      <a:pt x="2988" y="1146"/>
                    </a:lnTo>
                    <a:lnTo>
                      <a:pt x="3000" y="1140"/>
                    </a:lnTo>
                    <a:lnTo>
                      <a:pt x="3006" y="1140"/>
                    </a:lnTo>
                    <a:lnTo>
                      <a:pt x="3006" y="1134"/>
                    </a:lnTo>
                    <a:lnTo>
                      <a:pt x="3000" y="1128"/>
                    </a:lnTo>
                    <a:lnTo>
                      <a:pt x="2994" y="1116"/>
                    </a:lnTo>
                    <a:lnTo>
                      <a:pt x="2988" y="1110"/>
                    </a:lnTo>
                    <a:lnTo>
                      <a:pt x="3024" y="1104"/>
                    </a:lnTo>
                    <a:lnTo>
                      <a:pt x="3048" y="1116"/>
                    </a:lnTo>
                    <a:lnTo>
                      <a:pt x="3078" y="1080"/>
                    </a:lnTo>
                    <a:lnTo>
                      <a:pt x="3024" y="1074"/>
                    </a:lnTo>
                    <a:lnTo>
                      <a:pt x="3024" y="1050"/>
                    </a:lnTo>
                    <a:lnTo>
                      <a:pt x="3036" y="1062"/>
                    </a:lnTo>
                    <a:lnTo>
                      <a:pt x="3078" y="1050"/>
                    </a:lnTo>
                    <a:lnTo>
                      <a:pt x="3084" y="990"/>
                    </a:lnTo>
                    <a:lnTo>
                      <a:pt x="3054" y="1002"/>
                    </a:lnTo>
                    <a:lnTo>
                      <a:pt x="3048" y="972"/>
                    </a:lnTo>
                    <a:lnTo>
                      <a:pt x="3024" y="960"/>
                    </a:lnTo>
                    <a:lnTo>
                      <a:pt x="3072" y="978"/>
                    </a:lnTo>
                    <a:lnTo>
                      <a:pt x="3078" y="972"/>
                    </a:lnTo>
                    <a:lnTo>
                      <a:pt x="3060" y="954"/>
                    </a:lnTo>
                    <a:lnTo>
                      <a:pt x="3090" y="954"/>
                    </a:lnTo>
                    <a:lnTo>
                      <a:pt x="3084" y="948"/>
                    </a:lnTo>
                    <a:lnTo>
                      <a:pt x="3078" y="936"/>
                    </a:lnTo>
                    <a:lnTo>
                      <a:pt x="3060" y="918"/>
                    </a:lnTo>
                    <a:lnTo>
                      <a:pt x="3054" y="906"/>
                    </a:lnTo>
                    <a:lnTo>
                      <a:pt x="3054" y="894"/>
                    </a:lnTo>
                    <a:lnTo>
                      <a:pt x="3060" y="888"/>
                    </a:lnTo>
                    <a:lnTo>
                      <a:pt x="3042" y="870"/>
                    </a:lnTo>
                    <a:lnTo>
                      <a:pt x="3042" y="864"/>
                    </a:lnTo>
                    <a:lnTo>
                      <a:pt x="3048" y="864"/>
                    </a:lnTo>
                    <a:lnTo>
                      <a:pt x="3066" y="846"/>
                    </a:lnTo>
                    <a:lnTo>
                      <a:pt x="3072" y="846"/>
                    </a:lnTo>
                    <a:lnTo>
                      <a:pt x="3066" y="870"/>
                    </a:lnTo>
                    <a:lnTo>
                      <a:pt x="3096" y="894"/>
                    </a:lnTo>
                    <a:lnTo>
                      <a:pt x="3096" y="888"/>
                    </a:lnTo>
                    <a:lnTo>
                      <a:pt x="3102" y="882"/>
                    </a:lnTo>
                    <a:lnTo>
                      <a:pt x="3102" y="864"/>
                    </a:lnTo>
                    <a:lnTo>
                      <a:pt x="3108" y="852"/>
                    </a:lnTo>
                    <a:lnTo>
                      <a:pt x="3108" y="834"/>
                    </a:lnTo>
                    <a:lnTo>
                      <a:pt x="3114" y="822"/>
                    </a:lnTo>
                    <a:lnTo>
                      <a:pt x="3144" y="792"/>
                    </a:lnTo>
                    <a:lnTo>
                      <a:pt x="3156" y="786"/>
                    </a:lnTo>
                    <a:lnTo>
                      <a:pt x="3162" y="786"/>
                    </a:lnTo>
                    <a:lnTo>
                      <a:pt x="3162" y="792"/>
                    </a:lnTo>
                    <a:lnTo>
                      <a:pt x="3150" y="816"/>
                    </a:lnTo>
                    <a:lnTo>
                      <a:pt x="3132" y="834"/>
                    </a:lnTo>
                    <a:lnTo>
                      <a:pt x="3126" y="846"/>
                    </a:lnTo>
                    <a:lnTo>
                      <a:pt x="3120" y="882"/>
                    </a:lnTo>
                    <a:lnTo>
                      <a:pt x="3138" y="882"/>
                    </a:lnTo>
                    <a:lnTo>
                      <a:pt x="3138" y="894"/>
                    </a:lnTo>
                    <a:lnTo>
                      <a:pt x="3132" y="906"/>
                    </a:lnTo>
                    <a:lnTo>
                      <a:pt x="3132" y="918"/>
                    </a:lnTo>
                    <a:lnTo>
                      <a:pt x="3114" y="936"/>
                    </a:lnTo>
                    <a:lnTo>
                      <a:pt x="3102" y="960"/>
                    </a:lnTo>
                    <a:lnTo>
                      <a:pt x="3102" y="978"/>
                    </a:lnTo>
                    <a:lnTo>
                      <a:pt x="3126" y="954"/>
                    </a:lnTo>
                    <a:lnTo>
                      <a:pt x="3132" y="942"/>
                    </a:lnTo>
                    <a:lnTo>
                      <a:pt x="3144" y="930"/>
                    </a:lnTo>
                    <a:lnTo>
                      <a:pt x="3168" y="918"/>
                    </a:lnTo>
                    <a:lnTo>
                      <a:pt x="3180" y="906"/>
                    </a:lnTo>
                    <a:lnTo>
                      <a:pt x="3192" y="882"/>
                    </a:lnTo>
                    <a:lnTo>
                      <a:pt x="3192" y="798"/>
                    </a:lnTo>
                    <a:lnTo>
                      <a:pt x="3198" y="780"/>
                    </a:lnTo>
                    <a:lnTo>
                      <a:pt x="3198" y="768"/>
                    </a:lnTo>
                    <a:lnTo>
                      <a:pt x="3204" y="756"/>
                    </a:lnTo>
                    <a:lnTo>
                      <a:pt x="3210" y="756"/>
                    </a:lnTo>
                    <a:lnTo>
                      <a:pt x="3210" y="768"/>
                    </a:lnTo>
                    <a:lnTo>
                      <a:pt x="3204" y="780"/>
                    </a:lnTo>
                    <a:lnTo>
                      <a:pt x="3204" y="798"/>
                    </a:lnTo>
                    <a:lnTo>
                      <a:pt x="3210" y="798"/>
                    </a:lnTo>
                    <a:lnTo>
                      <a:pt x="3216" y="804"/>
                    </a:lnTo>
                    <a:lnTo>
                      <a:pt x="3216" y="840"/>
                    </a:lnTo>
                    <a:lnTo>
                      <a:pt x="3234" y="822"/>
                    </a:lnTo>
                    <a:lnTo>
                      <a:pt x="3240" y="810"/>
                    </a:lnTo>
                    <a:lnTo>
                      <a:pt x="3288" y="762"/>
                    </a:lnTo>
                    <a:lnTo>
                      <a:pt x="3300" y="756"/>
                    </a:lnTo>
                    <a:lnTo>
                      <a:pt x="3324" y="732"/>
                    </a:lnTo>
                    <a:lnTo>
                      <a:pt x="3324" y="726"/>
                    </a:lnTo>
                    <a:lnTo>
                      <a:pt x="3318" y="720"/>
                    </a:lnTo>
                    <a:lnTo>
                      <a:pt x="3312" y="720"/>
                    </a:lnTo>
                    <a:lnTo>
                      <a:pt x="3306" y="714"/>
                    </a:lnTo>
                    <a:lnTo>
                      <a:pt x="3306" y="702"/>
                    </a:lnTo>
                    <a:lnTo>
                      <a:pt x="3312" y="696"/>
                    </a:lnTo>
                    <a:lnTo>
                      <a:pt x="3324" y="696"/>
                    </a:lnTo>
                    <a:lnTo>
                      <a:pt x="3330" y="702"/>
                    </a:lnTo>
                    <a:lnTo>
                      <a:pt x="3360" y="702"/>
                    </a:lnTo>
                    <a:lnTo>
                      <a:pt x="3390" y="696"/>
                    </a:lnTo>
                    <a:lnTo>
                      <a:pt x="3450" y="672"/>
                    </a:lnTo>
                    <a:lnTo>
                      <a:pt x="3462" y="666"/>
                    </a:lnTo>
                    <a:lnTo>
                      <a:pt x="3444" y="660"/>
                    </a:lnTo>
                    <a:lnTo>
                      <a:pt x="3438" y="660"/>
                    </a:lnTo>
                    <a:lnTo>
                      <a:pt x="3432" y="666"/>
                    </a:lnTo>
                    <a:lnTo>
                      <a:pt x="3414" y="672"/>
                    </a:lnTo>
                    <a:lnTo>
                      <a:pt x="3402" y="672"/>
                    </a:lnTo>
                    <a:lnTo>
                      <a:pt x="3390" y="678"/>
                    </a:lnTo>
                    <a:lnTo>
                      <a:pt x="3372" y="678"/>
                    </a:lnTo>
                    <a:lnTo>
                      <a:pt x="3360" y="684"/>
                    </a:lnTo>
                    <a:lnTo>
                      <a:pt x="3348" y="684"/>
                    </a:lnTo>
                    <a:lnTo>
                      <a:pt x="3342" y="678"/>
                    </a:lnTo>
                    <a:lnTo>
                      <a:pt x="3342" y="672"/>
                    </a:lnTo>
                    <a:lnTo>
                      <a:pt x="3348" y="666"/>
                    </a:lnTo>
                    <a:lnTo>
                      <a:pt x="3354" y="654"/>
                    </a:lnTo>
                    <a:lnTo>
                      <a:pt x="3366" y="654"/>
                    </a:lnTo>
                    <a:lnTo>
                      <a:pt x="3378" y="648"/>
                    </a:lnTo>
                    <a:lnTo>
                      <a:pt x="3402" y="648"/>
                    </a:lnTo>
                    <a:lnTo>
                      <a:pt x="3492" y="642"/>
                    </a:lnTo>
                    <a:lnTo>
                      <a:pt x="3534" y="606"/>
                    </a:lnTo>
                    <a:lnTo>
                      <a:pt x="3546" y="618"/>
                    </a:lnTo>
                    <a:lnTo>
                      <a:pt x="3570" y="606"/>
                    </a:lnTo>
                    <a:lnTo>
                      <a:pt x="3570" y="642"/>
                    </a:lnTo>
                    <a:lnTo>
                      <a:pt x="3600" y="618"/>
                    </a:lnTo>
                    <a:lnTo>
                      <a:pt x="3624" y="612"/>
                    </a:lnTo>
                    <a:lnTo>
                      <a:pt x="3630" y="582"/>
                    </a:lnTo>
                    <a:lnTo>
                      <a:pt x="3618" y="570"/>
                    </a:lnTo>
                    <a:lnTo>
                      <a:pt x="3612" y="600"/>
                    </a:lnTo>
                    <a:lnTo>
                      <a:pt x="3588" y="600"/>
                    </a:lnTo>
                    <a:lnTo>
                      <a:pt x="3588" y="576"/>
                    </a:lnTo>
                    <a:lnTo>
                      <a:pt x="3570" y="552"/>
                    </a:lnTo>
                    <a:lnTo>
                      <a:pt x="3594" y="540"/>
                    </a:lnTo>
                    <a:lnTo>
                      <a:pt x="3600" y="504"/>
                    </a:lnTo>
                    <a:lnTo>
                      <a:pt x="3612" y="498"/>
                    </a:lnTo>
                    <a:lnTo>
                      <a:pt x="3618" y="486"/>
                    </a:lnTo>
                    <a:lnTo>
                      <a:pt x="3630" y="480"/>
                    </a:lnTo>
                    <a:lnTo>
                      <a:pt x="3636" y="474"/>
                    </a:lnTo>
                    <a:lnTo>
                      <a:pt x="3648" y="468"/>
                    </a:lnTo>
                    <a:lnTo>
                      <a:pt x="3654" y="456"/>
                    </a:lnTo>
                    <a:lnTo>
                      <a:pt x="3654" y="450"/>
                    </a:lnTo>
                    <a:lnTo>
                      <a:pt x="3660" y="444"/>
                    </a:lnTo>
                    <a:lnTo>
                      <a:pt x="3660" y="438"/>
                    </a:lnTo>
                    <a:lnTo>
                      <a:pt x="3690" y="444"/>
                    </a:lnTo>
                    <a:lnTo>
                      <a:pt x="3702" y="426"/>
                    </a:lnTo>
                    <a:lnTo>
                      <a:pt x="3708" y="432"/>
                    </a:lnTo>
                    <a:lnTo>
                      <a:pt x="3720" y="432"/>
                    </a:lnTo>
                    <a:lnTo>
                      <a:pt x="3726" y="426"/>
                    </a:lnTo>
                    <a:lnTo>
                      <a:pt x="3738" y="420"/>
                    </a:lnTo>
                    <a:lnTo>
                      <a:pt x="3744" y="408"/>
                    </a:lnTo>
                    <a:lnTo>
                      <a:pt x="3756" y="402"/>
                    </a:lnTo>
                    <a:lnTo>
                      <a:pt x="3774" y="384"/>
                    </a:lnTo>
                    <a:lnTo>
                      <a:pt x="3774" y="414"/>
                    </a:lnTo>
                    <a:lnTo>
                      <a:pt x="3786" y="408"/>
                    </a:lnTo>
                    <a:lnTo>
                      <a:pt x="3792" y="402"/>
                    </a:lnTo>
                    <a:lnTo>
                      <a:pt x="3828" y="384"/>
                    </a:lnTo>
                    <a:lnTo>
                      <a:pt x="3834" y="378"/>
                    </a:lnTo>
                    <a:lnTo>
                      <a:pt x="3846" y="378"/>
                    </a:lnTo>
                    <a:lnTo>
                      <a:pt x="3858" y="372"/>
                    </a:lnTo>
                    <a:lnTo>
                      <a:pt x="3876" y="372"/>
                    </a:lnTo>
                    <a:lnTo>
                      <a:pt x="3888" y="366"/>
                    </a:lnTo>
                    <a:lnTo>
                      <a:pt x="3900" y="366"/>
                    </a:lnTo>
                    <a:lnTo>
                      <a:pt x="3900" y="330"/>
                    </a:lnTo>
                    <a:lnTo>
                      <a:pt x="3876" y="330"/>
                    </a:lnTo>
                    <a:lnTo>
                      <a:pt x="3876" y="324"/>
                    </a:lnTo>
                    <a:lnTo>
                      <a:pt x="3882" y="312"/>
                    </a:lnTo>
                    <a:lnTo>
                      <a:pt x="3894" y="300"/>
                    </a:lnTo>
                    <a:lnTo>
                      <a:pt x="3888" y="294"/>
                    </a:lnTo>
                    <a:lnTo>
                      <a:pt x="3882" y="294"/>
                    </a:lnTo>
                    <a:lnTo>
                      <a:pt x="3876" y="288"/>
                    </a:lnTo>
                    <a:lnTo>
                      <a:pt x="3876" y="276"/>
                    </a:lnTo>
                    <a:lnTo>
                      <a:pt x="3888" y="252"/>
                    </a:lnTo>
                    <a:lnTo>
                      <a:pt x="3900" y="222"/>
                    </a:lnTo>
                    <a:lnTo>
                      <a:pt x="3912" y="198"/>
                    </a:lnTo>
                    <a:lnTo>
                      <a:pt x="3918" y="174"/>
                    </a:lnTo>
                    <a:lnTo>
                      <a:pt x="3918" y="168"/>
                    </a:lnTo>
                    <a:lnTo>
                      <a:pt x="3912" y="162"/>
                    </a:lnTo>
                    <a:lnTo>
                      <a:pt x="3876" y="162"/>
                    </a:lnTo>
                    <a:lnTo>
                      <a:pt x="3864" y="168"/>
                    </a:lnTo>
                    <a:lnTo>
                      <a:pt x="3858" y="168"/>
                    </a:lnTo>
                    <a:close/>
                    <a:moveTo>
                      <a:pt x="2718" y="366"/>
                    </a:moveTo>
                    <a:lnTo>
                      <a:pt x="2712" y="366"/>
                    </a:lnTo>
                    <a:lnTo>
                      <a:pt x="2712" y="354"/>
                    </a:lnTo>
                    <a:lnTo>
                      <a:pt x="2718" y="348"/>
                    </a:lnTo>
                    <a:lnTo>
                      <a:pt x="2718" y="336"/>
                    </a:lnTo>
                    <a:lnTo>
                      <a:pt x="2712" y="336"/>
                    </a:lnTo>
                    <a:lnTo>
                      <a:pt x="2700" y="342"/>
                    </a:lnTo>
                    <a:lnTo>
                      <a:pt x="2694" y="348"/>
                    </a:lnTo>
                    <a:lnTo>
                      <a:pt x="2682" y="354"/>
                    </a:lnTo>
                    <a:lnTo>
                      <a:pt x="2676" y="372"/>
                    </a:lnTo>
                    <a:lnTo>
                      <a:pt x="2664" y="366"/>
                    </a:lnTo>
                    <a:lnTo>
                      <a:pt x="2664" y="378"/>
                    </a:lnTo>
                    <a:lnTo>
                      <a:pt x="2652" y="402"/>
                    </a:lnTo>
                    <a:lnTo>
                      <a:pt x="2628" y="414"/>
                    </a:lnTo>
                    <a:lnTo>
                      <a:pt x="2628" y="426"/>
                    </a:lnTo>
                    <a:lnTo>
                      <a:pt x="2634" y="432"/>
                    </a:lnTo>
                    <a:lnTo>
                      <a:pt x="2628" y="432"/>
                    </a:lnTo>
                    <a:lnTo>
                      <a:pt x="2598" y="462"/>
                    </a:lnTo>
                    <a:lnTo>
                      <a:pt x="2598" y="468"/>
                    </a:lnTo>
                    <a:lnTo>
                      <a:pt x="2604" y="474"/>
                    </a:lnTo>
                    <a:lnTo>
                      <a:pt x="2610" y="474"/>
                    </a:lnTo>
                    <a:lnTo>
                      <a:pt x="2616" y="480"/>
                    </a:lnTo>
                    <a:lnTo>
                      <a:pt x="2616" y="492"/>
                    </a:lnTo>
                    <a:lnTo>
                      <a:pt x="2610" y="498"/>
                    </a:lnTo>
                    <a:lnTo>
                      <a:pt x="2604" y="498"/>
                    </a:lnTo>
                    <a:lnTo>
                      <a:pt x="2604" y="510"/>
                    </a:lnTo>
                    <a:lnTo>
                      <a:pt x="2592" y="534"/>
                    </a:lnTo>
                    <a:lnTo>
                      <a:pt x="2580" y="552"/>
                    </a:lnTo>
                    <a:lnTo>
                      <a:pt x="2550" y="582"/>
                    </a:lnTo>
                    <a:lnTo>
                      <a:pt x="2478" y="618"/>
                    </a:lnTo>
                    <a:lnTo>
                      <a:pt x="2484" y="588"/>
                    </a:lnTo>
                    <a:lnTo>
                      <a:pt x="2478" y="582"/>
                    </a:lnTo>
                    <a:lnTo>
                      <a:pt x="2478" y="576"/>
                    </a:lnTo>
                    <a:lnTo>
                      <a:pt x="2472" y="570"/>
                    </a:lnTo>
                    <a:lnTo>
                      <a:pt x="2472" y="564"/>
                    </a:lnTo>
                    <a:lnTo>
                      <a:pt x="2478" y="552"/>
                    </a:lnTo>
                    <a:lnTo>
                      <a:pt x="2496" y="534"/>
                    </a:lnTo>
                    <a:lnTo>
                      <a:pt x="2502" y="522"/>
                    </a:lnTo>
                    <a:lnTo>
                      <a:pt x="2502" y="516"/>
                    </a:lnTo>
                    <a:lnTo>
                      <a:pt x="2496" y="510"/>
                    </a:lnTo>
                    <a:lnTo>
                      <a:pt x="2496" y="492"/>
                    </a:lnTo>
                    <a:lnTo>
                      <a:pt x="2502" y="480"/>
                    </a:lnTo>
                    <a:lnTo>
                      <a:pt x="2508" y="474"/>
                    </a:lnTo>
                    <a:lnTo>
                      <a:pt x="2514" y="462"/>
                    </a:lnTo>
                    <a:lnTo>
                      <a:pt x="2526" y="456"/>
                    </a:lnTo>
                    <a:lnTo>
                      <a:pt x="2532" y="450"/>
                    </a:lnTo>
                    <a:lnTo>
                      <a:pt x="2532" y="432"/>
                    </a:lnTo>
                    <a:lnTo>
                      <a:pt x="2538" y="432"/>
                    </a:lnTo>
                    <a:lnTo>
                      <a:pt x="2622" y="348"/>
                    </a:lnTo>
                    <a:lnTo>
                      <a:pt x="2592" y="354"/>
                    </a:lnTo>
                    <a:lnTo>
                      <a:pt x="2580" y="360"/>
                    </a:lnTo>
                    <a:lnTo>
                      <a:pt x="2574" y="366"/>
                    </a:lnTo>
                    <a:lnTo>
                      <a:pt x="2562" y="372"/>
                    </a:lnTo>
                    <a:lnTo>
                      <a:pt x="2556" y="378"/>
                    </a:lnTo>
                    <a:lnTo>
                      <a:pt x="2550" y="378"/>
                    </a:lnTo>
                    <a:lnTo>
                      <a:pt x="2550" y="372"/>
                    </a:lnTo>
                    <a:lnTo>
                      <a:pt x="2556" y="366"/>
                    </a:lnTo>
                    <a:lnTo>
                      <a:pt x="2568" y="360"/>
                    </a:lnTo>
                    <a:lnTo>
                      <a:pt x="2592" y="336"/>
                    </a:lnTo>
                    <a:lnTo>
                      <a:pt x="2604" y="330"/>
                    </a:lnTo>
                    <a:lnTo>
                      <a:pt x="2658" y="276"/>
                    </a:lnTo>
                    <a:lnTo>
                      <a:pt x="2670" y="288"/>
                    </a:lnTo>
                    <a:lnTo>
                      <a:pt x="2682" y="276"/>
                    </a:lnTo>
                    <a:lnTo>
                      <a:pt x="2682" y="288"/>
                    </a:lnTo>
                    <a:lnTo>
                      <a:pt x="2694" y="288"/>
                    </a:lnTo>
                    <a:lnTo>
                      <a:pt x="2700" y="282"/>
                    </a:lnTo>
                    <a:lnTo>
                      <a:pt x="2700" y="270"/>
                    </a:lnTo>
                    <a:lnTo>
                      <a:pt x="2724" y="276"/>
                    </a:lnTo>
                    <a:lnTo>
                      <a:pt x="2736" y="270"/>
                    </a:lnTo>
                    <a:lnTo>
                      <a:pt x="2742" y="270"/>
                    </a:lnTo>
                    <a:lnTo>
                      <a:pt x="2754" y="264"/>
                    </a:lnTo>
                    <a:lnTo>
                      <a:pt x="2772" y="264"/>
                    </a:lnTo>
                    <a:lnTo>
                      <a:pt x="2784" y="270"/>
                    </a:lnTo>
                    <a:lnTo>
                      <a:pt x="2790" y="276"/>
                    </a:lnTo>
                    <a:lnTo>
                      <a:pt x="2796" y="288"/>
                    </a:lnTo>
                    <a:lnTo>
                      <a:pt x="2772" y="294"/>
                    </a:lnTo>
                    <a:lnTo>
                      <a:pt x="2772" y="318"/>
                    </a:lnTo>
                    <a:lnTo>
                      <a:pt x="2742" y="318"/>
                    </a:lnTo>
                    <a:lnTo>
                      <a:pt x="2736" y="324"/>
                    </a:lnTo>
                    <a:lnTo>
                      <a:pt x="2736" y="360"/>
                    </a:lnTo>
                    <a:lnTo>
                      <a:pt x="2730" y="366"/>
                    </a:lnTo>
                    <a:lnTo>
                      <a:pt x="2718" y="366"/>
                    </a:lnTo>
                    <a:close/>
                  </a:path>
                </a:pathLst>
              </a:custGeom>
              <a:solidFill>
                <a:srgbClr val="4A66AC"/>
              </a:solidFill>
              <a:ln w="3175" algn="ctr">
                <a:solidFill>
                  <a:srgbClr val="4A66AC"/>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37" name="Uruguay" descr="© INSCALE GmbH, 05.05.2010&#10;http://www.presentationload.com/">
                <a:extLst>
                  <a:ext uri="{FF2B5EF4-FFF2-40B4-BE49-F238E27FC236}">
                    <a16:creationId xmlns:a16="http://schemas.microsoft.com/office/drawing/2014/main" id="{95A6EC43-BFDD-48BC-A0EE-D7C638AAC139}"/>
                  </a:ext>
                </a:extLst>
              </p:cNvPr>
              <p:cNvSpPr>
                <a:spLocks/>
              </p:cNvSpPr>
              <p:nvPr/>
            </p:nvSpPr>
            <p:spPr bwMode="gray">
              <a:xfrm>
                <a:off x="2661031" y="5619645"/>
                <a:ext cx="145072" cy="169805"/>
              </a:xfrm>
              <a:custGeom>
                <a:avLst/>
                <a:gdLst>
                  <a:gd name="T0" fmla="*/ 2147483647 w 366"/>
                  <a:gd name="T1" fmla="*/ 2147483647 h 384"/>
                  <a:gd name="T2" fmla="*/ 2147483647 w 366"/>
                  <a:gd name="T3" fmla="*/ 2147483647 h 384"/>
                  <a:gd name="T4" fmla="*/ 2147483647 w 366"/>
                  <a:gd name="T5" fmla="*/ 2147483647 h 384"/>
                  <a:gd name="T6" fmla="*/ 2147483647 w 366"/>
                  <a:gd name="T7" fmla="*/ 2147483647 h 384"/>
                  <a:gd name="T8" fmla="*/ 2147483647 w 366"/>
                  <a:gd name="T9" fmla="*/ 2147483647 h 384"/>
                  <a:gd name="T10" fmla="*/ 2147483647 w 366"/>
                  <a:gd name="T11" fmla="*/ 2147483647 h 384"/>
                  <a:gd name="T12" fmla="*/ 2147483647 w 366"/>
                  <a:gd name="T13" fmla="*/ 2147483647 h 384"/>
                  <a:gd name="T14" fmla="*/ 2147483647 w 366"/>
                  <a:gd name="T15" fmla="*/ 2147483647 h 384"/>
                  <a:gd name="T16" fmla="*/ 2147483647 w 366"/>
                  <a:gd name="T17" fmla="*/ 2147483647 h 384"/>
                  <a:gd name="T18" fmla="*/ 2147483647 w 366"/>
                  <a:gd name="T19" fmla="*/ 2147483647 h 384"/>
                  <a:gd name="T20" fmla="*/ 2147483647 w 366"/>
                  <a:gd name="T21" fmla="*/ 2147483647 h 384"/>
                  <a:gd name="T22" fmla="*/ 2147483647 w 366"/>
                  <a:gd name="T23" fmla="*/ 2147483647 h 384"/>
                  <a:gd name="T24" fmla="*/ 2147483647 w 366"/>
                  <a:gd name="T25" fmla="*/ 2147483647 h 384"/>
                  <a:gd name="T26" fmla="*/ 2147483647 w 366"/>
                  <a:gd name="T27" fmla="*/ 2147483647 h 384"/>
                  <a:gd name="T28" fmla="*/ 2147483647 w 366"/>
                  <a:gd name="T29" fmla="*/ 2147483647 h 384"/>
                  <a:gd name="T30" fmla="*/ 2147483647 w 366"/>
                  <a:gd name="T31" fmla="*/ 2147483647 h 384"/>
                  <a:gd name="T32" fmla="*/ 2147483647 w 366"/>
                  <a:gd name="T33" fmla="*/ 2147483647 h 384"/>
                  <a:gd name="T34" fmla="*/ 2147483647 w 366"/>
                  <a:gd name="T35" fmla="*/ 2147483647 h 384"/>
                  <a:gd name="T36" fmla="*/ 2147483647 w 366"/>
                  <a:gd name="T37" fmla="*/ 2147483647 h 384"/>
                  <a:gd name="T38" fmla="*/ 2147483647 w 366"/>
                  <a:gd name="T39" fmla="*/ 2147483647 h 384"/>
                  <a:gd name="T40" fmla="*/ 2147483647 w 366"/>
                  <a:gd name="T41" fmla="*/ 2147483647 h 384"/>
                  <a:gd name="T42" fmla="*/ 2147483647 w 366"/>
                  <a:gd name="T43" fmla="*/ 2147483647 h 384"/>
                  <a:gd name="T44" fmla="*/ 2147483647 w 366"/>
                  <a:gd name="T45" fmla="*/ 0 h 384"/>
                  <a:gd name="T46" fmla="*/ 2147483647 w 366"/>
                  <a:gd name="T47" fmla="*/ 2147483647 h 384"/>
                  <a:gd name="T48" fmla="*/ 2147483647 w 366"/>
                  <a:gd name="T49" fmla="*/ 2147483647 h 384"/>
                  <a:gd name="T50" fmla="*/ 0 w 366"/>
                  <a:gd name="T51" fmla="*/ 2147483647 h 384"/>
                  <a:gd name="T52" fmla="*/ 2147483647 w 366"/>
                  <a:gd name="T53" fmla="*/ 2147483647 h 384"/>
                  <a:gd name="T54" fmla="*/ 2147483647 w 366"/>
                  <a:gd name="T55" fmla="*/ 2147483647 h 384"/>
                  <a:gd name="T56" fmla="*/ 2147483647 w 366"/>
                  <a:gd name="T57" fmla="*/ 2147483647 h 384"/>
                  <a:gd name="T58" fmla="*/ 2147483647 w 366"/>
                  <a:gd name="T59" fmla="*/ 2147483647 h 384"/>
                  <a:gd name="T60" fmla="*/ 2147483647 w 366"/>
                  <a:gd name="T61" fmla="*/ 2147483647 h 384"/>
                  <a:gd name="T62" fmla="*/ 2147483647 w 366"/>
                  <a:gd name="T63" fmla="*/ 2147483647 h 384"/>
                  <a:gd name="T64" fmla="*/ 2147483647 w 366"/>
                  <a:gd name="T65" fmla="*/ 2147483647 h 384"/>
                  <a:gd name="T66" fmla="*/ 2147483647 w 366"/>
                  <a:gd name="T67" fmla="*/ 2147483647 h 384"/>
                  <a:gd name="T68" fmla="*/ 2147483647 w 366"/>
                  <a:gd name="T69" fmla="*/ 2147483647 h 384"/>
                  <a:gd name="T70" fmla="*/ 2147483647 w 366"/>
                  <a:gd name="T71" fmla="*/ 2147483647 h 384"/>
                  <a:gd name="T72" fmla="*/ 2147483647 w 366"/>
                  <a:gd name="T73" fmla="*/ 2147483647 h 384"/>
                  <a:gd name="T74" fmla="*/ 2147483647 w 366"/>
                  <a:gd name="T75" fmla="*/ 2147483647 h 384"/>
                  <a:gd name="T76" fmla="*/ 2147483647 w 366"/>
                  <a:gd name="T77" fmla="*/ 2147483647 h 3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366"/>
                  <a:gd name="T118" fmla="*/ 0 h 384"/>
                  <a:gd name="T119" fmla="*/ 366 w 366"/>
                  <a:gd name="T120" fmla="*/ 384 h 384"/>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366" h="384">
                    <a:moveTo>
                      <a:pt x="138" y="372"/>
                    </a:moveTo>
                    <a:lnTo>
                      <a:pt x="174" y="372"/>
                    </a:lnTo>
                    <a:lnTo>
                      <a:pt x="198" y="378"/>
                    </a:lnTo>
                    <a:lnTo>
                      <a:pt x="228" y="378"/>
                    </a:lnTo>
                    <a:lnTo>
                      <a:pt x="288" y="384"/>
                    </a:lnTo>
                    <a:lnTo>
                      <a:pt x="330" y="366"/>
                    </a:lnTo>
                    <a:lnTo>
                      <a:pt x="342" y="354"/>
                    </a:lnTo>
                    <a:lnTo>
                      <a:pt x="360" y="300"/>
                    </a:lnTo>
                    <a:lnTo>
                      <a:pt x="366" y="294"/>
                    </a:lnTo>
                    <a:lnTo>
                      <a:pt x="348" y="294"/>
                    </a:lnTo>
                    <a:lnTo>
                      <a:pt x="348" y="264"/>
                    </a:lnTo>
                    <a:lnTo>
                      <a:pt x="342" y="264"/>
                    </a:lnTo>
                    <a:lnTo>
                      <a:pt x="342" y="240"/>
                    </a:lnTo>
                    <a:lnTo>
                      <a:pt x="348" y="234"/>
                    </a:lnTo>
                    <a:lnTo>
                      <a:pt x="360" y="210"/>
                    </a:lnTo>
                    <a:lnTo>
                      <a:pt x="360" y="198"/>
                    </a:lnTo>
                    <a:lnTo>
                      <a:pt x="354" y="198"/>
                    </a:lnTo>
                    <a:lnTo>
                      <a:pt x="342" y="192"/>
                    </a:lnTo>
                    <a:lnTo>
                      <a:pt x="336" y="192"/>
                    </a:lnTo>
                    <a:lnTo>
                      <a:pt x="318" y="174"/>
                    </a:lnTo>
                    <a:lnTo>
                      <a:pt x="312" y="162"/>
                    </a:lnTo>
                    <a:lnTo>
                      <a:pt x="306" y="156"/>
                    </a:lnTo>
                    <a:lnTo>
                      <a:pt x="300" y="144"/>
                    </a:lnTo>
                    <a:lnTo>
                      <a:pt x="288" y="144"/>
                    </a:lnTo>
                    <a:lnTo>
                      <a:pt x="270" y="138"/>
                    </a:lnTo>
                    <a:lnTo>
                      <a:pt x="258" y="132"/>
                    </a:lnTo>
                    <a:lnTo>
                      <a:pt x="252" y="126"/>
                    </a:lnTo>
                    <a:lnTo>
                      <a:pt x="252" y="114"/>
                    </a:lnTo>
                    <a:lnTo>
                      <a:pt x="246" y="114"/>
                    </a:lnTo>
                    <a:lnTo>
                      <a:pt x="228" y="96"/>
                    </a:lnTo>
                    <a:lnTo>
                      <a:pt x="210" y="96"/>
                    </a:lnTo>
                    <a:lnTo>
                      <a:pt x="192" y="78"/>
                    </a:lnTo>
                    <a:lnTo>
                      <a:pt x="186" y="66"/>
                    </a:lnTo>
                    <a:lnTo>
                      <a:pt x="174" y="60"/>
                    </a:lnTo>
                    <a:lnTo>
                      <a:pt x="168" y="60"/>
                    </a:lnTo>
                    <a:lnTo>
                      <a:pt x="156" y="72"/>
                    </a:lnTo>
                    <a:lnTo>
                      <a:pt x="156" y="78"/>
                    </a:lnTo>
                    <a:lnTo>
                      <a:pt x="144" y="78"/>
                    </a:lnTo>
                    <a:lnTo>
                      <a:pt x="144" y="66"/>
                    </a:lnTo>
                    <a:lnTo>
                      <a:pt x="132" y="54"/>
                    </a:lnTo>
                    <a:lnTo>
                      <a:pt x="126" y="42"/>
                    </a:lnTo>
                    <a:lnTo>
                      <a:pt x="120" y="36"/>
                    </a:lnTo>
                    <a:lnTo>
                      <a:pt x="108" y="30"/>
                    </a:lnTo>
                    <a:lnTo>
                      <a:pt x="102" y="18"/>
                    </a:lnTo>
                    <a:lnTo>
                      <a:pt x="78" y="6"/>
                    </a:lnTo>
                    <a:lnTo>
                      <a:pt x="72" y="0"/>
                    </a:lnTo>
                    <a:lnTo>
                      <a:pt x="60" y="0"/>
                    </a:lnTo>
                    <a:lnTo>
                      <a:pt x="48" y="6"/>
                    </a:lnTo>
                    <a:lnTo>
                      <a:pt x="42" y="12"/>
                    </a:lnTo>
                    <a:lnTo>
                      <a:pt x="18" y="12"/>
                    </a:lnTo>
                    <a:lnTo>
                      <a:pt x="0" y="30"/>
                    </a:lnTo>
                    <a:lnTo>
                      <a:pt x="0" y="36"/>
                    </a:lnTo>
                    <a:lnTo>
                      <a:pt x="24" y="60"/>
                    </a:lnTo>
                    <a:lnTo>
                      <a:pt x="30" y="60"/>
                    </a:lnTo>
                    <a:lnTo>
                      <a:pt x="6" y="72"/>
                    </a:lnTo>
                    <a:lnTo>
                      <a:pt x="6" y="108"/>
                    </a:lnTo>
                    <a:lnTo>
                      <a:pt x="30" y="126"/>
                    </a:lnTo>
                    <a:lnTo>
                      <a:pt x="12" y="126"/>
                    </a:lnTo>
                    <a:lnTo>
                      <a:pt x="0" y="138"/>
                    </a:lnTo>
                    <a:lnTo>
                      <a:pt x="6" y="144"/>
                    </a:lnTo>
                    <a:lnTo>
                      <a:pt x="12" y="156"/>
                    </a:lnTo>
                    <a:lnTo>
                      <a:pt x="24" y="168"/>
                    </a:lnTo>
                    <a:lnTo>
                      <a:pt x="12" y="186"/>
                    </a:lnTo>
                    <a:lnTo>
                      <a:pt x="18" y="192"/>
                    </a:lnTo>
                    <a:lnTo>
                      <a:pt x="24" y="204"/>
                    </a:lnTo>
                    <a:lnTo>
                      <a:pt x="36" y="210"/>
                    </a:lnTo>
                    <a:lnTo>
                      <a:pt x="42" y="222"/>
                    </a:lnTo>
                    <a:lnTo>
                      <a:pt x="42" y="228"/>
                    </a:lnTo>
                    <a:lnTo>
                      <a:pt x="36" y="228"/>
                    </a:lnTo>
                    <a:lnTo>
                      <a:pt x="30" y="234"/>
                    </a:lnTo>
                    <a:lnTo>
                      <a:pt x="6" y="234"/>
                    </a:lnTo>
                    <a:lnTo>
                      <a:pt x="6" y="282"/>
                    </a:lnTo>
                    <a:lnTo>
                      <a:pt x="36" y="318"/>
                    </a:lnTo>
                    <a:lnTo>
                      <a:pt x="42" y="318"/>
                    </a:lnTo>
                    <a:lnTo>
                      <a:pt x="54" y="324"/>
                    </a:lnTo>
                    <a:lnTo>
                      <a:pt x="78" y="348"/>
                    </a:lnTo>
                    <a:lnTo>
                      <a:pt x="90" y="354"/>
                    </a:lnTo>
                    <a:lnTo>
                      <a:pt x="126" y="354"/>
                    </a:lnTo>
                    <a:lnTo>
                      <a:pt x="138" y="372"/>
                    </a:lnTo>
                    <a:close/>
                  </a:path>
                </a:pathLst>
              </a:custGeom>
              <a:solidFill>
                <a:srgbClr val="9D90A0">
                  <a:lumMod val="40000"/>
                  <a:lumOff val="60000"/>
                </a:srgbClr>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38" name="Suriname" descr="© INSCALE GmbH, 05.05.2010&#10;http://www.presentationload.com/">
                <a:extLst>
                  <a:ext uri="{FF2B5EF4-FFF2-40B4-BE49-F238E27FC236}">
                    <a16:creationId xmlns:a16="http://schemas.microsoft.com/office/drawing/2014/main" id="{8813975A-ED07-4979-9C81-AB15310530EE}"/>
                  </a:ext>
                </a:extLst>
              </p:cNvPr>
              <p:cNvSpPr>
                <a:spLocks/>
              </p:cNvSpPr>
              <p:nvPr/>
            </p:nvSpPr>
            <p:spPr bwMode="gray">
              <a:xfrm>
                <a:off x="2581476" y="4342646"/>
                <a:ext cx="115433" cy="147279"/>
              </a:xfrm>
              <a:custGeom>
                <a:avLst/>
                <a:gdLst>
                  <a:gd name="T0" fmla="*/ 2147483647 w 294"/>
                  <a:gd name="T1" fmla="*/ 2147483647 h 336"/>
                  <a:gd name="T2" fmla="*/ 2147483647 w 294"/>
                  <a:gd name="T3" fmla="*/ 2147483647 h 336"/>
                  <a:gd name="T4" fmla="*/ 2147483647 w 294"/>
                  <a:gd name="T5" fmla="*/ 2147483647 h 336"/>
                  <a:gd name="T6" fmla="*/ 0 w 294"/>
                  <a:gd name="T7" fmla="*/ 2147483647 h 336"/>
                  <a:gd name="T8" fmla="*/ 2147483647 w 294"/>
                  <a:gd name="T9" fmla="*/ 2147483647 h 336"/>
                  <a:gd name="T10" fmla="*/ 2147483647 w 294"/>
                  <a:gd name="T11" fmla="*/ 2147483647 h 336"/>
                  <a:gd name="T12" fmla="*/ 2147483647 w 294"/>
                  <a:gd name="T13" fmla="*/ 2147483647 h 336"/>
                  <a:gd name="T14" fmla="*/ 2147483647 w 294"/>
                  <a:gd name="T15" fmla="*/ 2147483647 h 336"/>
                  <a:gd name="T16" fmla="*/ 2147483647 w 294"/>
                  <a:gd name="T17" fmla="*/ 2147483647 h 336"/>
                  <a:gd name="T18" fmla="*/ 2147483647 w 294"/>
                  <a:gd name="T19" fmla="*/ 2147483647 h 336"/>
                  <a:gd name="T20" fmla="*/ 2147483647 w 294"/>
                  <a:gd name="T21" fmla="*/ 2147483647 h 336"/>
                  <a:gd name="T22" fmla="*/ 2147483647 w 294"/>
                  <a:gd name="T23" fmla="*/ 2147483647 h 336"/>
                  <a:gd name="T24" fmla="*/ 2147483647 w 294"/>
                  <a:gd name="T25" fmla="*/ 2147483647 h 336"/>
                  <a:gd name="T26" fmla="*/ 2147483647 w 294"/>
                  <a:gd name="T27" fmla="*/ 2147483647 h 336"/>
                  <a:gd name="T28" fmla="*/ 2147483647 w 294"/>
                  <a:gd name="T29" fmla="*/ 2147483647 h 336"/>
                  <a:gd name="T30" fmla="*/ 2147483647 w 294"/>
                  <a:gd name="T31" fmla="*/ 2147483647 h 336"/>
                  <a:gd name="T32" fmla="*/ 2147483647 w 294"/>
                  <a:gd name="T33" fmla="*/ 2147483647 h 336"/>
                  <a:gd name="T34" fmla="*/ 2147483647 w 294"/>
                  <a:gd name="T35" fmla="*/ 2147483647 h 336"/>
                  <a:gd name="T36" fmla="*/ 2147483647 w 294"/>
                  <a:gd name="T37" fmla="*/ 2147483647 h 336"/>
                  <a:gd name="T38" fmla="*/ 2147483647 w 294"/>
                  <a:gd name="T39" fmla="*/ 2147483647 h 336"/>
                  <a:gd name="T40" fmla="*/ 2147483647 w 294"/>
                  <a:gd name="T41" fmla="*/ 2147483647 h 336"/>
                  <a:gd name="T42" fmla="*/ 2147483647 w 294"/>
                  <a:gd name="T43" fmla="*/ 2147483647 h 336"/>
                  <a:gd name="T44" fmla="*/ 2147483647 w 294"/>
                  <a:gd name="T45" fmla="*/ 2147483647 h 336"/>
                  <a:gd name="T46" fmla="*/ 2147483647 w 294"/>
                  <a:gd name="T47" fmla="*/ 2147483647 h 336"/>
                  <a:gd name="T48" fmla="*/ 2147483647 w 294"/>
                  <a:gd name="T49" fmla="*/ 2147483647 h 336"/>
                  <a:gd name="T50" fmla="*/ 2147483647 w 294"/>
                  <a:gd name="T51" fmla="*/ 2147483647 h 336"/>
                  <a:gd name="T52" fmla="*/ 2147483647 w 294"/>
                  <a:gd name="T53" fmla="*/ 2147483647 h 336"/>
                  <a:gd name="T54" fmla="*/ 2147483647 w 294"/>
                  <a:gd name="T55" fmla="*/ 2147483647 h 336"/>
                  <a:gd name="T56" fmla="*/ 2147483647 w 294"/>
                  <a:gd name="T57" fmla="*/ 2147483647 h 336"/>
                  <a:gd name="T58" fmla="*/ 2147483647 w 294"/>
                  <a:gd name="T59" fmla="*/ 2147483647 h 336"/>
                  <a:gd name="T60" fmla="*/ 2147483647 w 294"/>
                  <a:gd name="T61" fmla="*/ 2147483647 h 336"/>
                  <a:gd name="T62" fmla="*/ 2147483647 w 294"/>
                  <a:gd name="T63" fmla="*/ 2147483647 h 336"/>
                  <a:gd name="T64" fmla="*/ 2147483647 w 294"/>
                  <a:gd name="T65" fmla="*/ 2147483647 h 336"/>
                  <a:gd name="T66" fmla="*/ 2147483647 w 294"/>
                  <a:gd name="T67" fmla="*/ 2147483647 h 336"/>
                  <a:gd name="T68" fmla="*/ 2147483647 w 294"/>
                  <a:gd name="T69" fmla="*/ 2147483647 h 336"/>
                  <a:gd name="T70" fmla="*/ 2147483647 w 294"/>
                  <a:gd name="T71" fmla="*/ 0 h 336"/>
                  <a:gd name="T72" fmla="*/ 2147483647 w 294"/>
                  <a:gd name="T73" fmla="*/ 2147483647 h 336"/>
                  <a:gd name="T74" fmla="*/ 2147483647 w 294"/>
                  <a:gd name="T75" fmla="*/ 2147483647 h 336"/>
                  <a:gd name="T76" fmla="*/ 2147483647 w 294"/>
                  <a:gd name="T77" fmla="*/ 2147483647 h 336"/>
                  <a:gd name="T78" fmla="*/ 2147483647 w 294"/>
                  <a:gd name="T79" fmla="*/ 2147483647 h 336"/>
                  <a:gd name="T80" fmla="*/ 2147483647 w 294"/>
                  <a:gd name="T81" fmla="*/ 2147483647 h 336"/>
                  <a:gd name="T82" fmla="*/ 2147483647 w 294"/>
                  <a:gd name="T83" fmla="*/ 2147483647 h 3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94"/>
                  <a:gd name="T127" fmla="*/ 0 h 336"/>
                  <a:gd name="T128" fmla="*/ 294 w 294"/>
                  <a:gd name="T129" fmla="*/ 336 h 3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94" h="336">
                    <a:moveTo>
                      <a:pt x="60" y="78"/>
                    </a:moveTo>
                    <a:lnTo>
                      <a:pt x="30" y="78"/>
                    </a:lnTo>
                    <a:lnTo>
                      <a:pt x="18" y="84"/>
                    </a:lnTo>
                    <a:lnTo>
                      <a:pt x="12" y="90"/>
                    </a:lnTo>
                    <a:lnTo>
                      <a:pt x="12" y="132"/>
                    </a:lnTo>
                    <a:lnTo>
                      <a:pt x="6" y="138"/>
                    </a:lnTo>
                    <a:lnTo>
                      <a:pt x="0" y="150"/>
                    </a:lnTo>
                    <a:lnTo>
                      <a:pt x="0" y="162"/>
                    </a:lnTo>
                    <a:lnTo>
                      <a:pt x="6" y="168"/>
                    </a:lnTo>
                    <a:lnTo>
                      <a:pt x="6" y="174"/>
                    </a:lnTo>
                    <a:lnTo>
                      <a:pt x="12" y="174"/>
                    </a:lnTo>
                    <a:lnTo>
                      <a:pt x="12" y="186"/>
                    </a:lnTo>
                    <a:lnTo>
                      <a:pt x="18" y="198"/>
                    </a:lnTo>
                    <a:lnTo>
                      <a:pt x="24" y="204"/>
                    </a:lnTo>
                    <a:lnTo>
                      <a:pt x="30" y="216"/>
                    </a:lnTo>
                    <a:lnTo>
                      <a:pt x="42" y="216"/>
                    </a:lnTo>
                    <a:lnTo>
                      <a:pt x="42" y="210"/>
                    </a:lnTo>
                    <a:lnTo>
                      <a:pt x="54" y="198"/>
                    </a:lnTo>
                    <a:lnTo>
                      <a:pt x="54" y="216"/>
                    </a:lnTo>
                    <a:lnTo>
                      <a:pt x="48" y="222"/>
                    </a:lnTo>
                    <a:lnTo>
                      <a:pt x="48" y="246"/>
                    </a:lnTo>
                    <a:lnTo>
                      <a:pt x="54" y="258"/>
                    </a:lnTo>
                    <a:lnTo>
                      <a:pt x="72" y="276"/>
                    </a:lnTo>
                    <a:lnTo>
                      <a:pt x="78" y="294"/>
                    </a:lnTo>
                    <a:lnTo>
                      <a:pt x="84" y="306"/>
                    </a:lnTo>
                    <a:lnTo>
                      <a:pt x="90" y="312"/>
                    </a:lnTo>
                    <a:lnTo>
                      <a:pt x="90" y="318"/>
                    </a:lnTo>
                    <a:lnTo>
                      <a:pt x="102" y="324"/>
                    </a:lnTo>
                    <a:lnTo>
                      <a:pt x="108" y="324"/>
                    </a:lnTo>
                    <a:lnTo>
                      <a:pt x="132" y="336"/>
                    </a:lnTo>
                    <a:lnTo>
                      <a:pt x="150" y="336"/>
                    </a:lnTo>
                    <a:lnTo>
                      <a:pt x="156" y="330"/>
                    </a:lnTo>
                    <a:lnTo>
                      <a:pt x="150" y="324"/>
                    </a:lnTo>
                    <a:lnTo>
                      <a:pt x="150" y="318"/>
                    </a:lnTo>
                    <a:lnTo>
                      <a:pt x="138" y="306"/>
                    </a:lnTo>
                    <a:lnTo>
                      <a:pt x="138" y="282"/>
                    </a:lnTo>
                    <a:lnTo>
                      <a:pt x="150" y="276"/>
                    </a:lnTo>
                    <a:lnTo>
                      <a:pt x="156" y="276"/>
                    </a:lnTo>
                    <a:lnTo>
                      <a:pt x="156" y="288"/>
                    </a:lnTo>
                    <a:lnTo>
                      <a:pt x="180" y="288"/>
                    </a:lnTo>
                    <a:lnTo>
                      <a:pt x="192" y="282"/>
                    </a:lnTo>
                    <a:lnTo>
                      <a:pt x="198" y="276"/>
                    </a:lnTo>
                    <a:lnTo>
                      <a:pt x="210" y="270"/>
                    </a:lnTo>
                    <a:lnTo>
                      <a:pt x="216" y="270"/>
                    </a:lnTo>
                    <a:lnTo>
                      <a:pt x="222" y="282"/>
                    </a:lnTo>
                    <a:lnTo>
                      <a:pt x="228" y="288"/>
                    </a:lnTo>
                    <a:lnTo>
                      <a:pt x="246" y="294"/>
                    </a:lnTo>
                    <a:lnTo>
                      <a:pt x="252" y="282"/>
                    </a:lnTo>
                    <a:lnTo>
                      <a:pt x="258" y="276"/>
                    </a:lnTo>
                    <a:lnTo>
                      <a:pt x="258" y="264"/>
                    </a:lnTo>
                    <a:lnTo>
                      <a:pt x="264" y="264"/>
                    </a:lnTo>
                    <a:lnTo>
                      <a:pt x="276" y="258"/>
                    </a:lnTo>
                    <a:lnTo>
                      <a:pt x="270" y="222"/>
                    </a:lnTo>
                    <a:lnTo>
                      <a:pt x="288" y="204"/>
                    </a:lnTo>
                    <a:lnTo>
                      <a:pt x="288" y="198"/>
                    </a:lnTo>
                    <a:lnTo>
                      <a:pt x="282" y="186"/>
                    </a:lnTo>
                    <a:lnTo>
                      <a:pt x="264" y="168"/>
                    </a:lnTo>
                    <a:lnTo>
                      <a:pt x="258" y="156"/>
                    </a:lnTo>
                    <a:lnTo>
                      <a:pt x="258" y="144"/>
                    </a:lnTo>
                    <a:lnTo>
                      <a:pt x="252" y="126"/>
                    </a:lnTo>
                    <a:lnTo>
                      <a:pt x="252" y="96"/>
                    </a:lnTo>
                    <a:lnTo>
                      <a:pt x="258" y="78"/>
                    </a:lnTo>
                    <a:lnTo>
                      <a:pt x="264" y="66"/>
                    </a:lnTo>
                    <a:lnTo>
                      <a:pt x="276" y="60"/>
                    </a:lnTo>
                    <a:lnTo>
                      <a:pt x="282" y="54"/>
                    </a:lnTo>
                    <a:lnTo>
                      <a:pt x="288" y="54"/>
                    </a:lnTo>
                    <a:lnTo>
                      <a:pt x="288" y="30"/>
                    </a:lnTo>
                    <a:lnTo>
                      <a:pt x="294" y="12"/>
                    </a:lnTo>
                    <a:lnTo>
                      <a:pt x="288" y="12"/>
                    </a:lnTo>
                    <a:lnTo>
                      <a:pt x="282" y="6"/>
                    </a:lnTo>
                    <a:lnTo>
                      <a:pt x="270" y="6"/>
                    </a:lnTo>
                    <a:lnTo>
                      <a:pt x="252" y="0"/>
                    </a:lnTo>
                    <a:lnTo>
                      <a:pt x="210" y="0"/>
                    </a:lnTo>
                    <a:lnTo>
                      <a:pt x="204" y="12"/>
                    </a:lnTo>
                    <a:lnTo>
                      <a:pt x="156" y="6"/>
                    </a:lnTo>
                    <a:lnTo>
                      <a:pt x="156" y="18"/>
                    </a:lnTo>
                    <a:lnTo>
                      <a:pt x="96" y="0"/>
                    </a:lnTo>
                    <a:lnTo>
                      <a:pt x="72" y="6"/>
                    </a:lnTo>
                    <a:lnTo>
                      <a:pt x="66" y="18"/>
                    </a:lnTo>
                    <a:lnTo>
                      <a:pt x="60" y="24"/>
                    </a:lnTo>
                    <a:lnTo>
                      <a:pt x="54" y="36"/>
                    </a:lnTo>
                    <a:lnTo>
                      <a:pt x="54" y="48"/>
                    </a:lnTo>
                    <a:lnTo>
                      <a:pt x="66" y="60"/>
                    </a:lnTo>
                    <a:lnTo>
                      <a:pt x="66" y="72"/>
                    </a:lnTo>
                    <a:lnTo>
                      <a:pt x="60" y="78"/>
                    </a:lnTo>
                    <a:close/>
                  </a:path>
                </a:pathLst>
              </a:custGeom>
              <a:solidFill>
                <a:srgbClr val="9D90A0">
                  <a:lumMod val="40000"/>
                  <a:lumOff val="60000"/>
                </a:srgbClr>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39" name="Puerto Rico" descr="© INSCALE GmbH, 05.05.2010&#10;http://www.presentationload.com/">
                <a:extLst>
                  <a:ext uri="{FF2B5EF4-FFF2-40B4-BE49-F238E27FC236}">
                    <a16:creationId xmlns:a16="http://schemas.microsoft.com/office/drawing/2014/main" id="{3B6DF513-B7C1-4676-AB78-1BF03C65F38C}"/>
                  </a:ext>
                </a:extLst>
              </p:cNvPr>
              <p:cNvSpPr>
                <a:spLocks/>
              </p:cNvSpPr>
              <p:nvPr/>
            </p:nvSpPr>
            <p:spPr bwMode="gray">
              <a:xfrm>
                <a:off x="2356848" y="3902540"/>
                <a:ext cx="54597" cy="25990"/>
              </a:xfrm>
              <a:custGeom>
                <a:avLst/>
                <a:gdLst>
                  <a:gd name="T0" fmla="*/ 2147483647 w 138"/>
                  <a:gd name="T1" fmla="*/ 2147483647 h 60"/>
                  <a:gd name="T2" fmla="*/ 2147483647 w 138"/>
                  <a:gd name="T3" fmla="*/ 2147483647 h 60"/>
                  <a:gd name="T4" fmla="*/ 2147483647 w 138"/>
                  <a:gd name="T5" fmla="*/ 0 h 60"/>
                  <a:gd name="T6" fmla="*/ 2147483647 w 138"/>
                  <a:gd name="T7" fmla="*/ 0 h 60"/>
                  <a:gd name="T8" fmla="*/ 2147483647 w 138"/>
                  <a:gd name="T9" fmla="*/ 2147483647 h 60"/>
                  <a:gd name="T10" fmla="*/ 0 w 138"/>
                  <a:gd name="T11" fmla="*/ 2147483647 h 60"/>
                  <a:gd name="T12" fmla="*/ 0 w 138"/>
                  <a:gd name="T13" fmla="*/ 2147483647 h 60"/>
                  <a:gd name="T14" fmla="*/ 2147483647 w 138"/>
                  <a:gd name="T15" fmla="*/ 2147483647 h 60"/>
                  <a:gd name="T16" fmla="*/ 2147483647 w 138"/>
                  <a:gd name="T17" fmla="*/ 2147483647 h 60"/>
                  <a:gd name="T18" fmla="*/ 2147483647 w 138"/>
                  <a:gd name="T19" fmla="*/ 2147483647 h 60"/>
                  <a:gd name="T20" fmla="*/ 2147483647 w 138"/>
                  <a:gd name="T21" fmla="*/ 2147483647 h 60"/>
                  <a:gd name="T22" fmla="*/ 2147483647 w 138"/>
                  <a:gd name="T23" fmla="*/ 2147483647 h 60"/>
                  <a:gd name="T24" fmla="*/ 2147483647 w 138"/>
                  <a:gd name="T25" fmla="*/ 2147483647 h 60"/>
                  <a:gd name="T26" fmla="*/ 2147483647 w 138"/>
                  <a:gd name="T27" fmla="*/ 2147483647 h 60"/>
                  <a:gd name="T28" fmla="*/ 2147483647 w 138"/>
                  <a:gd name="T29" fmla="*/ 2147483647 h 60"/>
                  <a:gd name="T30" fmla="*/ 2147483647 w 138"/>
                  <a:gd name="T31" fmla="*/ 2147483647 h 60"/>
                  <a:gd name="T32" fmla="*/ 2147483647 w 138"/>
                  <a:gd name="T33" fmla="*/ 2147483647 h 60"/>
                  <a:gd name="T34" fmla="*/ 2147483647 w 138"/>
                  <a:gd name="T35" fmla="*/ 2147483647 h 6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38"/>
                  <a:gd name="T55" fmla="*/ 0 h 60"/>
                  <a:gd name="T56" fmla="*/ 138 w 138"/>
                  <a:gd name="T57" fmla="*/ 60 h 6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38" h="60">
                    <a:moveTo>
                      <a:pt x="84" y="12"/>
                    </a:moveTo>
                    <a:lnTo>
                      <a:pt x="72" y="12"/>
                    </a:lnTo>
                    <a:lnTo>
                      <a:pt x="36" y="0"/>
                    </a:lnTo>
                    <a:lnTo>
                      <a:pt x="12" y="0"/>
                    </a:lnTo>
                    <a:lnTo>
                      <a:pt x="6" y="12"/>
                    </a:lnTo>
                    <a:lnTo>
                      <a:pt x="0" y="18"/>
                    </a:lnTo>
                    <a:lnTo>
                      <a:pt x="0" y="48"/>
                    </a:lnTo>
                    <a:lnTo>
                      <a:pt x="36" y="60"/>
                    </a:lnTo>
                    <a:lnTo>
                      <a:pt x="48" y="48"/>
                    </a:lnTo>
                    <a:lnTo>
                      <a:pt x="102" y="48"/>
                    </a:lnTo>
                    <a:lnTo>
                      <a:pt x="120" y="36"/>
                    </a:lnTo>
                    <a:lnTo>
                      <a:pt x="132" y="30"/>
                    </a:lnTo>
                    <a:lnTo>
                      <a:pt x="138" y="18"/>
                    </a:lnTo>
                    <a:lnTo>
                      <a:pt x="138" y="12"/>
                    </a:lnTo>
                    <a:lnTo>
                      <a:pt x="132" y="6"/>
                    </a:lnTo>
                    <a:lnTo>
                      <a:pt x="114" y="6"/>
                    </a:lnTo>
                    <a:lnTo>
                      <a:pt x="102" y="12"/>
                    </a:lnTo>
                    <a:lnTo>
                      <a:pt x="84" y="12"/>
                    </a:lnTo>
                    <a:close/>
                  </a:path>
                </a:pathLst>
              </a:custGeom>
              <a:solidFill>
                <a:srgbClr val="9D90A0">
                  <a:lumMod val="40000"/>
                  <a:lumOff val="60000"/>
                </a:srgbClr>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40" name="Peru" descr="© INSCALE GmbH, 05.05.2010&#10;http://www.presentationload.com/">
                <a:extLst>
                  <a:ext uri="{FF2B5EF4-FFF2-40B4-BE49-F238E27FC236}">
                    <a16:creationId xmlns:a16="http://schemas.microsoft.com/office/drawing/2014/main" id="{406D5C45-E9F1-4339-A348-9C3C0F50163A}"/>
                  </a:ext>
                </a:extLst>
              </p:cNvPr>
              <p:cNvSpPr>
                <a:spLocks/>
              </p:cNvSpPr>
              <p:nvPr/>
            </p:nvSpPr>
            <p:spPr bwMode="gray">
              <a:xfrm>
                <a:off x="1926313" y="4552302"/>
                <a:ext cx="372819" cy="653228"/>
              </a:xfrm>
              <a:custGeom>
                <a:avLst/>
                <a:gdLst>
                  <a:gd name="T0" fmla="*/ 2147483647 w 942"/>
                  <a:gd name="T1" fmla="*/ 2147483647 h 1488"/>
                  <a:gd name="T2" fmla="*/ 2147483647 w 942"/>
                  <a:gd name="T3" fmla="*/ 2147483647 h 1488"/>
                  <a:gd name="T4" fmla="*/ 2147483647 w 942"/>
                  <a:gd name="T5" fmla="*/ 2147483647 h 1488"/>
                  <a:gd name="T6" fmla="*/ 2147483647 w 942"/>
                  <a:gd name="T7" fmla="*/ 2147483647 h 1488"/>
                  <a:gd name="T8" fmla="*/ 2147483647 w 942"/>
                  <a:gd name="T9" fmla="*/ 2147483647 h 1488"/>
                  <a:gd name="T10" fmla="*/ 2147483647 w 942"/>
                  <a:gd name="T11" fmla="*/ 2147483647 h 1488"/>
                  <a:gd name="T12" fmla="*/ 2147483647 w 942"/>
                  <a:gd name="T13" fmla="*/ 2147483647 h 1488"/>
                  <a:gd name="T14" fmla="*/ 2147483647 w 942"/>
                  <a:gd name="T15" fmla="*/ 2147483647 h 1488"/>
                  <a:gd name="T16" fmla="*/ 2147483647 w 942"/>
                  <a:gd name="T17" fmla="*/ 2147483647 h 1488"/>
                  <a:gd name="T18" fmla="*/ 2147483647 w 942"/>
                  <a:gd name="T19" fmla="*/ 2147483647 h 1488"/>
                  <a:gd name="T20" fmla="*/ 2147483647 w 942"/>
                  <a:gd name="T21" fmla="*/ 2147483647 h 1488"/>
                  <a:gd name="T22" fmla="*/ 2147483647 w 942"/>
                  <a:gd name="T23" fmla="*/ 2147483647 h 1488"/>
                  <a:gd name="T24" fmla="*/ 2147483647 w 942"/>
                  <a:gd name="T25" fmla="*/ 2147483647 h 1488"/>
                  <a:gd name="T26" fmla="*/ 2147483647 w 942"/>
                  <a:gd name="T27" fmla="*/ 2147483647 h 1488"/>
                  <a:gd name="T28" fmla="*/ 2147483647 w 942"/>
                  <a:gd name="T29" fmla="*/ 2147483647 h 1488"/>
                  <a:gd name="T30" fmla="*/ 2147483647 w 942"/>
                  <a:gd name="T31" fmla="*/ 2147483647 h 1488"/>
                  <a:gd name="T32" fmla="*/ 2147483647 w 942"/>
                  <a:gd name="T33" fmla="*/ 2147483647 h 1488"/>
                  <a:gd name="T34" fmla="*/ 2147483647 w 942"/>
                  <a:gd name="T35" fmla="*/ 2147483647 h 1488"/>
                  <a:gd name="T36" fmla="*/ 2147483647 w 942"/>
                  <a:gd name="T37" fmla="*/ 2147483647 h 1488"/>
                  <a:gd name="T38" fmla="*/ 2147483647 w 942"/>
                  <a:gd name="T39" fmla="*/ 2147483647 h 1488"/>
                  <a:gd name="T40" fmla="*/ 2147483647 w 942"/>
                  <a:gd name="T41" fmla="*/ 2147483647 h 1488"/>
                  <a:gd name="T42" fmla="*/ 2147483647 w 942"/>
                  <a:gd name="T43" fmla="*/ 2147483647 h 1488"/>
                  <a:gd name="T44" fmla="*/ 2147483647 w 942"/>
                  <a:gd name="T45" fmla="*/ 2147483647 h 1488"/>
                  <a:gd name="T46" fmla="*/ 2147483647 w 942"/>
                  <a:gd name="T47" fmla="*/ 2147483647 h 1488"/>
                  <a:gd name="T48" fmla="*/ 2147483647 w 942"/>
                  <a:gd name="T49" fmla="*/ 2147483647 h 1488"/>
                  <a:gd name="T50" fmla="*/ 2147483647 w 942"/>
                  <a:gd name="T51" fmla="*/ 2147483647 h 1488"/>
                  <a:gd name="T52" fmla="*/ 2147483647 w 942"/>
                  <a:gd name="T53" fmla="*/ 2147483647 h 1488"/>
                  <a:gd name="T54" fmla="*/ 2147483647 w 942"/>
                  <a:gd name="T55" fmla="*/ 2147483647 h 1488"/>
                  <a:gd name="T56" fmla="*/ 2147483647 w 942"/>
                  <a:gd name="T57" fmla="*/ 2147483647 h 1488"/>
                  <a:gd name="T58" fmla="*/ 2147483647 w 942"/>
                  <a:gd name="T59" fmla="*/ 2147483647 h 1488"/>
                  <a:gd name="T60" fmla="*/ 2147483647 w 942"/>
                  <a:gd name="T61" fmla="*/ 2147483647 h 1488"/>
                  <a:gd name="T62" fmla="*/ 2147483647 w 942"/>
                  <a:gd name="T63" fmla="*/ 0 h 1488"/>
                  <a:gd name="T64" fmla="*/ 2147483647 w 942"/>
                  <a:gd name="T65" fmla="*/ 2147483647 h 1488"/>
                  <a:gd name="T66" fmla="*/ 2147483647 w 942"/>
                  <a:gd name="T67" fmla="*/ 2147483647 h 1488"/>
                  <a:gd name="T68" fmla="*/ 2147483647 w 942"/>
                  <a:gd name="T69" fmla="*/ 2147483647 h 1488"/>
                  <a:gd name="T70" fmla="*/ 2147483647 w 942"/>
                  <a:gd name="T71" fmla="*/ 2147483647 h 1488"/>
                  <a:gd name="T72" fmla="*/ 2147483647 w 942"/>
                  <a:gd name="T73" fmla="*/ 2147483647 h 1488"/>
                  <a:gd name="T74" fmla="*/ 2147483647 w 942"/>
                  <a:gd name="T75" fmla="*/ 2147483647 h 1488"/>
                  <a:gd name="T76" fmla="*/ 2147483647 w 942"/>
                  <a:gd name="T77" fmla="*/ 2147483647 h 1488"/>
                  <a:gd name="T78" fmla="*/ 2147483647 w 942"/>
                  <a:gd name="T79" fmla="*/ 2147483647 h 1488"/>
                  <a:gd name="T80" fmla="*/ 2147483647 w 942"/>
                  <a:gd name="T81" fmla="*/ 2147483647 h 1488"/>
                  <a:gd name="T82" fmla="*/ 2147483647 w 942"/>
                  <a:gd name="T83" fmla="*/ 2147483647 h 1488"/>
                  <a:gd name="T84" fmla="*/ 0 w 942"/>
                  <a:gd name="T85" fmla="*/ 2147483647 h 1488"/>
                  <a:gd name="T86" fmla="*/ 2147483647 w 942"/>
                  <a:gd name="T87" fmla="*/ 2147483647 h 1488"/>
                  <a:gd name="T88" fmla="*/ 2147483647 w 942"/>
                  <a:gd name="T89" fmla="*/ 2147483647 h 1488"/>
                  <a:gd name="T90" fmla="*/ 2147483647 w 942"/>
                  <a:gd name="T91" fmla="*/ 2147483647 h 1488"/>
                  <a:gd name="T92" fmla="*/ 2147483647 w 942"/>
                  <a:gd name="T93" fmla="*/ 2147483647 h 1488"/>
                  <a:gd name="T94" fmla="*/ 2147483647 w 942"/>
                  <a:gd name="T95" fmla="*/ 2147483647 h 1488"/>
                  <a:gd name="T96" fmla="*/ 2147483647 w 942"/>
                  <a:gd name="T97" fmla="*/ 2147483647 h 1488"/>
                  <a:gd name="T98" fmla="*/ 2147483647 w 942"/>
                  <a:gd name="T99" fmla="*/ 2147483647 h 1488"/>
                  <a:gd name="T100" fmla="*/ 2147483647 w 942"/>
                  <a:gd name="T101" fmla="*/ 2147483647 h 1488"/>
                  <a:gd name="T102" fmla="*/ 2147483647 w 942"/>
                  <a:gd name="T103" fmla="*/ 2147483647 h 1488"/>
                  <a:gd name="T104" fmla="*/ 2147483647 w 942"/>
                  <a:gd name="T105" fmla="*/ 2147483647 h 1488"/>
                  <a:gd name="T106" fmla="*/ 2147483647 w 942"/>
                  <a:gd name="T107" fmla="*/ 2147483647 h 1488"/>
                  <a:gd name="T108" fmla="*/ 2147483647 w 942"/>
                  <a:gd name="T109" fmla="*/ 2147483647 h 1488"/>
                  <a:gd name="T110" fmla="*/ 2147483647 w 942"/>
                  <a:gd name="T111" fmla="*/ 2147483647 h 1488"/>
                  <a:gd name="T112" fmla="*/ 2147483647 w 942"/>
                  <a:gd name="T113" fmla="*/ 2147483647 h 1488"/>
                  <a:gd name="T114" fmla="*/ 2147483647 w 942"/>
                  <a:gd name="T115" fmla="*/ 2147483647 h 1488"/>
                  <a:gd name="T116" fmla="*/ 2147483647 w 942"/>
                  <a:gd name="T117" fmla="*/ 2147483647 h 1488"/>
                  <a:gd name="T118" fmla="*/ 2147483647 w 942"/>
                  <a:gd name="T119" fmla="*/ 2147483647 h 1488"/>
                  <a:gd name="T120" fmla="*/ 2147483647 w 942"/>
                  <a:gd name="T121" fmla="*/ 2147483647 h 148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942"/>
                  <a:gd name="T184" fmla="*/ 0 h 1488"/>
                  <a:gd name="T185" fmla="*/ 942 w 942"/>
                  <a:gd name="T186" fmla="*/ 1488 h 148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942" h="1488">
                    <a:moveTo>
                      <a:pt x="930" y="1320"/>
                    </a:moveTo>
                    <a:lnTo>
                      <a:pt x="924" y="1314"/>
                    </a:lnTo>
                    <a:lnTo>
                      <a:pt x="912" y="1308"/>
                    </a:lnTo>
                    <a:lnTo>
                      <a:pt x="888" y="1284"/>
                    </a:lnTo>
                    <a:lnTo>
                      <a:pt x="864" y="1284"/>
                    </a:lnTo>
                    <a:lnTo>
                      <a:pt x="858" y="1278"/>
                    </a:lnTo>
                    <a:lnTo>
                      <a:pt x="870" y="1260"/>
                    </a:lnTo>
                    <a:lnTo>
                      <a:pt x="870" y="1230"/>
                    </a:lnTo>
                    <a:lnTo>
                      <a:pt x="882" y="1230"/>
                    </a:lnTo>
                    <a:lnTo>
                      <a:pt x="906" y="1254"/>
                    </a:lnTo>
                    <a:lnTo>
                      <a:pt x="918" y="1236"/>
                    </a:lnTo>
                    <a:lnTo>
                      <a:pt x="918" y="1230"/>
                    </a:lnTo>
                    <a:lnTo>
                      <a:pt x="912" y="1224"/>
                    </a:lnTo>
                    <a:lnTo>
                      <a:pt x="906" y="1212"/>
                    </a:lnTo>
                    <a:lnTo>
                      <a:pt x="900" y="1194"/>
                    </a:lnTo>
                    <a:lnTo>
                      <a:pt x="912" y="1170"/>
                    </a:lnTo>
                    <a:lnTo>
                      <a:pt x="924" y="1158"/>
                    </a:lnTo>
                    <a:lnTo>
                      <a:pt x="930" y="1146"/>
                    </a:lnTo>
                    <a:lnTo>
                      <a:pt x="930" y="1140"/>
                    </a:lnTo>
                    <a:lnTo>
                      <a:pt x="924" y="1128"/>
                    </a:lnTo>
                    <a:lnTo>
                      <a:pt x="912" y="1116"/>
                    </a:lnTo>
                    <a:lnTo>
                      <a:pt x="906" y="1116"/>
                    </a:lnTo>
                    <a:lnTo>
                      <a:pt x="924" y="1086"/>
                    </a:lnTo>
                    <a:lnTo>
                      <a:pt x="912" y="1038"/>
                    </a:lnTo>
                    <a:lnTo>
                      <a:pt x="918" y="1032"/>
                    </a:lnTo>
                    <a:lnTo>
                      <a:pt x="924" y="1020"/>
                    </a:lnTo>
                    <a:lnTo>
                      <a:pt x="930" y="1014"/>
                    </a:lnTo>
                    <a:lnTo>
                      <a:pt x="930" y="1002"/>
                    </a:lnTo>
                    <a:lnTo>
                      <a:pt x="918" y="978"/>
                    </a:lnTo>
                    <a:lnTo>
                      <a:pt x="906" y="960"/>
                    </a:lnTo>
                    <a:lnTo>
                      <a:pt x="894" y="948"/>
                    </a:lnTo>
                    <a:lnTo>
                      <a:pt x="882" y="930"/>
                    </a:lnTo>
                    <a:lnTo>
                      <a:pt x="870" y="918"/>
                    </a:lnTo>
                    <a:lnTo>
                      <a:pt x="864" y="900"/>
                    </a:lnTo>
                    <a:lnTo>
                      <a:pt x="864" y="882"/>
                    </a:lnTo>
                    <a:lnTo>
                      <a:pt x="828" y="882"/>
                    </a:lnTo>
                    <a:lnTo>
                      <a:pt x="822" y="888"/>
                    </a:lnTo>
                    <a:lnTo>
                      <a:pt x="816" y="888"/>
                    </a:lnTo>
                    <a:lnTo>
                      <a:pt x="816" y="894"/>
                    </a:lnTo>
                    <a:lnTo>
                      <a:pt x="804" y="894"/>
                    </a:lnTo>
                    <a:lnTo>
                      <a:pt x="798" y="888"/>
                    </a:lnTo>
                    <a:lnTo>
                      <a:pt x="798" y="882"/>
                    </a:lnTo>
                    <a:lnTo>
                      <a:pt x="786" y="888"/>
                    </a:lnTo>
                    <a:lnTo>
                      <a:pt x="786" y="858"/>
                    </a:lnTo>
                    <a:lnTo>
                      <a:pt x="780" y="840"/>
                    </a:lnTo>
                    <a:lnTo>
                      <a:pt x="780" y="828"/>
                    </a:lnTo>
                    <a:lnTo>
                      <a:pt x="786" y="816"/>
                    </a:lnTo>
                    <a:lnTo>
                      <a:pt x="786" y="804"/>
                    </a:lnTo>
                    <a:lnTo>
                      <a:pt x="792" y="798"/>
                    </a:lnTo>
                    <a:lnTo>
                      <a:pt x="792" y="780"/>
                    </a:lnTo>
                    <a:lnTo>
                      <a:pt x="786" y="768"/>
                    </a:lnTo>
                    <a:lnTo>
                      <a:pt x="786" y="756"/>
                    </a:lnTo>
                    <a:lnTo>
                      <a:pt x="732" y="804"/>
                    </a:lnTo>
                    <a:lnTo>
                      <a:pt x="672" y="810"/>
                    </a:lnTo>
                    <a:lnTo>
                      <a:pt x="672" y="804"/>
                    </a:lnTo>
                    <a:lnTo>
                      <a:pt x="666" y="798"/>
                    </a:lnTo>
                    <a:lnTo>
                      <a:pt x="660" y="786"/>
                    </a:lnTo>
                    <a:lnTo>
                      <a:pt x="660" y="774"/>
                    </a:lnTo>
                    <a:lnTo>
                      <a:pt x="654" y="768"/>
                    </a:lnTo>
                    <a:lnTo>
                      <a:pt x="648" y="768"/>
                    </a:lnTo>
                    <a:lnTo>
                      <a:pt x="636" y="762"/>
                    </a:lnTo>
                    <a:lnTo>
                      <a:pt x="594" y="762"/>
                    </a:lnTo>
                    <a:lnTo>
                      <a:pt x="600" y="756"/>
                    </a:lnTo>
                    <a:lnTo>
                      <a:pt x="612" y="750"/>
                    </a:lnTo>
                    <a:lnTo>
                      <a:pt x="618" y="738"/>
                    </a:lnTo>
                    <a:lnTo>
                      <a:pt x="624" y="732"/>
                    </a:lnTo>
                    <a:lnTo>
                      <a:pt x="600" y="708"/>
                    </a:lnTo>
                    <a:lnTo>
                      <a:pt x="588" y="702"/>
                    </a:lnTo>
                    <a:lnTo>
                      <a:pt x="576" y="690"/>
                    </a:lnTo>
                    <a:lnTo>
                      <a:pt x="564" y="666"/>
                    </a:lnTo>
                    <a:lnTo>
                      <a:pt x="558" y="660"/>
                    </a:lnTo>
                    <a:lnTo>
                      <a:pt x="558" y="654"/>
                    </a:lnTo>
                    <a:lnTo>
                      <a:pt x="552" y="630"/>
                    </a:lnTo>
                    <a:lnTo>
                      <a:pt x="540" y="624"/>
                    </a:lnTo>
                    <a:lnTo>
                      <a:pt x="534" y="618"/>
                    </a:lnTo>
                    <a:lnTo>
                      <a:pt x="534" y="606"/>
                    </a:lnTo>
                    <a:lnTo>
                      <a:pt x="540" y="600"/>
                    </a:lnTo>
                    <a:lnTo>
                      <a:pt x="552" y="594"/>
                    </a:lnTo>
                    <a:lnTo>
                      <a:pt x="546" y="588"/>
                    </a:lnTo>
                    <a:lnTo>
                      <a:pt x="546" y="564"/>
                    </a:lnTo>
                    <a:lnTo>
                      <a:pt x="552" y="552"/>
                    </a:lnTo>
                    <a:lnTo>
                      <a:pt x="582" y="522"/>
                    </a:lnTo>
                    <a:lnTo>
                      <a:pt x="588" y="528"/>
                    </a:lnTo>
                    <a:lnTo>
                      <a:pt x="594" y="528"/>
                    </a:lnTo>
                    <a:lnTo>
                      <a:pt x="588" y="522"/>
                    </a:lnTo>
                    <a:lnTo>
                      <a:pt x="588" y="504"/>
                    </a:lnTo>
                    <a:lnTo>
                      <a:pt x="582" y="498"/>
                    </a:lnTo>
                    <a:lnTo>
                      <a:pt x="582" y="486"/>
                    </a:lnTo>
                    <a:lnTo>
                      <a:pt x="600" y="468"/>
                    </a:lnTo>
                    <a:lnTo>
                      <a:pt x="600" y="414"/>
                    </a:lnTo>
                    <a:lnTo>
                      <a:pt x="624" y="414"/>
                    </a:lnTo>
                    <a:lnTo>
                      <a:pt x="624" y="408"/>
                    </a:lnTo>
                    <a:lnTo>
                      <a:pt x="630" y="402"/>
                    </a:lnTo>
                    <a:lnTo>
                      <a:pt x="630" y="396"/>
                    </a:lnTo>
                    <a:lnTo>
                      <a:pt x="642" y="384"/>
                    </a:lnTo>
                    <a:lnTo>
                      <a:pt x="654" y="378"/>
                    </a:lnTo>
                    <a:lnTo>
                      <a:pt x="660" y="372"/>
                    </a:lnTo>
                    <a:lnTo>
                      <a:pt x="672" y="366"/>
                    </a:lnTo>
                    <a:lnTo>
                      <a:pt x="702" y="366"/>
                    </a:lnTo>
                    <a:lnTo>
                      <a:pt x="708" y="354"/>
                    </a:lnTo>
                    <a:lnTo>
                      <a:pt x="738" y="360"/>
                    </a:lnTo>
                    <a:lnTo>
                      <a:pt x="744" y="354"/>
                    </a:lnTo>
                    <a:lnTo>
                      <a:pt x="750" y="342"/>
                    </a:lnTo>
                    <a:lnTo>
                      <a:pt x="756" y="336"/>
                    </a:lnTo>
                    <a:lnTo>
                      <a:pt x="774" y="336"/>
                    </a:lnTo>
                    <a:lnTo>
                      <a:pt x="786" y="348"/>
                    </a:lnTo>
                    <a:lnTo>
                      <a:pt x="786" y="354"/>
                    </a:lnTo>
                    <a:lnTo>
                      <a:pt x="804" y="354"/>
                    </a:lnTo>
                    <a:lnTo>
                      <a:pt x="816" y="342"/>
                    </a:lnTo>
                    <a:lnTo>
                      <a:pt x="798" y="330"/>
                    </a:lnTo>
                    <a:lnTo>
                      <a:pt x="786" y="312"/>
                    </a:lnTo>
                    <a:lnTo>
                      <a:pt x="768" y="312"/>
                    </a:lnTo>
                    <a:lnTo>
                      <a:pt x="762" y="306"/>
                    </a:lnTo>
                    <a:lnTo>
                      <a:pt x="762" y="288"/>
                    </a:lnTo>
                    <a:lnTo>
                      <a:pt x="774" y="264"/>
                    </a:lnTo>
                    <a:lnTo>
                      <a:pt x="774" y="258"/>
                    </a:lnTo>
                    <a:lnTo>
                      <a:pt x="780" y="252"/>
                    </a:lnTo>
                    <a:lnTo>
                      <a:pt x="786" y="252"/>
                    </a:lnTo>
                    <a:lnTo>
                      <a:pt x="792" y="246"/>
                    </a:lnTo>
                    <a:lnTo>
                      <a:pt x="798" y="234"/>
                    </a:lnTo>
                    <a:lnTo>
                      <a:pt x="798" y="216"/>
                    </a:lnTo>
                    <a:lnTo>
                      <a:pt x="792" y="210"/>
                    </a:lnTo>
                    <a:lnTo>
                      <a:pt x="780" y="204"/>
                    </a:lnTo>
                    <a:lnTo>
                      <a:pt x="756" y="204"/>
                    </a:lnTo>
                    <a:lnTo>
                      <a:pt x="750" y="198"/>
                    </a:lnTo>
                    <a:lnTo>
                      <a:pt x="744" y="186"/>
                    </a:lnTo>
                    <a:lnTo>
                      <a:pt x="744" y="180"/>
                    </a:lnTo>
                    <a:lnTo>
                      <a:pt x="732" y="180"/>
                    </a:lnTo>
                    <a:lnTo>
                      <a:pt x="726" y="186"/>
                    </a:lnTo>
                    <a:lnTo>
                      <a:pt x="714" y="192"/>
                    </a:lnTo>
                    <a:lnTo>
                      <a:pt x="702" y="192"/>
                    </a:lnTo>
                    <a:lnTo>
                      <a:pt x="696" y="186"/>
                    </a:lnTo>
                    <a:lnTo>
                      <a:pt x="690" y="186"/>
                    </a:lnTo>
                    <a:lnTo>
                      <a:pt x="684" y="180"/>
                    </a:lnTo>
                    <a:lnTo>
                      <a:pt x="660" y="180"/>
                    </a:lnTo>
                    <a:lnTo>
                      <a:pt x="648" y="192"/>
                    </a:lnTo>
                    <a:lnTo>
                      <a:pt x="648" y="204"/>
                    </a:lnTo>
                    <a:lnTo>
                      <a:pt x="612" y="204"/>
                    </a:lnTo>
                    <a:lnTo>
                      <a:pt x="588" y="198"/>
                    </a:lnTo>
                    <a:lnTo>
                      <a:pt x="576" y="192"/>
                    </a:lnTo>
                    <a:lnTo>
                      <a:pt x="576" y="168"/>
                    </a:lnTo>
                    <a:lnTo>
                      <a:pt x="582" y="162"/>
                    </a:lnTo>
                    <a:lnTo>
                      <a:pt x="582" y="156"/>
                    </a:lnTo>
                    <a:lnTo>
                      <a:pt x="576" y="150"/>
                    </a:lnTo>
                    <a:lnTo>
                      <a:pt x="564" y="144"/>
                    </a:lnTo>
                    <a:lnTo>
                      <a:pt x="552" y="144"/>
                    </a:lnTo>
                    <a:lnTo>
                      <a:pt x="552" y="138"/>
                    </a:lnTo>
                    <a:lnTo>
                      <a:pt x="546" y="132"/>
                    </a:lnTo>
                    <a:lnTo>
                      <a:pt x="546" y="108"/>
                    </a:lnTo>
                    <a:lnTo>
                      <a:pt x="540" y="102"/>
                    </a:lnTo>
                    <a:lnTo>
                      <a:pt x="528" y="102"/>
                    </a:lnTo>
                    <a:lnTo>
                      <a:pt x="516" y="84"/>
                    </a:lnTo>
                    <a:lnTo>
                      <a:pt x="498" y="84"/>
                    </a:lnTo>
                    <a:lnTo>
                      <a:pt x="486" y="48"/>
                    </a:lnTo>
                    <a:lnTo>
                      <a:pt x="480" y="42"/>
                    </a:lnTo>
                    <a:lnTo>
                      <a:pt x="468" y="36"/>
                    </a:lnTo>
                    <a:lnTo>
                      <a:pt x="450" y="18"/>
                    </a:lnTo>
                    <a:lnTo>
                      <a:pt x="438" y="12"/>
                    </a:lnTo>
                    <a:lnTo>
                      <a:pt x="426" y="0"/>
                    </a:lnTo>
                    <a:lnTo>
                      <a:pt x="396" y="0"/>
                    </a:lnTo>
                    <a:lnTo>
                      <a:pt x="414" y="0"/>
                    </a:lnTo>
                    <a:lnTo>
                      <a:pt x="414" y="24"/>
                    </a:lnTo>
                    <a:lnTo>
                      <a:pt x="408" y="24"/>
                    </a:lnTo>
                    <a:lnTo>
                      <a:pt x="408" y="30"/>
                    </a:lnTo>
                    <a:lnTo>
                      <a:pt x="402" y="30"/>
                    </a:lnTo>
                    <a:lnTo>
                      <a:pt x="426" y="48"/>
                    </a:lnTo>
                    <a:lnTo>
                      <a:pt x="426" y="78"/>
                    </a:lnTo>
                    <a:lnTo>
                      <a:pt x="414" y="84"/>
                    </a:lnTo>
                    <a:lnTo>
                      <a:pt x="402" y="126"/>
                    </a:lnTo>
                    <a:lnTo>
                      <a:pt x="396" y="138"/>
                    </a:lnTo>
                    <a:lnTo>
                      <a:pt x="384" y="150"/>
                    </a:lnTo>
                    <a:lnTo>
                      <a:pt x="378" y="162"/>
                    </a:lnTo>
                    <a:lnTo>
                      <a:pt x="366" y="174"/>
                    </a:lnTo>
                    <a:lnTo>
                      <a:pt x="354" y="192"/>
                    </a:lnTo>
                    <a:lnTo>
                      <a:pt x="336" y="204"/>
                    </a:lnTo>
                    <a:lnTo>
                      <a:pt x="276" y="234"/>
                    </a:lnTo>
                    <a:lnTo>
                      <a:pt x="258" y="240"/>
                    </a:lnTo>
                    <a:lnTo>
                      <a:pt x="240" y="252"/>
                    </a:lnTo>
                    <a:lnTo>
                      <a:pt x="222" y="270"/>
                    </a:lnTo>
                    <a:lnTo>
                      <a:pt x="222" y="276"/>
                    </a:lnTo>
                    <a:lnTo>
                      <a:pt x="210" y="282"/>
                    </a:lnTo>
                    <a:lnTo>
                      <a:pt x="210" y="300"/>
                    </a:lnTo>
                    <a:lnTo>
                      <a:pt x="198" y="312"/>
                    </a:lnTo>
                    <a:lnTo>
                      <a:pt x="198" y="336"/>
                    </a:lnTo>
                    <a:lnTo>
                      <a:pt x="192" y="348"/>
                    </a:lnTo>
                    <a:lnTo>
                      <a:pt x="192" y="378"/>
                    </a:lnTo>
                    <a:lnTo>
                      <a:pt x="174" y="378"/>
                    </a:lnTo>
                    <a:lnTo>
                      <a:pt x="168" y="384"/>
                    </a:lnTo>
                    <a:lnTo>
                      <a:pt x="168" y="390"/>
                    </a:lnTo>
                    <a:lnTo>
                      <a:pt x="162" y="396"/>
                    </a:lnTo>
                    <a:lnTo>
                      <a:pt x="162" y="402"/>
                    </a:lnTo>
                    <a:lnTo>
                      <a:pt x="144" y="402"/>
                    </a:lnTo>
                    <a:lnTo>
                      <a:pt x="138" y="390"/>
                    </a:lnTo>
                    <a:lnTo>
                      <a:pt x="138" y="372"/>
                    </a:lnTo>
                    <a:lnTo>
                      <a:pt x="132" y="366"/>
                    </a:lnTo>
                    <a:lnTo>
                      <a:pt x="132" y="360"/>
                    </a:lnTo>
                    <a:lnTo>
                      <a:pt x="102" y="360"/>
                    </a:lnTo>
                    <a:lnTo>
                      <a:pt x="90" y="348"/>
                    </a:lnTo>
                    <a:lnTo>
                      <a:pt x="78" y="360"/>
                    </a:lnTo>
                    <a:lnTo>
                      <a:pt x="66" y="366"/>
                    </a:lnTo>
                    <a:lnTo>
                      <a:pt x="60" y="366"/>
                    </a:lnTo>
                    <a:lnTo>
                      <a:pt x="54" y="360"/>
                    </a:lnTo>
                    <a:lnTo>
                      <a:pt x="66" y="348"/>
                    </a:lnTo>
                    <a:lnTo>
                      <a:pt x="54" y="336"/>
                    </a:lnTo>
                    <a:lnTo>
                      <a:pt x="60" y="330"/>
                    </a:lnTo>
                    <a:lnTo>
                      <a:pt x="66" y="318"/>
                    </a:lnTo>
                    <a:lnTo>
                      <a:pt x="78" y="312"/>
                    </a:lnTo>
                    <a:lnTo>
                      <a:pt x="84" y="300"/>
                    </a:lnTo>
                    <a:lnTo>
                      <a:pt x="90" y="294"/>
                    </a:lnTo>
                    <a:lnTo>
                      <a:pt x="90" y="288"/>
                    </a:lnTo>
                    <a:lnTo>
                      <a:pt x="84" y="288"/>
                    </a:lnTo>
                    <a:lnTo>
                      <a:pt x="72" y="282"/>
                    </a:lnTo>
                    <a:lnTo>
                      <a:pt x="66" y="282"/>
                    </a:lnTo>
                    <a:lnTo>
                      <a:pt x="6" y="342"/>
                    </a:lnTo>
                    <a:lnTo>
                      <a:pt x="0" y="354"/>
                    </a:lnTo>
                    <a:lnTo>
                      <a:pt x="0" y="390"/>
                    </a:lnTo>
                    <a:lnTo>
                      <a:pt x="6" y="396"/>
                    </a:lnTo>
                    <a:lnTo>
                      <a:pt x="18" y="396"/>
                    </a:lnTo>
                    <a:lnTo>
                      <a:pt x="12" y="420"/>
                    </a:lnTo>
                    <a:lnTo>
                      <a:pt x="36" y="444"/>
                    </a:lnTo>
                    <a:lnTo>
                      <a:pt x="36" y="462"/>
                    </a:lnTo>
                    <a:lnTo>
                      <a:pt x="12" y="486"/>
                    </a:lnTo>
                    <a:lnTo>
                      <a:pt x="12" y="492"/>
                    </a:lnTo>
                    <a:lnTo>
                      <a:pt x="18" y="504"/>
                    </a:lnTo>
                    <a:lnTo>
                      <a:pt x="24" y="510"/>
                    </a:lnTo>
                    <a:lnTo>
                      <a:pt x="36" y="516"/>
                    </a:lnTo>
                    <a:lnTo>
                      <a:pt x="54" y="522"/>
                    </a:lnTo>
                    <a:lnTo>
                      <a:pt x="66" y="522"/>
                    </a:lnTo>
                    <a:lnTo>
                      <a:pt x="108" y="564"/>
                    </a:lnTo>
                    <a:lnTo>
                      <a:pt x="114" y="576"/>
                    </a:lnTo>
                    <a:lnTo>
                      <a:pt x="132" y="594"/>
                    </a:lnTo>
                    <a:lnTo>
                      <a:pt x="138" y="612"/>
                    </a:lnTo>
                    <a:lnTo>
                      <a:pt x="144" y="624"/>
                    </a:lnTo>
                    <a:lnTo>
                      <a:pt x="144" y="642"/>
                    </a:lnTo>
                    <a:lnTo>
                      <a:pt x="150" y="648"/>
                    </a:lnTo>
                    <a:lnTo>
                      <a:pt x="156" y="660"/>
                    </a:lnTo>
                    <a:lnTo>
                      <a:pt x="168" y="666"/>
                    </a:lnTo>
                    <a:lnTo>
                      <a:pt x="174" y="678"/>
                    </a:lnTo>
                    <a:lnTo>
                      <a:pt x="192" y="696"/>
                    </a:lnTo>
                    <a:lnTo>
                      <a:pt x="204" y="720"/>
                    </a:lnTo>
                    <a:lnTo>
                      <a:pt x="216" y="732"/>
                    </a:lnTo>
                    <a:lnTo>
                      <a:pt x="222" y="744"/>
                    </a:lnTo>
                    <a:lnTo>
                      <a:pt x="234" y="762"/>
                    </a:lnTo>
                    <a:lnTo>
                      <a:pt x="240" y="768"/>
                    </a:lnTo>
                    <a:lnTo>
                      <a:pt x="246" y="780"/>
                    </a:lnTo>
                    <a:lnTo>
                      <a:pt x="252" y="822"/>
                    </a:lnTo>
                    <a:lnTo>
                      <a:pt x="252" y="828"/>
                    </a:lnTo>
                    <a:lnTo>
                      <a:pt x="258" y="834"/>
                    </a:lnTo>
                    <a:lnTo>
                      <a:pt x="264" y="846"/>
                    </a:lnTo>
                    <a:lnTo>
                      <a:pt x="270" y="864"/>
                    </a:lnTo>
                    <a:lnTo>
                      <a:pt x="282" y="876"/>
                    </a:lnTo>
                    <a:lnTo>
                      <a:pt x="288" y="894"/>
                    </a:lnTo>
                    <a:lnTo>
                      <a:pt x="294" y="906"/>
                    </a:lnTo>
                    <a:lnTo>
                      <a:pt x="294" y="918"/>
                    </a:lnTo>
                    <a:lnTo>
                      <a:pt x="300" y="924"/>
                    </a:lnTo>
                    <a:lnTo>
                      <a:pt x="312" y="924"/>
                    </a:lnTo>
                    <a:lnTo>
                      <a:pt x="324" y="936"/>
                    </a:lnTo>
                    <a:lnTo>
                      <a:pt x="324" y="948"/>
                    </a:lnTo>
                    <a:lnTo>
                      <a:pt x="330" y="954"/>
                    </a:lnTo>
                    <a:lnTo>
                      <a:pt x="330" y="966"/>
                    </a:lnTo>
                    <a:lnTo>
                      <a:pt x="336" y="984"/>
                    </a:lnTo>
                    <a:lnTo>
                      <a:pt x="360" y="1014"/>
                    </a:lnTo>
                    <a:lnTo>
                      <a:pt x="378" y="1050"/>
                    </a:lnTo>
                    <a:lnTo>
                      <a:pt x="396" y="1074"/>
                    </a:lnTo>
                    <a:lnTo>
                      <a:pt x="402" y="1086"/>
                    </a:lnTo>
                    <a:lnTo>
                      <a:pt x="408" y="1104"/>
                    </a:lnTo>
                    <a:lnTo>
                      <a:pt x="408" y="1116"/>
                    </a:lnTo>
                    <a:lnTo>
                      <a:pt x="402" y="1128"/>
                    </a:lnTo>
                    <a:lnTo>
                      <a:pt x="402" y="1146"/>
                    </a:lnTo>
                    <a:lnTo>
                      <a:pt x="414" y="1158"/>
                    </a:lnTo>
                    <a:lnTo>
                      <a:pt x="420" y="1170"/>
                    </a:lnTo>
                    <a:lnTo>
                      <a:pt x="444" y="1194"/>
                    </a:lnTo>
                    <a:lnTo>
                      <a:pt x="456" y="1200"/>
                    </a:lnTo>
                    <a:lnTo>
                      <a:pt x="468" y="1212"/>
                    </a:lnTo>
                    <a:lnTo>
                      <a:pt x="474" y="1224"/>
                    </a:lnTo>
                    <a:lnTo>
                      <a:pt x="498" y="1248"/>
                    </a:lnTo>
                    <a:lnTo>
                      <a:pt x="516" y="1260"/>
                    </a:lnTo>
                    <a:lnTo>
                      <a:pt x="546" y="1278"/>
                    </a:lnTo>
                    <a:lnTo>
                      <a:pt x="576" y="1290"/>
                    </a:lnTo>
                    <a:lnTo>
                      <a:pt x="600" y="1302"/>
                    </a:lnTo>
                    <a:lnTo>
                      <a:pt x="642" y="1320"/>
                    </a:lnTo>
                    <a:lnTo>
                      <a:pt x="696" y="1350"/>
                    </a:lnTo>
                    <a:lnTo>
                      <a:pt x="708" y="1362"/>
                    </a:lnTo>
                    <a:lnTo>
                      <a:pt x="726" y="1374"/>
                    </a:lnTo>
                    <a:lnTo>
                      <a:pt x="738" y="1380"/>
                    </a:lnTo>
                    <a:lnTo>
                      <a:pt x="750" y="1392"/>
                    </a:lnTo>
                    <a:lnTo>
                      <a:pt x="774" y="1404"/>
                    </a:lnTo>
                    <a:lnTo>
                      <a:pt x="780" y="1428"/>
                    </a:lnTo>
                    <a:lnTo>
                      <a:pt x="792" y="1434"/>
                    </a:lnTo>
                    <a:lnTo>
                      <a:pt x="798" y="1446"/>
                    </a:lnTo>
                    <a:lnTo>
                      <a:pt x="810" y="1452"/>
                    </a:lnTo>
                    <a:lnTo>
                      <a:pt x="816" y="1458"/>
                    </a:lnTo>
                    <a:lnTo>
                      <a:pt x="840" y="1470"/>
                    </a:lnTo>
                    <a:lnTo>
                      <a:pt x="846" y="1482"/>
                    </a:lnTo>
                    <a:lnTo>
                      <a:pt x="858" y="1488"/>
                    </a:lnTo>
                    <a:lnTo>
                      <a:pt x="894" y="1464"/>
                    </a:lnTo>
                    <a:lnTo>
                      <a:pt x="900" y="1458"/>
                    </a:lnTo>
                    <a:lnTo>
                      <a:pt x="900" y="1440"/>
                    </a:lnTo>
                    <a:lnTo>
                      <a:pt x="894" y="1428"/>
                    </a:lnTo>
                    <a:lnTo>
                      <a:pt x="912" y="1416"/>
                    </a:lnTo>
                    <a:lnTo>
                      <a:pt x="900" y="1392"/>
                    </a:lnTo>
                    <a:lnTo>
                      <a:pt x="918" y="1374"/>
                    </a:lnTo>
                    <a:lnTo>
                      <a:pt x="930" y="1368"/>
                    </a:lnTo>
                    <a:lnTo>
                      <a:pt x="942" y="1344"/>
                    </a:lnTo>
                    <a:lnTo>
                      <a:pt x="942" y="1332"/>
                    </a:lnTo>
                    <a:lnTo>
                      <a:pt x="930" y="1320"/>
                    </a:lnTo>
                    <a:close/>
                  </a:path>
                </a:pathLst>
              </a:custGeom>
              <a:solidFill>
                <a:srgbClr val="9D90A0">
                  <a:lumMod val="40000"/>
                  <a:lumOff val="60000"/>
                </a:srgbClr>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41" name="Paraguay" descr="© INSCALE GmbH, 05.05.2010&#10;http://www.presentationload.com/">
                <a:extLst>
                  <a:ext uri="{FF2B5EF4-FFF2-40B4-BE49-F238E27FC236}">
                    <a16:creationId xmlns:a16="http://schemas.microsoft.com/office/drawing/2014/main" id="{EB8DC4C3-D819-45B3-A659-7AD9EE5E3E4B}"/>
                  </a:ext>
                </a:extLst>
              </p:cNvPr>
              <p:cNvSpPr>
                <a:spLocks/>
              </p:cNvSpPr>
              <p:nvPr/>
            </p:nvSpPr>
            <p:spPr bwMode="gray">
              <a:xfrm>
                <a:off x="2495680" y="5234986"/>
                <a:ext cx="237107" cy="298024"/>
              </a:xfrm>
              <a:custGeom>
                <a:avLst/>
                <a:gdLst>
                  <a:gd name="T0" fmla="*/ 2147483647 w 600"/>
                  <a:gd name="T1" fmla="*/ 2147483647 h 678"/>
                  <a:gd name="T2" fmla="*/ 2147483647 w 600"/>
                  <a:gd name="T3" fmla="*/ 2147483647 h 678"/>
                  <a:gd name="T4" fmla="*/ 2147483647 w 600"/>
                  <a:gd name="T5" fmla="*/ 2147483647 h 678"/>
                  <a:gd name="T6" fmla="*/ 2147483647 w 600"/>
                  <a:gd name="T7" fmla="*/ 2147483647 h 678"/>
                  <a:gd name="T8" fmla="*/ 2147483647 w 600"/>
                  <a:gd name="T9" fmla="*/ 2147483647 h 678"/>
                  <a:gd name="T10" fmla="*/ 2147483647 w 600"/>
                  <a:gd name="T11" fmla="*/ 2147483647 h 678"/>
                  <a:gd name="T12" fmla="*/ 2147483647 w 600"/>
                  <a:gd name="T13" fmla="*/ 2147483647 h 678"/>
                  <a:gd name="T14" fmla="*/ 2147483647 w 600"/>
                  <a:gd name="T15" fmla="*/ 2147483647 h 678"/>
                  <a:gd name="T16" fmla="*/ 2147483647 w 600"/>
                  <a:gd name="T17" fmla="*/ 2147483647 h 678"/>
                  <a:gd name="T18" fmla="*/ 2147483647 w 600"/>
                  <a:gd name="T19" fmla="*/ 2147483647 h 678"/>
                  <a:gd name="T20" fmla="*/ 2147483647 w 600"/>
                  <a:gd name="T21" fmla="*/ 2147483647 h 678"/>
                  <a:gd name="T22" fmla="*/ 2147483647 w 600"/>
                  <a:gd name="T23" fmla="*/ 2147483647 h 678"/>
                  <a:gd name="T24" fmla="*/ 2147483647 w 600"/>
                  <a:gd name="T25" fmla="*/ 2147483647 h 678"/>
                  <a:gd name="T26" fmla="*/ 2147483647 w 600"/>
                  <a:gd name="T27" fmla="*/ 2147483647 h 678"/>
                  <a:gd name="T28" fmla="*/ 2147483647 w 600"/>
                  <a:gd name="T29" fmla="*/ 2147483647 h 678"/>
                  <a:gd name="T30" fmla="*/ 2147483647 w 600"/>
                  <a:gd name="T31" fmla="*/ 2147483647 h 678"/>
                  <a:gd name="T32" fmla="*/ 2147483647 w 600"/>
                  <a:gd name="T33" fmla="*/ 2147483647 h 678"/>
                  <a:gd name="T34" fmla="*/ 2147483647 w 600"/>
                  <a:gd name="T35" fmla="*/ 2147483647 h 678"/>
                  <a:gd name="T36" fmla="*/ 2147483647 w 600"/>
                  <a:gd name="T37" fmla="*/ 2147483647 h 678"/>
                  <a:gd name="T38" fmla="*/ 2147483647 w 600"/>
                  <a:gd name="T39" fmla="*/ 2147483647 h 678"/>
                  <a:gd name="T40" fmla="*/ 2147483647 w 600"/>
                  <a:gd name="T41" fmla="*/ 2147483647 h 678"/>
                  <a:gd name="T42" fmla="*/ 2147483647 w 600"/>
                  <a:gd name="T43" fmla="*/ 2147483647 h 678"/>
                  <a:gd name="T44" fmla="*/ 2147483647 w 600"/>
                  <a:gd name="T45" fmla="*/ 2147483647 h 678"/>
                  <a:gd name="T46" fmla="*/ 2147483647 w 600"/>
                  <a:gd name="T47" fmla="*/ 2147483647 h 678"/>
                  <a:gd name="T48" fmla="*/ 2147483647 w 600"/>
                  <a:gd name="T49" fmla="*/ 2147483647 h 678"/>
                  <a:gd name="T50" fmla="*/ 2147483647 w 600"/>
                  <a:gd name="T51" fmla="*/ 2147483647 h 678"/>
                  <a:gd name="T52" fmla="*/ 2147483647 w 600"/>
                  <a:gd name="T53" fmla="*/ 0 h 678"/>
                  <a:gd name="T54" fmla="*/ 2147483647 w 600"/>
                  <a:gd name="T55" fmla="*/ 2147483647 h 678"/>
                  <a:gd name="T56" fmla="*/ 2147483647 w 600"/>
                  <a:gd name="T57" fmla="*/ 2147483647 h 678"/>
                  <a:gd name="T58" fmla="*/ 0 w 600"/>
                  <a:gd name="T59" fmla="*/ 2147483647 h 678"/>
                  <a:gd name="T60" fmla="*/ 2147483647 w 600"/>
                  <a:gd name="T61" fmla="*/ 2147483647 h 678"/>
                  <a:gd name="T62" fmla="*/ 2147483647 w 600"/>
                  <a:gd name="T63" fmla="*/ 2147483647 h 678"/>
                  <a:gd name="T64" fmla="*/ 2147483647 w 600"/>
                  <a:gd name="T65" fmla="*/ 2147483647 h 678"/>
                  <a:gd name="T66" fmla="*/ 2147483647 w 600"/>
                  <a:gd name="T67" fmla="*/ 2147483647 h 678"/>
                  <a:gd name="T68" fmla="*/ 2147483647 w 600"/>
                  <a:gd name="T69" fmla="*/ 2147483647 h 678"/>
                  <a:gd name="T70" fmla="*/ 2147483647 w 600"/>
                  <a:gd name="T71" fmla="*/ 2147483647 h 678"/>
                  <a:gd name="T72" fmla="*/ 2147483647 w 600"/>
                  <a:gd name="T73" fmla="*/ 2147483647 h 678"/>
                  <a:gd name="T74" fmla="*/ 2147483647 w 600"/>
                  <a:gd name="T75" fmla="*/ 2147483647 h 678"/>
                  <a:gd name="T76" fmla="*/ 2147483647 w 600"/>
                  <a:gd name="T77" fmla="*/ 2147483647 h 678"/>
                  <a:gd name="T78" fmla="*/ 2147483647 w 600"/>
                  <a:gd name="T79" fmla="*/ 2147483647 h 678"/>
                  <a:gd name="T80" fmla="*/ 2147483647 w 600"/>
                  <a:gd name="T81" fmla="*/ 2147483647 h 678"/>
                  <a:gd name="T82" fmla="*/ 2147483647 w 600"/>
                  <a:gd name="T83" fmla="*/ 2147483647 h 678"/>
                  <a:gd name="T84" fmla="*/ 2147483647 w 600"/>
                  <a:gd name="T85" fmla="*/ 2147483647 h 678"/>
                  <a:gd name="T86" fmla="*/ 2147483647 w 600"/>
                  <a:gd name="T87" fmla="*/ 2147483647 h 678"/>
                  <a:gd name="T88" fmla="*/ 2147483647 w 600"/>
                  <a:gd name="T89" fmla="*/ 2147483647 h 678"/>
                  <a:gd name="T90" fmla="*/ 2147483647 w 600"/>
                  <a:gd name="T91" fmla="*/ 2147483647 h 678"/>
                  <a:gd name="T92" fmla="*/ 2147483647 w 600"/>
                  <a:gd name="T93" fmla="*/ 2147483647 h 678"/>
                  <a:gd name="T94" fmla="*/ 2147483647 w 600"/>
                  <a:gd name="T95" fmla="*/ 2147483647 h 678"/>
                  <a:gd name="T96" fmla="*/ 2147483647 w 600"/>
                  <a:gd name="T97" fmla="*/ 2147483647 h 678"/>
                  <a:gd name="T98" fmla="*/ 2147483647 w 600"/>
                  <a:gd name="T99" fmla="*/ 2147483647 h 678"/>
                  <a:gd name="T100" fmla="*/ 2147483647 w 600"/>
                  <a:gd name="T101" fmla="*/ 2147483647 h 678"/>
                  <a:gd name="T102" fmla="*/ 2147483647 w 600"/>
                  <a:gd name="T103" fmla="*/ 2147483647 h 678"/>
                  <a:gd name="T104" fmla="*/ 2147483647 w 600"/>
                  <a:gd name="T105" fmla="*/ 2147483647 h 678"/>
                  <a:gd name="T106" fmla="*/ 2147483647 w 600"/>
                  <a:gd name="T107" fmla="*/ 2147483647 h 678"/>
                  <a:gd name="T108" fmla="*/ 2147483647 w 600"/>
                  <a:gd name="T109" fmla="*/ 2147483647 h 678"/>
                  <a:gd name="T110" fmla="*/ 2147483647 w 600"/>
                  <a:gd name="T111" fmla="*/ 2147483647 h 678"/>
                  <a:gd name="T112" fmla="*/ 2147483647 w 600"/>
                  <a:gd name="T113" fmla="*/ 2147483647 h 678"/>
                  <a:gd name="T114" fmla="*/ 2147483647 w 600"/>
                  <a:gd name="T115" fmla="*/ 2147483647 h 678"/>
                  <a:gd name="T116" fmla="*/ 2147483647 w 600"/>
                  <a:gd name="T117" fmla="*/ 2147483647 h 678"/>
                  <a:gd name="T118" fmla="*/ 2147483647 w 600"/>
                  <a:gd name="T119" fmla="*/ 2147483647 h 67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600"/>
                  <a:gd name="T181" fmla="*/ 0 h 678"/>
                  <a:gd name="T182" fmla="*/ 600 w 600"/>
                  <a:gd name="T183" fmla="*/ 678 h 67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600" h="678">
                    <a:moveTo>
                      <a:pt x="480" y="660"/>
                    </a:moveTo>
                    <a:lnTo>
                      <a:pt x="492" y="678"/>
                    </a:lnTo>
                    <a:lnTo>
                      <a:pt x="492" y="660"/>
                    </a:lnTo>
                    <a:lnTo>
                      <a:pt x="498" y="654"/>
                    </a:lnTo>
                    <a:lnTo>
                      <a:pt x="510" y="654"/>
                    </a:lnTo>
                    <a:lnTo>
                      <a:pt x="516" y="660"/>
                    </a:lnTo>
                    <a:lnTo>
                      <a:pt x="516" y="666"/>
                    </a:lnTo>
                    <a:lnTo>
                      <a:pt x="522" y="660"/>
                    </a:lnTo>
                    <a:lnTo>
                      <a:pt x="534" y="636"/>
                    </a:lnTo>
                    <a:lnTo>
                      <a:pt x="546" y="624"/>
                    </a:lnTo>
                    <a:lnTo>
                      <a:pt x="552" y="624"/>
                    </a:lnTo>
                    <a:lnTo>
                      <a:pt x="558" y="618"/>
                    </a:lnTo>
                    <a:lnTo>
                      <a:pt x="570" y="612"/>
                    </a:lnTo>
                    <a:lnTo>
                      <a:pt x="576" y="600"/>
                    </a:lnTo>
                    <a:lnTo>
                      <a:pt x="588" y="594"/>
                    </a:lnTo>
                    <a:lnTo>
                      <a:pt x="588" y="516"/>
                    </a:lnTo>
                    <a:lnTo>
                      <a:pt x="582" y="498"/>
                    </a:lnTo>
                    <a:lnTo>
                      <a:pt x="582" y="486"/>
                    </a:lnTo>
                    <a:lnTo>
                      <a:pt x="588" y="474"/>
                    </a:lnTo>
                    <a:lnTo>
                      <a:pt x="588" y="468"/>
                    </a:lnTo>
                    <a:lnTo>
                      <a:pt x="594" y="462"/>
                    </a:lnTo>
                    <a:lnTo>
                      <a:pt x="594" y="432"/>
                    </a:lnTo>
                    <a:lnTo>
                      <a:pt x="600" y="414"/>
                    </a:lnTo>
                    <a:lnTo>
                      <a:pt x="600" y="396"/>
                    </a:lnTo>
                    <a:lnTo>
                      <a:pt x="594" y="384"/>
                    </a:lnTo>
                    <a:lnTo>
                      <a:pt x="582" y="372"/>
                    </a:lnTo>
                    <a:lnTo>
                      <a:pt x="570" y="366"/>
                    </a:lnTo>
                    <a:lnTo>
                      <a:pt x="558" y="366"/>
                    </a:lnTo>
                    <a:lnTo>
                      <a:pt x="540" y="384"/>
                    </a:lnTo>
                    <a:lnTo>
                      <a:pt x="528" y="384"/>
                    </a:lnTo>
                    <a:lnTo>
                      <a:pt x="516" y="378"/>
                    </a:lnTo>
                    <a:lnTo>
                      <a:pt x="504" y="354"/>
                    </a:lnTo>
                    <a:lnTo>
                      <a:pt x="504" y="336"/>
                    </a:lnTo>
                    <a:lnTo>
                      <a:pt x="498" y="318"/>
                    </a:lnTo>
                    <a:lnTo>
                      <a:pt x="498" y="294"/>
                    </a:lnTo>
                    <a:lnTo>
                      <a:pt x="492" y="276"/>
                    </a:lnTo>
                    <a:lnTo>
                      <a:pt x="492" y="252"/>
                    </a:lnTo>
                    <a:lnTo>
                      <a:pt x="486" y="246"/>
                    </a:lnTo>
                    <a:lnTo>
                      <a:pt x="474" y="240"/>
                    </a:lnTo>
                    <a:lnTo>
                      <a:pt x="402" y="240"/>
                    </a:lnTo>
                    <a:lnTo>
                      <a:pt x="360" y="234"/>
                    </a:lnTo>
                    <a:lnTo>
                      <a:pt x="324" y="222"/>
                    </a:lnTo>
                    <a:lnTo>
                      <a:pt x="318" y="216"/>
                    </a:lnTo>
                    <a:lnTo>
                      <a:pt x="312" y="204"/>
                    </a:lnTo>
                    <a:lnTo>
                      <a:pt x="312" y="162"/>
                    </a:lnTo>
                    <a:lnTo>
                      <a:pt x="318" y="150"/>
                    </a:lnTo>
                    <a:lnTo>
                      <a:pt x="318" y="132"/>
                    </a:lnTo>
                    <a:lnTo>
                      <a:pt x="306" y="132"/>
                    </a:lnTo>
                    <a:lnTo>
                      <a:pt x="306" y="96"/>
                    </a:lnTo>
                    <a:lnTo>
                      <a:pt x="294" y="90"/>
                    </a:lnTo>
                    <a:lnTo>
                      <a:pt x="288" y="84"/>
                    </a:lnTo>
                    <a:lnTo>
                      <a:pt x="288" y="78"/>
                    </a:lnTo>
                    <a:lnTo>
                      <a:pt x="270" y="42"/>
                    </a:lnTo>
                    <a:lnTo>
                      <a:pt x="216" y="0"/>
                    </a:lnTo>
                    <a:lnTo>
                      <a:pt x="138" y="12"/>
                    </a:lnTo>
                    <a:lnTo>
                      <a:pt x="36" y="30"/>
                    </a:lnTo>
                    <a:lnTo>
                      <a:pt x="30" y="60"/>
                    </a:lnTo>
                    <a:lnTo>
                      <a:pt x="18" y="72"/>
                    </a:lnTo>
                    <a:lnTo>
                      <a:pt x="6" y="78"/>
                    </a:lnTo>
                    <a:lnTo>
                      <a:pt x="0" y="84"/>
                    </a:lnTo>
                    <a:lnTo>
                      <a:pt x="0" y="96"/>
                    </a:lnTo>
                    <a:lnTo>
                      <a:pt x="12" y="120"/>
                    </a:lnTo>
                    <a:lnTo>
                      <a:pt x="12" y="126"/>
                    </a:lnTo>
                    <a:lnTo>
                      <a:pt x="18" y="132"/>
                    </a:lnTo>
                    <a:lnTo>
                      <a:pt x="18" y="156"/>
                    </a:lnTo>
                    <a:lnTo>
                      <a:pt x="6" y="228"/>
                    </a:lnTo>
                    <a:lnTo>
                      <a:pt x="6" y="246"/>
                    </a:lnTo>
                    <a:lnTo>
                      <a:pt x="24" y="264"/>
                    </a:lnTo>
                    <a:lnTo>
                      <a:pt x="24" y="270"/>
                    </a:lnTo>
                    <a:lnTo>
                      <a:pt x="30" y="276"/>
                    </a:lnTo>
                    <a:lnTo>
                      <a:pt x="36" y="288"/>
                    </a:lnTo>
                    <a:lnTo>
                      <a:pt x="48" y="294"/>
                    </a:lnTo>
                    <a:lnTo>
                      <a:pt x="54" y="306"/>
                    </a:lnTo>
                    <a:lnTo>
                      <a:pt x="60" y="312"/>
                    </a:lnTo>
                    <a:lnTo>
                      <a:pt x="84" y="324"/>
                    </a:lnTo>
                    <a:lnTo>
                      <a:pt x="102" y="342"/>
                    </a:lnTo>
                    <a:lnTo>
                      <a:pt x="114" y="348"/>
                    </a:lnTo>
                    <a:lnTo>
                      <a:pt x="120" y="366"/>
                    </a:lnTo>
                    <a:lnTo>
                      <a:pt x="126" y="366"/>
                    </a:lnTo>
                    <a:lnTo>
                      <a:pt x="132" y="372"/>
                    </a:lnTo>
                    <a:lnTo>
                      <a:pt x="168" y="390"/>
                    </a:lnTo>
                    <a:lnTo>
                      <a:pt x="198" y="390"/>
                    </a:lnTo>
                    <a:lnTo>
                      <a:pt x="210" y="396"/>
                    </a:lnTo>
                    <a:lnTo>
                      <a:pt x="216" y="402"/>
                    </a:lnTo>
                    <a:lnTo>
                      <a:pt x="228" y="408"/>
                    </a:lnTo>
                    <a:lnTo>
                      <a:pt x="234" y="414"/>
                    </a:lnTo>
                    <a:lnTo>
                      <a:pt x="240" y="414"/>
                    </a:lnTo>
                    <a:lnTo>
                      <a:pt x="246" y="420"/>
                    </a:lnTo>
                    <a:lnTo>
                      <a:pt x="258" y="426"/>
                    </a:lnTo>
                    <a:lnTo>
                      <a:pt x="276" y="438"/>
                    </a:lnTo>
                    <a:lnTo>
                      <a:pt x="312" y="456"/>
                    </a:lnTo>
                    <a:lnTo>
                      <a:pt x="318" y="462"/>
                    </a:lnTo>
                    <a:lnTo>
                      <a:pt x="330" y="462"/>
                    </a:lnTo>
                    <a:lnTo>
                      <a:pt x="342" y="468"/>
                    </a:lnTo>
                    <a:lnTo>
                      <a:pt x="360" y="474"/>
                    </a:lnTo>
                    <a:lnTo>
                      <a:pt x="372" y="480"/>
                    </a:lnTo>
                    <a:lnTo>
                      <a:pt x="378" y="486"/>
                    </a:lnTo>
                    <a:lnTo>
                      <a:pt x="372" y="492"/>
                    </a:lnTo>
                    <a:lnTo>
                      <a:pt x="372" y="504"/>
                    </a:lnTo>
                    <a:lnTo>
                      <a:pt x="366" y="510"/>
                    </a:lnTo>
                    <a:lnTo>
                      <a:pt x="360" y="522"/>
                    </a:lnTo>
                    <a:lnTo>
                      <a:pt x="366" y="528"/>
                    </a:lnTo>
                    <a:lnTo>
                      <a:pt x="372" y="540"/>
                    </a:lnTo>
                    <a:lnTo>
                      <a:pt x="372" y="546"/>
                    </a:lnTo>
                    <a:lnTo>
                      <a:pt x="366" y="552"/>
                    </a:lnTo>
                    <a:lnTo>
                      <a:pt x="348" y="552"/>
                    </a:lnTo>
                    <a:lnTo>
                      <a:pt x="348" y="588"/>
                    </a:lnTo>
                    <a:lnTo>
                      <a:pt x="342" y="594"/>
                    </a:lnTo>
                    <a:lnTo>
                      <a:pt x="336" y="606"/>
                    </a:lnTo>
                    <a:lnTo>
                      <a:pt x="330" y="612"/>
                    </a:lnTo>
                    <a:lnTo>
                      <a:pt x="324" y="624"/>
                    </a:lnTo>
                    <a:lnTo>
                      <a:pt x="324" y="636"/>
                    </a:lnTo>
                    <a:lnTo>
                      <a:pt x="330" y="642"/>
                    </a:lnTo>
                    <a:lnTo>
                      <a:pt x="354" y="642"/>
                    </a:lnTo>
                    <a:lnTo>
                      <a:pt x="366" y="636"/>
                    </a:lnTo>
                    <a:lnTo>
                      <a:pt x="372" y="636"/>
                    </a:lnTo>
                    <a:lnTo>
                      <a:pt x="384" y="642"/>
                    </a:lnTo>
                    <a:lnTo>
                      <a:pt x="390" y="648"/>
                    </a:lnTo>
                    <a:lnTo>
                      <a:pt x="402" y="654"/>
                    </a:lnTo>
                    <a:lnTo>
                      <a:pt x="420" y="660"/>
                    </a:lnTo>
                    <a:lnTo>
                      <a:pt x="480" y="660"/>
                    </a:lnTo>
                    <a:close/>
                  </a:path>
                </a:pathLst>
              </a:custGeom>
              <a:solidFill>
                <a:srgbClr val="9D90A0">
                  <a:lumMod val="40000"/>
                  <a:lumOff val="60000"/>
                </a:srgbClr>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42" name="Panama" descr="© INSCALE GmbH, 05.05.2010&#10;http://www.presentationload.com/">
                <a:extLst>
                  <a:ext uri="{FF2B5EF4-FFF2-40B4-BE49-F238E27FC236}">
                    <a16:creationId xmlns:a16="http://schemas.microsoft.com/office/drawing/2014/main" id="{B200AC15-08E9-4B0A-8480-1C763AB59557}"/>
                  </a:ext>
                </a:extLst>
              </p:cNvPr>
              <p:cNvSpPr>
                <a:spLocks/>
              </p:cNvSpPr>
              <p:nvPr/>
            </p:nvSpPr>
            <p:spPr bwMode="gray">
              <a:xfrm>
                <a:off x="1887315" y="4212693"/>
                <a:ext cx="160671" cy="86635"/>
              </a:xfrm>
              <a:custGeom>
                <a:avLst/>
                <a:gdLst>
                  <a:gd name="T0" fmla="*/ 2147483647 w 408"/>
                  <a:gd name="T1" fmla="*/ 2147483647 h 198"/>
                  <a:gd name="T2" fmla="*/ 2147483647 w 408"/>
                  <a:gd name="T3" fmla="*/ 2147483647 h 198"/>
                  <a:gd name="T4" fmla="*/ 2147483647 w 408"/>
                  <a:gd name="T5" fmla="*/ 2147483647 h 198"/>
                  <a:gd name="T6" fmla="*/ 2147483647 w 408"/>
                  <a:gd name="T7" fmla="*/ 2147483647 h 198"/>
                  <a:gd name="T8" fmla="*/ 2147483647 w 408"/>
                  <a:gd name="T9" fmla="*/ 2147483647 h 198"/>
                  <a:gd name="T10" fmla="*/ 2147483647 w 408"/>
                  <a:gd name="T11" fmla="*/ 2147483647 h 198"/>
                  <a:gd name="T12" fmla="*/ 2147483647 w 408"/>
                  <a:gd name="T13" fmla="*/ 2147483647 h 198"/>
                  <a:gd name="T14" fmla="*/ 2147483647 w 408"/>
                  <a:gd name="T15" fmla="*/ 2147483647 h 198"/>
                  <a:gd name="T16" fmla="*/ 2147483647 w 408"/>
                  <a:gd name="T17" fmla="*/ 2147483647 h 198"/>
                  <a:gd name="T18" fmla="*/ 2147483647 w 408"/>
                  <a:gd name="T19" fmla="*/ 2147483647 h 198"/>
                  <a:gd name="T20" fmla="*/ 2147483647 w 408"/>
                  <a:gd name="T21" fmla="*/ 2147483647 h 198"/>
                  <a:gd name="T22" fmla="*/ 2147483647 w 408"/>
                  <a:gd name="T23" fmla="*/ 2147483647 h 198"/>
                  <a:gd name="T24" fmla="*/ 2147483647 w 408"/>
                  <a:gd name="T25" fmla="*/ 2147483647 h 198"/>
                  <a:gd name="T26" fmla="*/ 2147483647 w 408"/>
                  <a:gd name="T27" fmla="*/ 2147483647 h 198"/>
                  <a:gd name="T28" fmla="*/ 2147483647 w 408"/>
                  <a:gd name="T29" fmla="*/ 2147483647 h 198"/>
                  <a:gd name="T30" fmla="*/ 2147483647 w 408"/>
                  <a:gd name="T31" fmla="*/ 2147483647 h 198"/>
                  <a:gd name="T32" fmla="*/ 2147483647 w 408"/>
                  <a:gd name="T33" fmla="*/ 0 h 198"/>
                  <a:gd name="T34" fmla="*/ 2147483647 w 408"/>
                  <a:gd name="T35" fmla="*/ 2147483647 h 198"/>
                  <a:gd name="T36" fmla="*/ 2147483647 w 408"/>
                  <a:gd name="T37" fmla="*/ 2147483647 h 198"/>
                  <a:gd name="T38" fmla="*/ 2147483647 w 408"/>
                  <a:gd name="T39" fmla="*/ 2147483647 h 198"/>
                  <a:gd name="T40" fmla="*/ 2147483647 w 408"/>
                  <a:gd name="T41" fmla="*/ 2147483647 h 198"/>
                  <a:gd name="T42" fmla="*/ 2147483647 w 408"/>
                  <a:gd name="T43" fmla="*/ 2147483647 h 198"/>
                  <a:gd name="T44" fmla="*/ 2147483647 w 408"/>
                  <a:gd name="T45" fmla="*/ 2147483647 h 198"/>
                  <a:gd name="T46" fmla="*/ 2147483647 w 408"/>
                  <a:gd name="T47" fmla="*/ 2147483647 h 198"/>
                  <a:gd name="T48" fmla="*/ 2147483647 w 408"/>
                  <a:gd name="T49" fmla="*/ 2147483647 h 198"/>
                  <a:gd name="T50" fmla="*/ 2147483647 w 408"/>
                  <a:gd name="T51" fmla="*/ 2147483647 h 198"/>
                  <a:gd name="T52" fmla="*/ 2147483647 w 408"/>
                  <a:gd name="T53" fmla="*/ 2147483647 h 198"/>
                  <a:gd name="T54" fmla="*/ 2147483647 w 408"/>
                  <a:gd name="T55" fmla="*/ 2147483647 h 198"/>
                  <a:gd name="T56" fmla="*/ 0 w 408"/>
                  <a:gd name="T57" fmla="*/ 2147483647 h 198"/>
                  <a:gd name="T58" fmla="*/ 2147483647 w 408"/>
                  <a:gd name="T59" fmla="*/ 2147483647 h 198"/>
                  <a:gd name="T60" fmla="*/ 2147483647 w 408"/>
                  <a:gd name="T61" fmla="*/ 2147483647 h 198"/>
                  <a:gd name="T62" fmla="*/ 2147483647 w 408"/>
                  <a:gd name="T63" fmla="*/ 2147483647 h 198"/>
                  <a:gd name="T64" fmla="*/ 0 w 408"/>
                  <a:gd name="T65" fmla="*/ 2147483647 h 198"/>
                  <a:gd name="T66" fmla="*/ 2147483647 w 408"/>
                  <a:gd name="T67" fmla="*/ 2147483647 h 198"/>
                  <a:gd name="T68" fmla="*/ 2147483647 w 408"/>
                  <a:gd name="T69" fmla="*/ 2147483647 h 198"/>
                  <a:gd name="T70" fmla="*/ 2147483647 w 408"/>
                  <a:gd name="T71" fmla="*/ 2147483647 h 198"/>
                  <a:gd name="T72" fmla="*/ 2147483647 w 408"/>
                  <a:gd name="T73" fmla="*/ 2147483647 h 198"/>
                  <a:gd name="T74" fmla="*/ 2147483647 w 408"/>
                  <a:gd name="T75" fmla="*/ 2147483647 h 198"/>
                  <a:gd name="T76" fmla="*/ 2147483647 w 408"/>
                  <a:gd name="T77" fmla="*/ 2147483647 h 198"/>
                  <a:gd name="T78" fmla="*/ 2147483647 w 408"/>
                  <a:gd name="T79" fmla="*/ 2147483647 h 198"/>
                  <a:gd name="T80" fmla="*/ 2147483647 w 408"/>
                  <a:gd name="T81" fmla="*/ 2147483647 h 198"/>
                  <a:gd name="T82" fmla="*/ 2147483647 w 408"/>
                  <a:gd name="T83" fmla="*/ 2147483647 h 198"/>
                  <a:gd name="T84" fmla="*/ 2147483647 w 408"/>
                  <a:gd name="T85" fmla="*/ 2147483647 h 198"/>
                  <a:gd name="T86" fmla="*/ 2147483647 w 408"/>
                  <a:gd name="T87" fmla="*/ 2147483647 h 198"/>
                  <a:gd name="T88" fmla="*/ 2147483647 w 408"/>
                  <a:gd name="T89" fmla="*/ 2147483647 h 198"/>
                  <a:gd name="T90" fmla="*/ 2147483647 w 408"/>
                  <a:gd name="T91" fmla="*/ 2147483647 h 198"/>
                  <a:gd name="T92" fmla="*/ 2147483647 w 408"/>
                  <a:gd name="T93" fmla="*/ 2147483647 h 198"/>
                  <a:gd name="T94" fmla="*/ 2147483647 w 408"/>
                  <a:gd name="T95" fmla="*/ 2147483647 h 198"/>
                  <a:gd name="T96" fmla="*/ 2147483647 w 408"/>
                  <a:gd name="T97" fmla="*/ 2147483647 h 198"/>
                  <a:gd name="T98" fmla="*/ 2147483647 w 408"/>
                  <a:gd name="T99" fmla="*/ 2147483647 h 198"/>
                  <a:gd name="T100" fmla="*/ 2147483647 w 408"/>
                  <a:gd name="T101" fmla="*/ 2147483647 h 19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08"/>
                  <a:gd name="T154" fmla="*/ 0 h 198"/>
                  <a:gd name="T155" fmla="*/ 408 w 408"/>
                  <a:gd name="T156" fmla="*/ 198 h 198"/>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08" h="198">
                    <a:moveTo>
                      <a:pt x="306" y="66"/>
                    </a:moveTo>
                    <a:lnTo>
                      <a:pt x="318" y="78"/>
                    </a:lnTo>
                    <a:lnTo>
                      <a:pt x="324" y="90"/>
                    </a:lnTo>
                    <a:lnTo>
                      <a:pt x="330" y="96"/>
                    </a:lnTo>
                    <a:lnTo>
                      <a:pt x="342" y="90"/>
                    </a:lnTo>
                    <a:lnTo>
                      <a:pt x="372" y="120"/>
                    </a:lnTo>
                    <a:lnTo>
                      <a:pt x="342" y="102"/>
                    </a:lnTo>
                    <a:lnTo>
                      <a:pt x="342" y="120"/>
                    </a:lnTo>
                    <a:lnTo>
                      <a:pt x="336" y="132"/>
                    </a:lnTo>
                    <a:lnTo>
                      <a:pt x="336" y="162"/>
                    </a:lnTo>
                    <a:lnTo>
                      <a:pt x="342" y="168"/>
                    </a:lnTo>
                    <a:lnTo>
                      <a:pt x="348" y="180"/>
                    </a:lnTo>
                    <a:lnTo>
                      <a:pt x="354" y="186"/>
                    </a:lnTo>
                    <a:lnTo>
                      <a:pt x="360" y="186"/>
                    </a:lnTo>
                    <a:lnTo>
                      <a:pt x="372" y="156"/>
                    </a:lnTo>
                    <a:lnTo>
                      <a:pt x="378" y="162"/>
                    </a:lnTo>
                    <a:lnTo>
                      <a:pt x="390" y="168"/>
                    </a:lnTo>
                    <a:lnTo>
                      <a:pt x="396" y="162"/>
                    </a:lnTo>
                    <a:lnTo>
                      <a:pt x="408" y="138"/>
                    </a:lnTo>
                    <a:lnTo>
                      <a:pt x="408" y="126"/>
                    </a:lnTo>
                    <a:lnTo>
                      <a:pt x="396" y="120"/>
                    </a:lnTo>
                    <a:lnTo>
                      <a:pt x="390" y="108"/>
                    </a:lnTo>
                    <a:lnTo>
                      <a:pt x="390" y="90"/>
                    </a:lnTo>
                    <a:lnTo>
                      <a:pt x="396" y="84"/>
                    </a:lnTo>
                    <a:lnTo>
                      <a:pt x="372" y="66"/>
                    </a:lnTo>
                    <a:lnTo>
                      <a:pt x="372" y="60"/>
                    </a:lnTo>
                    <a:lnTo>
                      <a:pt x="366" y="54"/>
                    </a:lnTo>
                    <a:lnTo>
                      <a:pt x="366" y="42"/>
                    </a:lnTo>
                    <a:lnTo>
                      <a:pt x="360" y="30"/>
                    </a:lnTo>
                    <a:lnTo>
                      <a:pt x="348" y="24"/>
                    </a:lnTo>
                    <a:lnTo>
                      <a:pt x="330" y="18"/>
                    </a:lnTo>
                    <a:lnTo>
                      <a:pt x="288" y="18"/>
                    </a:lnTo>
                    <a:lnTo>
                      <a:pt x="282" y="0"/>
                    </a:lnTo>
                    <a:lnTo>
                      <a:pt x="246" y="0"/>
                    </a:lnTo>
                    <a:lnTo>
                      <a:pt x="234" y="6"/>
                    </a:lnTo>
                    <a:lnTo>
                      <a:pt x="228" y="12"/>
                    </a:lnTo>
                    <a:lnTo>
                      <a:pt x="222" y="24"/>
                    </a:lnTo>
                    <a:lnTo>
                      <a:pt x="210" y="36"/>
                    </a:lnTo>
                    <a:lnTo>
                      <a:pt x="204" y="36"/>
                    </a:lnTo>
                    <a:lnTo>
                      <a:pt x="198" y="30"/>
                    </a:lnTo>
                    <a:lnTo>
                      <a:pt x="192" y="30"/>
                    </a:lnTo>
                    <a:lnTo>
                      <a:pt x="168" y="42"/>
                    </a:lnTo>
                    <a:lnTo>
                      <a:pt x="144" y="66"/>
                    </a:lnTo>
                    <a:lnTo>
                      <a:pt x="132" y="72"/>
                    </a:lnTo>
                    <a:lnTo>
                      <a:pt x="120" y="72"/>
                    </a:lnTo>
                    <a:lnTo>
                      <a:pt x="114" y="66"/>
                    </a:lnTo>
                    <a:lnTo>
                      <a:pt x="102" y="60"/>
                    </a:lnTo>
                    <a:lnTo>
                      <a:pt x="90" y="42"/>
                    </a:lnTo>
                    <a:lnTo>
                      <a:pt x="78" y="54"/>
                    </a:lnTo>
                    <a:lnTo>
                      <a:pt x="60" y="54"/>
                    </a:lnTo>
                    <a:lnTo>
                      <a:pt x="48" y="42"/>
                    </a:lnTo>
                    <a:lnTo>
                      <a:pt x="48" y="18"/>
                    </a:lnTo>
                    <a:lnTo>
                      <a:pt x="36" y="6"/>
                    </a:lnTo>
                    <a:lnTo>
                      <a:pt x="24" y="6"/>
                    </a:lnTo>
                    <a:lnTo>
                      <a:pt x="18" y="12"/>
                    </a:lnTo>
                    <a:lnTo>
                      <a:pt x="6" y="12"/>
                    </a:lnTo>
                    <a:lnTo>
                      <a:pt x="0" y="18"/>
                    </a:lnTo>
                    <a:lnTo>
                      <a:pt x="0" y="36"/>
                    </a:lnTo>
                    <a:lnTo>
                      <a:pt x="6" y="42"/>
                    </a:lnTo>
                    <a:lnTo>
                      <a:pt x="6" y="48"/>
                    </a:lnTo>
                    <a:lnTo>
                      <a:pt x="24" y="48"/>
                    </a:lnTo>
                    <a:lnTo>
                      <a:pt x="30" y="54"/>
                    </a:lnTo>
                    <a:lnTo>
                      <a:pt x="12" y="72"/>
                    </a:lnTo>
                    <a:lnTo>
                      <a:pt x="6" y="72"/>
                    </a:lnTo>
                    <a:lnTo>
                      <a:pt x="6" y="96"/>
                    </a:lnTo>
                    <a:lnTo>
                      <a:pt x="0" y="102"/>
                    </a:lnTo>
                    <a:lnTo>
                      <a:pt x="6" y="108"/>
                    </a:lnTo>
                    <a:lnTo>
                      <a:pt x="48" y="102"/>
                    </a:lnTo>
                    <a:lnTo>
                      <a:pt x="60" y="120"/>
                    </a:lnTo>
                    <a:lnTo>
                      <a:pt x="90" y="114"/>
                    </a:lnTo>
                    <a:lnTo>
                      <a:pt x="90" y="126"/>
                    </a:lnTo>
                    <a:lnTo>
                      <a:pt x="84" y="132"/>
                    </a:lnTo>
                    <a:lnTo>
                      <a:pt x="84" y="150"/>
                    </a:lnTo>
                    <a:lnTo>
                      <a:pt x="90" y="156"/>
                    </a:lnTo>
                    <a:lnTo>
                      <a:pt x="108" y="156"/>
                    </a:lnTo>
                    <a:lnTo>
                      <a:pt x="114" y="150"/>
                    </a:lnTo>
                    <a:lnTo>
                      <a:pt x="120" y="150"/>
                    </a:lnTo>
                    <a:lnTo>
                      <a:pt x="120" y="132"/>
                    </a:lnTo>
                    <a:lnTo>
                      <a:pt x="138" y="126"/>
                    </a:lnTo>
                    <a:lnTo>
                      <a:pt x="138" y="150"/>
                    </a:lnTo>
                    <a:lnTo>
                      <a:pt x="144" y="168"/>
                    </a:lnTo>
                    <a:lnTo>
                      <a:pt x="144" y="180"/>
                    </a:lnTo>
                    <a:lnTo>
                      <a:pt x="150" y="192"/>
                    </a:lnTo>
                    <a:lnTo>
                      <a:pt x="156" y="198"/>
                    </a:lnTo>
                    <a:lnTo>
                      <a:pt x="162" y="198"/>
                    </a:lnTo>
                    <a:lnTo>
                      <a:pt x="180" y="192"/>
                    </a:lnTo>
                    <a:lnTo>
                      <a:pt x="198" y="174"/>
                    </a:lnTo>
                    <a:lnTo>
                      <a:pt x="204" y="174"/>
                    </a:lnTo>
                    <a:lnTo>
                      <a:pt x="198" y="168"/>
                    </a:lnTo>
                    <a:lnTo>
                      <a:pt x="186" y="162"/>
                    </a:lnTo>
                    <a:lnTo>
                      <a:pt x="180" y="150"/>
                    </a:lnTo>
                    <a:lnTo>
                      <a:pt x="174" y="144"/>
                    </a:lnTo>
                    <a:lnTo>
                      <a:pt x="168" y="132"/>
                    </a:lnTo>
                    <a:lnTo>
                      <a:pt x="162" y="126"/>
                    </a:lnTo>
                    <a:lnTo>
                      <a:pt x="186" y="102"/>
                    </a:lnTo>
                    <a:lnTo>
                      <a:pt x="222" y="84"/>
                    </a:lnTo>
                    <a:lnTo>
                      <a:pt x="228" y="72"/>
                    </a:lnTo>
                    <a:lnTo>
                      <a:pt x="246" y="54"/>
                    </a:lnTo>
                    <a:lnTo>
                      <a:pt x="258" y="48"/>
                    </a:lnTo>
                    <a:lnTo>
                      <a:pt x="276" y="54"/>
                    </a:lnTo>
                    <a:lnTo>
                      <a:pt x="288" y="60"/>
                    </a:lnTo>
                    <a:lnTo>
                      <a:pt x="306" y="66"/>
                    </a:lnTo>
                    <a:close/>
                  </a:path>
                </a:pathLst>
              </a:custGeom>
              <a:solidFill>
                <a:srgbClr val="9D90A0">
                  <a:lumMod val="40000"/>
                  <a:lumOff val="60000"/>
                </a:srgbClr>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43" name="Newfoundland" descr="© INSCALE GmbH, 05.05.2010&#10;http://www.presentationload.com/">
                <a:extLst>
                  <a:ext uri="{FF2B5EF4-FFF2-40B4-BE49-F238E27FC236}">
                    <a16:creationId xmlns:a16="http://schemas.microsoft.com/office/drawing/2014/main" id="{C054A5C1-AD22-48E7-AE77-4C37B58860F0}"/>
                  </a:ext>
                </a:extLst>
              </p:cNvPr>
              <p:cNvSpPr>
                <a:spLocks/>
              </p:cNvSpPr>
              <p:nvPr/>
            </p:nvSpPr>
            <p:spPr bwMode="gray">
              <a:xfrm>
                <a:off x="2776464" y="2738166"/>
                <a:ext cx="168470" cy="169805"/>
              </a:xfrm>
              <a:custGeom>
                <a:avLst/>
                <a:gdLst>
                  <a:gd name="T0" fmla="*/ 2147483647 w 426"/>
                  <a:gd name="T1" fmla="*/ 2147483647 h 384"/>
                  <a:gd name="T2" fmla="*/ 2147483647 w 426"/>
                  <a:gd name="T3" fmla="*/ 2147483647 h 384"/>
                  <a:gd name="T4" fmla="*/ 2147483647 w 426"/>
                  <a:gd name="T5" fmla="*/ 0 h 384"/>
                  <a:gd name="T6" fmla="*/ 2147483647 w 426"/>
                  <a:gd name="T7" fmla="*/ 2147483647 h 384"/>
                  <a:gd name="T8" fmla="*/ 2147483647 w 426"/>
                  <a:gd name="T9" fmla="*/ 2147483647 h 384"/>
                  <a:gd name="T10" fmla="*/ 2147483647 w 426"/>
                  <a:gd name="T11" fmla="*/ 2147483647 h 384"/>
                  <a:gd name="T12" fmla="*/ 2147483647 w 426"/>
                  <a:gd name="T13" fmla="*/ 2147483647 h 384"/>
                  <a:gd name="T14" fmla="*/ 2147483647 w 426"/>
                  <a:gd name="T15" fmla="*/ 2147483647 h 384"/>
                  <a:gd name="T16" fmla="*/ 2147483647 w 426"/>
                  <a:gd name="T17" fmla="*/ 2147483647 h 384"/>
                  <a:gd name="T18" fmla="*/ 2147483647 w 426"/>
                  <a:gd name="T19" fmla="*/ 2147483647 h 384"/>
                  <a:gd name="T20" fmla="*/ 2147483647 w 426"/>
                  <a:gd name="T21" fmla="*/ 2147483647 h 384"/>
                  <a:gd name="T22" fmla="*/ 2147483647 w 426"/>
                  <a:gd name="T23" fmla="*/ 2147483647 h 384"/>
                  <a:gd name="T24" fmla="*/ 2147483647 w 426"/>
                  <a:gd name="T25" fmla="*/ 2147483647 h 384"/>
                  <a:gd name="T26" fmla="*/ 2147483647 w 426"/>
                  <a:gd name="T27" fmla="*/ 2147483647 h 384"/>
                  <a:gd name="T28" fmla="*/ 2147483647 w 426"/>
                  <a:gd name="T29" fmla="*/ 2147483647 h 384"/>
                  <a:gd name="T30" fmla="*/ 2147483647 w 426"/>
                  <a:gd name="T31" fmla="*/ 2147483647 h 384"/>
                  <a:gd name="T32" fmla="*/ 2147483647 w 426"/>
                  <a:gd name="T33" fmla="*/ 2147483647 h 384"/>
                  <a:gd name="T34" fmla="*/ 2147483647 w 426"/>
                  <a:gd name="T35" fmla="*/ 2147483647 h 384"/>
                  <a:gd name="T36" fmla="*/ 2147483647 w 426"/>
                  <a:gd name="T37" fmla="*/ 2147483647 h 384"/>
                  <a:gd name="T38" fmla="*/ 2147483647 w 426"/>
                  <a:gd name="T39" fmla="*/ 2147483647 h 384"/>
                  <a:gd name="T40" fmla="*/ 2147483647 w 426"/>
                  <a:gd name="T41" fmla="*/ 2147483647 h 384"/>
                  <a:gd name="T42" fmla="*/ 2147483647 w 426"/>
                  <a:gd name="T43" fmla="*/ 2147483647 h 384"/>
                  <a:gd name="T44" fmla="*/ 2147483647 w 426"/>
                  <a:gd name="T45" fmla="*/ 2147483647 h 384"/>
                  <a:gd name="T46" fmla="*/ 2147483647 w 426"/>
                  <a:gd name="T47" fmla="*/ 2147483647 h 384"/>
                  <a:gd name="T48" fmla="*/ 2147483647 w 426"/>
                  <a:gd name="T49" fmla="*/ 2147483647 h 384"/>
                  <a:gd name="T50" fmla="*/ 2147483647 w 426"/>
                  <a:gd name="T51" fmla="*/ 2147483647 h 384"/>
                  <a:gd name="T52" fmla="*/ 2147483647 w 426"/>
                  <a:gd name="T53" fmla="*/ 2147483647 h 384"/>
                  <a:gd name="T54" fmla="*/ 2147483647 w 426"/>
                  <a:gd name="T55" fmla="*/ 2147483647 h 384"/>
                  <a:gd name="T56" fmla="*/ 2147483647 w 426"/>
                  <a:gd name="T57" fmla="*/ 2147483647 h 384"/>
                  <a:gd name="T58" fmla="*/ 2147483647 w 426"/>
                  <a:gd name="T59" fmla="*/ 2147483647 h 384"/>
                  <a:gd name="T60" fmla="*/ 2147483647 w 426"/>
                  <a:gd name="T61" fmla="*/ 2147483647 h 384"/>
                  <a:gd name="T62" fmla="*/ 2147483647 w 426"/>
                  <a:gd name="T63" fmla="*/ 2147483647 h 384"/>
                  <a:gd name="T64" fmla="*/ 2147483647 w 426"/>
                  <a:gd name="T65" fmla="*/ 2147483647 h 384"/>
                  <a:gd name="T66" fmla="*/ 2147483647 w 426"/>
                  <a:gd name="T67" fmla="*/ 2147483647 h 384"/>
                  <a:gd name="T68" fmla="*/ 2147483647 w 426"/>
                  <a:gd name="T69" fmla="*/ 2147483647 h 384"/>
                  <a:gd name="T70" fmla="*/ 2147483647 w 426"/>
                  <a:gd name="T71" fmla="*/ 2147483647 h 384"/>
                  <a:gd name="T72" fmla="*/ 2147483647 w 426"/>
                  <a:gd name="T73" fmla="*/ 2147483647 h 384"/>
                  <a:gd name="T74" fmla="*/ 2147483647 w 426"/>
                  <a:gd name="T75" fmla="*/ 2147483647 h 384"/>
                  <a:gd name="T76" fmla="*/ 2147483647 w 426"/>
                  <a:gd name="T77" fmla="*/ 2147483647 h 384"/>
                  <a:gd name="T78" fmla="*/ 2147483647 w 426"/>
                  <a:gd name="T79" fmla="*/ 2147483647 h 384"/>
                  <a:gd name="T80" fmla="*/ 2147483647 w 426"/>
                  <a:gd name="T81" fmla="*/ 2147483647 h 384"/>
                  <a:gd name="T82" fmla="*/ 2147483647 w 426"/>
                  <a:gd name="T83" fmla="*/ 2147483647 h 38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426"/>
                  <a:gd name="T127" fmla="*/ 0 h 384"/>
                  <a:gd name="T128" fmla="*/ 426 w 426"/>
                  <a:gd name="T129" fmla="*/ 384 h 38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426" h="384">
                    <a:moveTo>
                      <a:pt x="258" y="18"/>
                    </a:moveTo>
                    <a:lnTo>
                      <a:pt x="270" y="12"/>
                    </a:lnTo>
                    <a:lnTo>
                      <a:pt x="276" y="12"/>
                    </a:lnTo>
                    <a:lnTo>
                      <a:pt x="294" y="6"/>
                    </a:lnTo>
                    <a:lnTo>
                      <a:pt x="306" y="0"/>
                    </a:lnTo>
                    <a:lnTo>
                      <a:pt x="330" y="0"/>
                    </a:lnTo>
                    <a:lnTo>
                      <a:pt x="342" y="6"/>
                    </a:lnTo>
                    <a:lnTo>
                      <a:pt x="342" y="18"/>
                    </a:lnTo>
                    <a:lnTo>
                      <a:pt x="336" y="24"/>
                    </a:lnTo>
                    <a:lnTo>
                      <a:pt x="312" y="42"/>
                    </a:lnTo>
                    <a:lnTo>
                      <a:pt x="312" y="48"/>
                    </a:lnTo>
                    <a:lnTo>
                      <a:pt x="306" y="54"/>
                    </a:lnTo>
                    <a:lnTo>
                      <a:pt x="300" y="72"/>
                    </a:lnTo>
                    <a:lnTo>
                      <a:pt x="276" y="96"/>
                    </a:lnTo>
                    <a:lnTo>
                      <a:pt x="258" y="102"/>
                    </a:lnTo>
                    <a:lnTo>
                      <a:pt x="246" y="102"/>
                    </a:lnTo>
                    <a:lnTo>
                      <a:pt x="210" y="150"/>
                    </a:lnTo>
                    <a:lnTo>
                      <a:pt x="210" y="174"/>
                    </a:lnTo>
                    <a:lnTo>
                      <a:pt x="234" y="156"/>
                    </a:lnTo>
                    <a:lnTo>
                      <a:pt x="264" y="108"/>
                    </a:lnTo>
                    <a:lnTo>
                      <a:pt x="282" y="126"/>
                    </a:lnTo>
                    <a:lnTo>
                      <a:pt x="306" y="138"/>
                    </a:lnTo>
                    <a:lnTo>
                      <a:pt x="294" y="168"/>
                    </a:lnTo>
                    <a:lnTo>
                      <a:pt x="324" y="168"/>
                    </a:lnTo>
                    <a:lnTo>
                      <a:pt x="330" y="192"/>
                    </a:lnTo>
                    <a:lnTo>
                      <a:pt x="384" y="162"/>
                    </a:lnTo>
                    <a:lnTo>
                      <a:pt x="402" y="174"/>
                    </a:lnTo>
                    <a:lnTo>
                      <a:pt x="396" y="180"/>
                    </a:lnTo>
                    <a:lnTo>
                      <a:pt x="390" y="192"/>
                    </a:lnTo>
                    <a:lnTo>
                      <a:pt x="378" y="204"/>
                    </a:lnTo>
                    <a:lnTo>
                      <a:pt x="372" y="204"/>
                    </a:lnTo>
                    <a:lnTo>
                      <a:pt x="384" y="204"/>
                    </a:lnTo>
                    <a:lnTo>
                      <a:pt x="396" y="210"/>
                    </a:lnTo>
                    <a:lnTo>
                      <a:pt x="408" y="210"/>
                    </a:lnTo>
                    <a:lnTo>
                      <a:pt x="408" y="216"/>
                    </a:lnTo>
                    <a:lnTo>
                      <a:pt x="396" y="240"/>
                    </a:lnTo>
                    <a:lnTo>
                      <a:pt x="384" y="252"/>
                    </a:lnTo>
                    <a:lnTo>
                      <a:pt x="378" y="264"/>
                    </a:lnTo>
                    <a:lnTo>
                      <a:pt x="366" y="276"/>
                    </a:lnTo>
                    <a:lnTo>
                      <a:pt x="360" y="288"/>
                    </a:lnTo>
                    <a:lnTo>
                      <a:pt x="354" y="294"/>
                    </a:lnTo>
                    <a:lnTo>
                      <a:pt x="390" y="294"/>
                    </a:lnTo>
                    <a:lnTo>
                      <a:pt x="354" y="312"/>
                    </a:lnTo>
                    <a:lnTo>
                      <a:pt x="384" y="312"/>
                    </a:lnTo>
                    <a:lnTo>
                      <a:pt x="420" y="300"/>
                    </a:lnTo>
                    <a:lnTo>
                      <a:pt x="426" y="324"/>
                    </a:lnTo>
                    <a:lnTo>
                      <a:pt x="360" y="384"/>
                    </a:lnTo>
                    <a:lnTo>
                      <a:pt x="318" y="378"/>
                    </a:lnTo>
                    <a:lnTo>
                      <a:pt x="336" y="354"/>
                    </a:lnTo>
                    <a:lnTo>
                      <a:pt x="306" y="360"/>
                    </a:lnTo>
                    <a:lnTo>
                      <a:pt x="300" y="348"/>
                    </a:lnTo>
                    <a:lnTo>
                      <a:pt x="228" y="360"/>
                    </a:lnTo>
                    <a:lnTo>
                      <a:pt x="192" y="354"/>
                    </a:lnTo>
                    <a:lnTo>
                      <a:pt x="186" y="348"/>
                    </a:lnTo>
                    <a:lnTo>
                      <a:pt x="228" y="336"/>
                    </a:lnTo>
                    <a:lnTo>
                      <a:pt x="234" y="330"/>
                    </a:lnTo>
                    <a:lnTo>
                      <a:pt x="234" y="324"/>
                    </a:lnTo>
                    <a:lnTo>
                      <a:pt x="228" y="324"/>
                    </a:lnTo>
                    <a:lnTo>
                      <a:pt x="222" y="318"/>
                    </a:lnTo>
                    <a:lnTo>
                      <a:pt x="198" y="318"/>
                    </a:lnTo>
                    <a:lnTo>
                      <a:pt x="162" y="312"/>
                    </a:lnTo>
                    <a:lnTo>
                      <a:pt x="126" y="300"/>
                    </a:lnTo>
                    <a:lnTo>
                      <a:pt x="96" y="294"/>
                    </a:lnTo>
                    <a:lnTo>
                      <a:pt x="78" y="294"/>
                    </a:lnTo>
                    <a:lnTo>
                      <a:pt x="72" y="300"/>
                    </a:lnTo>
                    <a:lnTo>
                      <a:pt x="48" y="300"/>
                    </a:lnTo>
                    <a:lnTo>
                      <a:pt x="36" y="306"/>
                    </a:lnTo>
                    <a:lnTo>
                      <a:pt x="24" y="306"/>
                    </a:lnTo>
                    <a:lnTo>
                      <a:pt x="12" y="300"/>
                    </a:lnTo>
                    <a:lnTo>
                      <a:pt x="6" y="294"/>
                    </a:lnTo>
                    <a:lnTo>
                      <a:pt x="18" y="282"/>
                    </a:lnTo>
                    <a:lnTo>
                      <a:pt x="24" y="282"/>
                    </a:lnTo>
                    <a:lnTo>
                      <a:pt x="30" y="276"/>
                    </a:lnTo>
                    <a:lnTo>
                      <a:pt x="42" y="276"/>
                    </a:lnTo>
                    <a:lnTo>
                      <a:pt x="30" y="276"/>
                    </a:lnTo>
                    <a:lnTo>
                      <a:pt x="12" y="270"/>
                    </a:lnTo>
                    <a:lnTo>
                      <a:pt x="0" y="258"/>
                    </a:lnTo>
                    <a:lnTo>
                      <a:pt x="6" y="252"/>
                    </a:lnTo>
                    <a:lnTo>
                      <a:pt x="18" y="252"/>
                    </a:lnTo>
                    <a:lnTo>
                      <a:pt x="54" y="234"/>
                    </a:lnTo>
                    <a:lnTo>
                      <a:pt x="60" y="228"/>
                    </a:lnTo>
                    <a:lnTo>
                      <a:pt x="66" y="228"/>
                    </a:lnTo>
                    <a:lnTo>
                      <a:pt x="204" y="90"/>
                    </a:lnTo>
                    <a:lnTo>
                      <a:pt x="258" y="18"/>
                    </a:lnTo>
                    <a:close/>
                  </a:path>
                </a:pathLst>
              </a:custGeom>
              <a:solidFill>
                <a:srgbClr val="9D90A0">
                  <a:lumMod val="40000"/>
                  <a:lumOff val="60000"/>
                </a:srgbClr>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44" name="Jamaica" descr="© INSCALE GmbH, 05.05.2010&#10;http://www.presentationload.com/">
                <a:extLst>
                  <a:ext uri="{FF2B5EF4-FFF2-40B4-BE49-F238E27FC236}">
                    <a16:creationId xmlns:a16="http://schemas.microsoft.com/office/drawing/2014/main" id="{111D2D7D-5CC5-4562-B98A-40E0C9B5AA8D}"/>
                  </a:ext>
                </a:extLst>
              </p:cNvPr>
              <p:cNvSpPr>
                <a:spLocks/>
              </p:cNvSpPr>
              <p:nvPr/>
            </p:nvSpPr>
            <p:spPr bwMode="gray">
              <a:xfrm>
                <a:off x="2040186" y="3902540"/>
                <a:ext cx="60837" cy="22525"/>
              </a:xfrm>
              <a:custGeom>
                <a:avLst/>
                <a:gdLst>
                  <a:gd name="T0" fmla="*/ 2147483647 w 156"/>
                  <a:gd name="T1" fmla="*/ 2147483647 h 54"/>
                  <a:gd name="T2" fmla="*/ 2147483647 w 156"/>
                  <a:gd name="T3" fmla="*/ 2147483647 h 54"/>
                  <a:gd name="T4" fmla="*/ 2147483647 w 156"/>
                  <a:gd name="T5" fmla="*/ 2147483647 h 54"/>
                  <a:gd name="T6" fmla="*/ 2147483647 w 156"/>
                  <a:gd name="T7" fmla="*/ 2147483647 h 54"/>
                  <a:gd name="T8" fmla="*/ 2147483647 w 156"/>
                  <a:gd name="T9" fmla="*/ 2147483647 h 54"/>
                  <a:gd name="T10" fmla="*/ 2147483647 w 156"/>
                  <a:gd name="T11" fmla="*/ 2147483647 h 54"/>
                  <a:gd name="T12" fmla="*/ 2147483647 w 156"/>
                  <a:gd name="T13" fmla="*/ 2147483647 h 54"/>
                  <a:gd name="T14" fmla="*/ 2147483647 w 156"/>
                  <a:gd name="T15" fmla="*/ 2147483647 h 54"/>
                  <a:gd name="T16" fmla="*/ 2147483647 w 156"/>
                  <a:gd name="T17" fmla="*/ 0 h 54"/>
                  <a:gd name="T18" fmla="*/ 2147483647 w 156"/>
                  <a:gd name="T19" fmla="*/ 0 h 54"/>
                  <a:gd name="T20" fmla="*/ 2147483647 w 156"/>
                  <a:gd name="T21" fmla="*/ 2147483647 h 54"/>
                  <a:gd name="T22" fmla="*/ 0 w 156"/>
                  <a:gd name="T23" fmla="*/ 2147483647 h 54"/>
                  <a:gd name="T24" fmla="*/ 2147483647 w 156"/>
                  <a:gd name="T25" fmla="*/ 2147483647 h 54"/>
                  <a:gd name="T26" fmla="*/ 2147483647 w 156"/>
                  <a:gd name="T27" fmla="*/ 2147483647 h 54"/>
                  <a:gd name="T28" fmla="*/ 2147483647 w 156"/>
                  <a:gd name="T29" fmla="*/ 2147483647 h 54"/>
                  <a:gd name="T30" fmla="*/ 2147483647 w 156"/>
                  <a:gd name="T31" fmla="*/ 2147483647 h 54"/>
                  <a:gd name="T32" fmla="*/ 2147483647 w 156"/>
                  <a:gd name="T33" fmla="*/ 2147483647 h 54"/>
                  <a:gd name="T34" fmla="*/ 2147483647 w 156"/>
                  <a:gd name="T35" fmla="*/ 2147483647 h 54"/>
                  <a:gd name="T36" fmla="*/ 2147483647 w 156"/>
                  <a:gd name="T37" fmla="*/ 2147483647 h 5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56"/>
                  <a:gd name="T58" fmla="*/ 0 h 54"/>
                  <a:gd name="T59" fmla="*/ 156 w 156"/>
                  <a:gd name="T60" fmla="*/ 54 h 5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56" h="54">
                    <a:moveTo>
                      <a:pt x="108" y="54"/>
                    </a:moveTo>
                    <a:lnTo>
                      <a:pt x="114" y="36"/>
                    </a:lnTo>
                    <a:lnTo>
                      <a:pt x="156" y="48"/>
                    </a:lnTo>
                    <a:lnTo>
                      <a:pt x="156" y="42"/>
                    </a:lnTo>
                    <a:lnTo>
                      <a:pt x="150" y="36"/>
                    </a:lnTo>
                    <a:lnTo>
                      <a:pt x="144" y="24"/>
                    </a:lnTo>
                    <a:lnTo>
                      <a:pt x="126" y="6"/>
                    </a:lnTo>
                    <a:lnTo>
                      <a:pt x="84" y="6"/>
                    </a:lnTo>
                    <a:lnTo>
                      <a:pt x="66" y="0"/>
                    </a:lnTo>
                    <a:lnTo>
                      <a:pt x="24" y="0"/>
                    </a:lnTo>
                    <a:lnTo>
                      <a:pt x="12" y="6"/>
                    </a:lnTo>
                    <a:lnTo>
                      <a:pt x="0" y="6"/>
                    </a:lnTo>
                    <a:lnTo>
                      <a:pt x="6" y="18"/>
                    </a:lnTo>
                    <a:lnTo>
                      <a:pt x="18" y="24"/>
                    </a:lnTo>
                    <a:lnTo>
                      <a:pt x="24" y="36"/>
                    </a:lnTo>
                    <a:lnTo>
                      <a:pt x="36" y="42"/>
                    </a:lnTo>
                    <a:lnTo>
                      <a:pt x="60" y="42"/>
                    </a:lnTo>
                    <a:lnTo>
                      <a:pt x="78" y="48"/>
                    </a:lnTo>
                    <a:lnTo>
                      <a:pt x="108" y="54"/>
                    </a:lnTo>
                    <a:close/>
                  </a:path>
                </a:pathLst>
              </a:custGeom>
              <a:solidFill>
                <a:srgbClr val="9D90A0">
                  <a:lumMod val="40000"/>
                  <a:lumOff val="60000"/>
                </a:srgbClr>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45" name="Haiti" descr="© INSCALE GmbH, 05.05.2010&#10;http://www.presentationload.com/">
                <a:extLst>
                  <a:ext uri="{FF2B5EF4-FFF2-40B4-BE49-F238E27FC236}">
                    <a16:creationId xmlns:a16="http://schemas.microsoft.com/office/drawing/2014/main" id="{F7F1C536-2277-48AF-B45A-5EF92356B83D}"/>
                  </a:ext>
                </a:extLst>
              </p:cNvPr>
              <p:cNvSpPr>
                <a:spLocks/>
              </p:cNvSpPr>
              <p:nvPr/>
            </p:nvSpPr>
            <p:spPr bwMode="gray">
              <a:xfrm>
                <a:off x="2157180" y="3848826"/>
                <a:ext cx="77996" cy="69308"/>
              </a:xfrm>
              <a:custGeom>
                <a:avLst/>
                <a:gdLst>
                  <a:gd name="T0" fmla="*/ 2147483647 w 198"/>
                  <a:gd name="T1" fmla="*/ 2147483647 h 156"/>
                  <a:gd name="T2" fmla="*/ 2147483647 w 198"/>
                  <a:gd name="T3" fmla="*/ 2147483647 h 156"/>
                  <a:gd name="T4" fmla="*/ 2147483647 w 198"/>
                  <a:gd name="T5" fmla="*/ 2147483647 h 156"/>
                  <a:gd name="T6" fmla="*/ 2147483647 w 198"/>
                  <a:gd name="T7" fmla="*/ 2147483647 h 156"/>
                  <a:gd name="T8" fmla="*/ 2147483647 w 198"/>
                  <a:gd name="T9" fmla="*/ 2147483647 h 156"/>
                  <a:gd name="T10" fmla="*/ 2147483647 w 198"/>
                  <a:gd name="T11" fmla="*/ 2147483647 h 156"/>
                  <a:gd name="T12" fmla="*/ 2147483647 w 198"/>
                  <a:gd name="T13" fmla="*/ 2147483647 h 156"/>
                  <a:gd name="T14" fmla="*/ 2147483647 w 198"/>
                  <a:gd name="T15" fmla="*/ 2147483647 h 156"/>
                  <a:gd name="T16" fmla="*/ 2147483647 w 198"/>
                  <a:gd name="T17" fmla="*/ 2147483647 h 156"/>
                  <a:gd name="T18" fmla="*/ 2147483647 w 198"/>
                  <a:gd name="T19" fmla="*/ 2147483647 h 156"/>
                  <a:gd name="T20" fmla="*/ 2147483647 w 198"/>
                  <a:gd name="T21" fmla="*/ 2147483647 h 156"/>
                  <a:gd name="T22" fmla="*/ 2147483647 w 198"/>
                  <a:gd name="T23" fmla="*/ 2147483647 h 156"/>
                  <a:gd name="T24" fmla="*/ 2147483647 w 198"/>
                  <a:gd name="T25" fmla="*/ 2147483647 h 156"/>
                  <a:gd name="T26" fmla="*/ 2147483647 w 198"/>
                  <a:gd name="T27" fmla="*/ 2147483647 h 156"/>
                  <a:gd name="T28" fmla="*/ 2147483647 w 198"/>
                  <a:gd name="T29" fmla="*/ 2147483647 h 156"/>
                  <a:gd name="T30" fmla="*/ 2147483647 w 198"/>
                  <a:gd name="T31" fmla="*/ 2147483647 h 156"/>
                  <a:gd name="T32" fmla="*/ 2147483647 w 198"/>
                  <a:gd name="T33" fmla="*/ 2147483647 h 156"/>
                  <a:gd name="T34" fmla="*/ 2147483647 w 198"/>
                  <a:gd name="T35" fmla="*/ 0 h 156"/>
                  <a:gd name="T36" fmla="*/ 2147483647 w 198"/>
                  <a:gd name="T37" fmla="*/ 0 h 156"/>
                  <a:gd name="T38" fmla="*/ 2147483647 w 198"/>
                  <a:gd name="T39" fmla="*/ 2147483647 h 156"/>
                  <a:gd name="T40" fmla="*/ 2147483647 w 198"/>
                  <a:gd name="T41" fmla="*/ 2147483647 h 156"/>
                  <a:gd name="T42" fmla="*/ 2147483647 w 198"/>
                  <a:gd name="T43" fmla="*/ 2147483647 h 156"/>
                  <a:gd name="T44" fmla="*/ 2147483647 w 198"/>
                  <a:gd name="T45" fmla="*/ 2147483647 h 156"/>
                  <a:gd name="T46" fmla="*/ 2147483647 w 198"/>
                  <a:gd name="T47" fmla="*/ 2147483647 h 156"/>
                  <a:gd name="T48" fmla="*/ 2147483647 w 198"/>
                  <a:gd name="T49" fmla="*/ 2147483647 h 156"/>
                  <a:gd name="T50" fmla="*/ 2147483647 w 198"/>
                  <a:gd name="T51" fmla="*/ 2147483647 h 156"/>
                  <a:gd name="T52" fmla="*/ 2147483647 w 198"/>
                  <a:gd name="T53" fmla="*/ 2147483647 h 156"/>
                  <a:gd name="T54" fmla="*/ 2147483647 w 198"/>
                  <a:gd name="T55" fmla="*/ 2147483647 h 156"/>
                  <a:gd name="T56" fmla="*/ 2147483647 w 198"/>
                  <a:gd name="T57" fmla="*/ 2147483647 h 156"/>
                  <a:gd name="T58" fmla="*/ 2147483647 w 198"/>
                  <a:gd name="T59" fmla="*/ 2147483647 h 156"/>
                  <a:gd name="T60" fmla="*/ 2147483647 w 198"/>
                  <a:gd name="T61" fmla="*/ 2147483647 h 156"/>
                  <a:gd name="T62" fmla="*/ 2147483647 w 198"/>
                  <a:gd name="T63" fmla="*/ 2147483647 h 156"/>
                  <a:gd name="T64" fmla="*/ 2147483647 w 198"/>
                  <a:gd name="T65" fmla="*/ 2147483647 h 156"/>
                  <a:gd name="T66" fmla="*/ 2147483647 w 198"/>
                  <a:gd name="T67" fmla="*/ 2147483647 h 156"/>
                  <a:gd name="T68" fmla="*/ 2147483647 w 198"/>
                  <a:gd name="T69" fmla="*/ 2147483647 h 156"/>
                  <a:gd name="T70" fmla="*/ 2147483647 w 198"/>
                  <a:gd name="T71" fmla="*/ 2147483647 h 156"/>
                  <a:gd name="T72" fmla="*/ 2147483647 w 198"/>
                  <a:gd name="T73" fmla="*/ 2147483647 h 156"/>
                  <a:gd name="T74" fmla="*/ 2147483647 w 198"/>
                  <a:gd name="T75" fmla="*/ 2147483647 h 156"/>
                  <a:gd name="T76" fmla="*/ 2147483647 w 198"/>
                  <a:gd name="T77" fmla="*/ 2147483647 h 156"/>
                  <a:gd name="T78" fmla="*/ 2147483647 w 198"/>
                  <a:gd name="T79" fmla="*/ 2147483647 h 156"/>
                  <a:gd name="T80" fmla="*/ 2147483647 w 198"/>
                  <a:gd name="T81" fmla="*/ 2147483647 h 156"/>
                  <a:gd name="T82" fmla="*/ 0 w 198"/>
                  <a:gd name="T83" fmla="*/ 2147483647 h 156"/>
                  <a:gd name="T84" fmla="*/ 0 w 198"/>
                  <a:gd name="T85" fmla="*/ 2147483647 h 156"/>
                  <a:gd name="T86" fmla="*/ 2147483647 w 198"/>
                  <a:gd name="T87" fmla="*/ 2147483647 h 156"/>
                  <a:gd name="T88" fmla="*/ 2147483647 w 198"/>
                  <a:gd name="T89" fmla="*/ 2147483647 h 156"/>
                  <a:gd name="T90" fmla="*/ 2147483647 w 198"/>
                  <a:gd name="T91" fmla="*/ 2147483647 h 156"/>
                  <a:gd name="T92" fmla="*/ 2147483647 w 198"/>
                  <a:gd name="T93" fmla="*/ 2147483647 h 156"/>
                  <a:gd name="T94" fmla="*/ 2147483647 w 198"/>
                  <a:gd name="T95" fmla="*/ 2147483647 h 156"/>
                  <a:gd name="T96" fmla="*/ 2147483647 w 198"/>
                  <a:gd name="T97" fmla="*/ 2147483647 h 156"/>
                  <a:gd name="T98" fmla="*/ 2147483647 w 198"/>
                  <a:gd name="T99" fmla="*/ 2147483647 h 156"/>
                  <a:gd name="T100" fmla="*/ 2147483647 w 198"/>
                  <a:gd name="T101" fmla="*/ 2147483647 h 156"/>
                  <a:gd name="T102" fmla="*/ 2147483647 w 198"/>
                  <a:gd name="T103" fmla="*/ 2147483647 h 156"/>
                  <a:gd name="T104" fmla="*/ 2147483647 w 198"/>
                  <a:gd name="T105" fmla="*/ 2147483647 h 156"/>
                  <a:gd name="T106" fmla="*/ 2147483647 w 198"/>
                  <a:gd name="T107" fmla="*/ 2147483647 h 156"/>
                  <a:gd name="T108" fmla="*/ 2147483647 w 198"/>
                  <a:gd name="T109" fmla="*/ 2147483647 h 156"/>
                  <a:gd name="T110" fmla="*/ 2147483647 w 198"/>
                  <a:gd name="T111" fmla="*/ 2147483647 h 156"/>
                  <a:gd name="T112" fmla="*/ 2147483647 w 198"/>
                  <a:gd name="T113" fmla="*/ 2147483647 h 15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98"/>
                  <a:gd name="T172" fmla="*/ 0 h 156"/>
                  <a:gd name="T173" fmla="*/ 198 w 198"/>
                  <a:gd name="T174" fmla="*/ 156 h 15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98" h="156">
                    <a:moveTo>
                      <a:pt x="168" y="114"/>
                    </a:moveTo>
                    <a:lnTo>
                      <a:pt x="168" y="108"/>
                    </a:lnTo>
                    <a:lnTo>
                      <a:pt x="174" y="102"/>
                    </a:lnTo>
                    <a:lnTo>
                      <a:pt x="180" y="90"/>
                    </a:lnTo>
                    <a:lnTo>
                      <a:pt x="180" y="78"/>
                    </a:lnTo>
                    <a:lnTo>
                      <a:pt x="186" y="72"/>
                    </a:lnTo>
                    <a:lnTo>
                      <a:pt x="192" y="60"/>
                    </a:lnTo>
                    <a:lnTo>
                      <a:pt x="198" y="54"/>
                    </a:lnTo>
                    <a:lnTo>
                      <a:pt x="198" y="42"/>
                    </a:lnTo>
                    <a:lnTo>
                      <a:pt x="186" y="6"/>
                    </a:lnTo>
                    <a:lnTo>
                      <a:pt x="180" y="12"/>
                    </a:lnTo>
                    <a:lnTo>
                      <a:pt x="180" y="18"/>
                    </a:lnTo>
                    <a:lnTo>
                      <a:pt x="174" y="18"/>
                    </a:lnTo>
                    <a:lnTo>
                      <a:pt x="168" y="12"/>
                    </a:lnTo>
                    <a:lnTo>
                      <a:pt x="156" y="12"/>
                    </a:lnTo>
                    <a:lnTo>
                      <a:pt x="144" y="6"/>
                    </a:lnTo>
                    <a:lnTo>
                      <a:pt x="126" y="6"/>
                    </a:lnTo>
                    <a:lnTo>
                      <a:pt x="114" y="0"/>
                    </a:lnTo>
                    <a:lnTo>
                      <a:pt x="84" y="0"/>
                    </a:lnTo>
                    <a:lnTo>
                      <a:pt x="72" y="6"/>
                    </a:lnTo>
                    <a:lnTo>
                      <a:pt x="66" y="12"/>
                    </a:lnTo>
                    <a:lnTo>
                      <a:pt x="66" y="18"/>
                    </a:lnTo>
                    <a:lnTo>
                      <a:pt x="72" y="24"/>
                    </a:lnTo>
                    <a:lnTo>
                      <a:pt x="108" y="24"/>
                    </a:lnTo>
                    <a:lnTo>
                      <a:pt x="114" y="30"/>
                    </a:lnTo>
                    <a:lnTo>
                      <a:pt x="120" y="42"/>
                    </a:lnTo>
                    <a:lnTo>
                      <a:pt x="126" y="48"/>
                    </a:lnTo>
                    <a:lnTo>
                      <a:pt x="114" y="54"/>
                    </a:lnTo>
                    <a:lnTo>
                      <a:pt x="108" y="60"/>
                    </a:lnTo>
                    <a:lnTo>
                      <a:pt x="108" y="72"/>
                    </a:lnTo>
                    <a:lnTo>
                      <a:pt x="114" y="84"/>
                    </a:lnTo>
                    <a:lnTo>
                      <a:pt x="114" y="96"/>
                    </a:lnTo>
                    <a:lnTo>
                      <a:pt x="120" y="102"/>
                    </a:lnTo>
                    <a:lnTo>
                      <a:pt x="114" y="108"/>
                    </a:lnTo>
                    <a:lnTo>
                      <a:pt x="96" y="108"/>
                    </a:lnTo>
                    <a:lnTo>
                      <a:pt x="78" y="102"/>
                    </a:lnTo>
                    <a:lnTo>
                      <a:pt x="66" y="102"/>
                    </a:lnTo>
                    <a:lnTo>
                      <a:pt x="54" y="96"/>
                    </a:lnTo>
                    <a:lnTo>
                      <a:pt x="36" y="96"/>
                    </a:lnTo>
                    <a:lnTo>
                      <a:pt x="24" y="102"/>
                    </a:lnTo>
                    <a:lnTo>
                      <a:pt x="6" y="102"/>
                    </a:lnTo>
                    <a:lnTo>
                      <a:pt x="0" y="108"/>
                    </a:lnTo>
                    <a:lnTo>
                      <a:pt x="0" y="114"/>
                    </a:lnTo>
                    <a:lnTo>
                      <a:pt x="6" y="120"/>
                    </a:lnTo>
                    <a:lnTo>
                      <a:pt x="12" y="132"/>
                    </a:lnTo>
                    <a:lnTo>
                      <a:pt x="24" y="138"/>
                    </a:lnTo>
                    <a:lnTo>
                      <a:pt x="30" y="150"/>
                    </a:lnTo>
                    <a:lnTo>
                      <a:pt x="36" y="156"/>
                    </a:lnTo>
                    <a:lnTo>
                      <a:pt x="42" y="156"/>
                    </a:lnTo>
                    <a:lnTo>
                      <a:pt x="48" y="150"/>
                    </a:lnTo>
                    <a:lnTo>
                      <a:pt x="54" y="138"/>
                    </a:lnTo>
                    <a:lnTo>
                      <a:pt x="60" y="132"/>
                    </a:lnTo>
                    <a:lnTo>
                      <a:pt x="138" y="132"/>
                    </a:lnTo>
                    <a:lnTo>
                      <a:pt x="156" y="126"/>
                    </a:lnTo>
                    <a:lnTo>
                      <a:pt x="168" y="126"/>
                    </a:lnTo>
                    <a:lnTo>
                      <a:pt x="180" y="144"/>
                    </a:lnTo>
                    <a:lnTo>
                      <a:pt x="168" y="114"/>
                    </a:lnTo>
                    <a:close/>
                  </a:path>
                </a:pathLst>
              </a:custGeom>
              <a:solidFill>
                <a:srgbClr val="9D90A0">
                  <a:lumMod val="40000"/>
                  <a:lumOff val="60000"/>
                </a:srgbClr>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46" name="Guyane (French Guiana)" descr="© INSCALE GmbH, 05.05.2010&#10;http://www.presentationload.com/">
                <a:extLst>
                  <a:ext uri="{FF2B5EF4-FFF2-40B4-BE49-F238E27FC236}">
                    <a16:creationId xmlns:a16="http://schemas.microsoft.com/office/drawing/2014/main" id="{A15B3ABA-419C-46B9-A865-4F3AB4633A33}"/>
                  </a:ext>
                </a:extLst>
              </p:cNvPr>
              <p:cNvSpPr>
                <a:spLocks/>
              </p:cNvSpPr>
              <p:nvPr/>
            </p:nvSpPr>
            <p:spPr bwMode="gray">
              <a:xfrm>
                <a:off x="2676630" y="4349576"/>
                <a:ext cx="81115" cy="129952"/>
              </a:xfrm>
              <a:custGeom>
                <a:avLst/>
                <a:gdLst>
                  <a:gd name="T0" fmla="*/ 2147483647 w 52"/>
                  <a:gd name="T1" fmla="*/ 2147483647 h 76"/>
                  <a:gd name="T2" fmla="*/ 2147483647 w 52"/>
                  <a:gd name="T3" fmla="*/ 2147483647 h 76"/>
                  <a:gd name="T4" fmla="*/ 2147483647 w 52"/>
                  <a:gd name="T5" fmla="*/ 2147483647 h 76"/>
                  <a:gd name="T6" fmla="*/ 2147483647 w 52"/>
                  <a:gd name="T7" fmla="*/ 2147483647 h 76"/>
                  <a:gd name="T8" fmla="*/ 2147483647 w 52"/>
                  <a:gd name="T9" fmla="*/ 2147483647 h 76"/>
                  <a:gd name="T10" fmla="*/ 2147483647 w 52"/>
                  <a:gd name="T11" fmla="*/ 2147483647 h 76"/>
                  <a:gd name="T12" fmla="*/ 2147483647 w 52"/>
                  <a:gd name="T13" fmla="*/ 2147483647 h 76"/>
                  <a:gd name="T14" fmla="*/ 2147483647 w 52"/>
                  <a:gd name="T15" fmla="*/ 2147483647 h 76"/>
                  <a:gd name="T16" fmla="*/ 2147483647 w 52"/>
                  <a:gd name="T17" fmla="*/ 2147483647 h 76"/>
                  <a:gd name="T18" fmla="*/ 2147483647 w 52"/>
                  <a:gd name="T19" fmla="*/ 2147483647 h 76"/>
                  <a:gd name="T20" fmla="*/ 2147483647 w 52"/>
                  <a:gd name="T21" fmla="*/ 2147483647 h 76"/>
                  <a:gd name="T22" fmla="*/ 2147483647 w 52"/>
                  <a:gd name="T23" fmla="*/ 0 h 76"/>
                  <a:gd name="T24" fmla="*/ 2147483647 w 52"/>
                  <a:gd name="T25" fmla="*/ 2147483647 h 76"/>
                  <a:gd name="T26" fmla="*/ 2147483647 w 52"/>
                  <a:gd name="T27" fmla="*/ 2147483647 h 76"/>
                  <a:gd name="T28" fmla="*/ 2147483647 w 52"/>
                  <a:gd name="T29" fmla="*/ 2147483647 h 76"/>
                  <a:gd name="T30" fmla="*/ 2147483647 w 52"/>
                  <a:gd name="T31" fmla="*/ 2147483647 h 76"/>
                  <a:gd name="T32" fmla="*/ 2147483647 w 52"/>
                  <a:gd name="T33" fmla="*/ 2147483647 h 76"/>
                  <a:gd name="T34" fmla="*/ 2147483647 w 52"/>
                  <a:gd name="T35" fmla="*/ 2147483647 h 76"/>
                  <a:gd name="T36" fmla="*/ 2147483647 w 52"/>
                  <a:gd name="T37" fmla="*/ 2147483647 h 76"/>
                  <a:gd name="T38" fmla="*/ 2147483647 w 52"/>
                  <a:gd name="T39" fmla="*/ 2147483647 h 76"/>
                  <a:gd name="T40" fmla="*/ 2147483647 w 52"/>
                  <a:gd name="T41" fmla="*/ 2147483647 h 76"/>
                  <a:gd name="T42" fmla="*/ 2147483647 w 52"/>
                  <a:gd name="T43" fmla="*/ 2147483647 h 76"/>
                  <a:gd name="T44" fmla="*/ 2147483647 w 52"/>
                  <a:gd name="T45" fmla="*/ 2147483647 h 76"/>
                  <a:gd name="T46" fmla="*/ 2147483647 w 52"/>
                  <a:gd name="T47" fmla="*/ 2147483647 h 76"/>
                  <a:gd name="T48" fmla="*/ 2147483647 w 52"/>
                  <a:gd name="T49" fmla="*/ 2147483647 h 76"/>
                  <a:gd name="T50" fmla="*/ 2147483647 w 52"/>
                  <a:gd name="T51" fmla="*/ 2147483647 h 76"/>
                  <a:gd name="T52" fmla="*/ 2147483647 w 52"/>
                  <a:gd name="T53" fmla="*/ 2147483647 h 76"/>
                  <a:gd name="T54" fmla="*/ 2147483647 w 52"/>
                  <a:gd name="T55" fmla="*/ 2147483647 h 76"/>
                  <a:gd name="T56" fmla="*/ 2147483647 w 52"/>
                  <a:gd name="T57" fmla="*/ 2147483647 h 76"/>
                  <a:gd name="T58" fmla="*/ 2147483647 w 52"/>
                  <a:gd name="T59" fmla="*/ 2147483647 h 76"/>
                  <a:gd name="T60" fmla="*/ 2147483647 w 52"/>
                  <a:gd name="T61" fmla="*/ 2147483647 h 76"/>
                  <a:gd name="T62" fmla="*/ 2147483647 w 52"/>
                  <a:gd name="T63" fmla="*/ 2147483647 h 76"/>
                  <a:gd name="T64" fmla="*/ 0 w 52"/>
                  <a:gd name="T65" fmla="*/ 2147483647 h 76"/>
                  <a:gd name="T66" fmla="*/ 0 w 52"/>
                  <a:gd name="T67" fmla="*/ 2147483647 h 76"/>
                  <a:gd name="T68" fmla="*/ 2147483647 w 52"/>
                  <a:gd name="T69" fmla="*/ 2147483647 h 76"/>
                  <a:gd name="T70" fmla="*/ 2147483647 w 52"/>
                  <a:gd name="T71" fmla="*/ 2147483647 h 76"/>
                  <a:gd name="T72" fmla="*/ 2147483647 w 52"/>
                  <a:gd name="T73" fmla="*/ 2147483647 h 76"/>
                  <a:gd name="T74" fmla="*/ 2147483647 w 52"/>
                  <a:gd name="T75" fmla="*/ 2147483647 h 76"/>
                  <a:gd name="T76" fmla="*/ 2147483647 w 52"/>
                  <a:gd name="T77" fmla="*/ 2147483647 h 76"/>
                  <a:gd name="T78" fmla="*/ 2147483647 w 52"/>
                  <a:gd name="T79" fmla="*/ 2147483647 h 76"/>
                  <a:gd name="T80" fmla="*/ 2147483647 w 52"/>
                  <a:gd name="T81" fmla="*/ 2147483647 h 76"/>
                  <a:gd name="T82" fmla="*/ 2147483647 w 52"/>
                  <a:gd name="T83" fmla="*/ 2147483647 h 76"/>
                  <a:gd name="T84" fmla="*/ 2147483647 w 52"/>
                  <a:gd name="T85" fmla="*/ 2147483647 h 76"/>
                  <a:gd name="T86" fmla="*/ 2147483647 w 52"/>
                  <a:gd name="T87" fmla="*/ 2147483647 h 76"/>
                  <a:gd name="T88" fmla="*/ 2147483647 w 52"/>
                  <a:gd name="T89" fmla="*/ 2147483647 h 76"/>
                  <a:gd name="T90" fmla="*/ 2147483647 w 52"/>
                  <a:gd name="T91" fmla="*/ 2147483647 h 76"/>
                  <a:gd name="T92" fmla="*/ 2147483647 w 52"/>
                  <a:gd name="T93" fmla="*/ 2147483647 h 76"/>
                  <a:gd name="T94" fmla="*/ 2147483647 w 52"/>
                  <a:gd name="T95" fmla="*/ 2147483647 h 76"/>
                  <a:gd name="T96" fmla="*/ 2147483647 w 52"/>
                  <a:gd name="T97" fmla="*/ 2147483647 h 76"/>
                  <a:gd name="T98" fmla="*/ 2147483647 w 52"/>
                  <a:gd name="T99" fmla="*/ 2147483647 h 76"/>
                  <a:gd name="T100" fmla="*/ 2147483647 w 52"/>
                  <a:gd name="T101" fmla="*/ 2147483647 h 76"/>
                  <a:gd name="T102" fmla="*/ 2147483647 w 52"/>
                  <a:gd name="T103" fmla="*/ 2147483647 h 76"/>
                  <a:gd name="T104" fmla="*/ 2147483647 w 52"/>
                  <a:gd name="T105" fmla="*/ 2147483647 h 76"/>
                  <a:gd name="T106" fmla="*/ 2147483647 w 52"/>
                  <a:gd name="T107" fmla="*/ 2147483647 h 76"/>
                  <a:gd name="T108" fmla="*/ 2147483647 w 52"/>
                  <a:gd name="T109" fmla="*/ 2147483647 h 76"/>
                  <a:gd name="T110" fmla="*/ 2147483647 w 52"/>
                  <a:gd name="T111" fmla="*/ 2147483647 h 76"/>
                  <a:gd name="T112" fmla="*/ 2147483647 w 52"/>
                  <a:gd name="T113" fmla="*/ 2147483647 h 76"/>
                  <a:gd name="T114" fmla="*/ 2147483647 w 52"/>
                  <a:gd name="T115" fmla="*/ 2147483647 h 7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52"/>
                  <a:gd name="T175" fmla="*/ 0 h 76"/>
                  <a:gd name="T176" fmla="*/ 52 w 52"/>
                  <a:gd name="T177" fmla="*/ 76 h 7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52" h="76">
                    <a:moveTo>
                      <a:pt x="52" y="32"/>
                    </a:moveTo>
                    <a:lnTo>
                      <a:pt x="50" y="26"/>
                    </a:lnTo>
                    <a:lnTo>
                      <a:pt x="48" y="24"/>
                    </a:lnTo>
                    <a:lnTo>
                      <a:pt x="46" y="22"/>
                    </a:lnTo>
                    <a:lnTo>
                      <a:pt x="46" y="20"/>
                    </a:lnTo>
                    <a:lnTo>
                      <a:pt x="40" y="20"/>
                    </a:lnTo>
                    <a:lnTo>
                      <a:pt x="32" y="6"/>
                    </a:lnTo>
                    <a:lnTo>
                      <a:pt x="24" y="6"/>
                    </a:lnTo>
                    <a:lnTo>
                      <a:pt x="22" y="4"/>
                    </a:lnTo>
                    <a:lnTo>
                      <a:pt x="20" y="4"/>
                    </a:lnTo>
                    <a:lnTo>
                      <a:pt x="16" y="2"/>
                    </a:lnTo>
                    <a:lnTo>
                      <a:pt x="14" y="0"/>
                    </a:lnTo>
                    <a:lnTo>
                      <a:pt x="12" y="4"/>
                    </a:lnTo>
                    <a:lnTo>
                      <a:pt x="12" y="10"/>
                    </a:lnTo>
                    <a:lnTo>
                      <a:pt x="10" y="10"/>
                    </a:lnTo>
                    <a:lnTo>
                      <a:pt x="8" y="12"/>
                    </a:lnTo>
                    <a:lnTo>
                      <a:pt x="6" y="14"/>
                    </a:lnTo>
                    <a:lnTo>
                      <a:pt x="4" y="16"/>
                    </a:lnTo>
                    <a:lnTo>
                      <a:pt x="2" y="20"/>
                    </a:lnTo>
                    <a:lnTo>
                      <a:pt x="2" y="28"/>
                    </a:lnTo>
                    <a:lnTo>
                      <a:pt x="4" y="32"/>
                    </a:lnTo>
                    <a:lnTo>
                      <a:pt x="4" y="36"/>
                    </a:lnTo>
                    <a:lnTo>
                      <a:pt x="6" y="40"/>
                    </a:lnTo>
                    <a:lnTo>
                      <a:pt x="10" y="44"/>
                    </a:lnTo>
                    <a:lnTo>
                      <a:pt x="12" y="46"/>
                    </a:lnTo>
                    <a:lnTo>
                      <a:pt x="12" y="48"/>
                    </a:lnTo>
                    <a:lnTo>
                      <a:pt x="6" y="54"/>
                    </a:lnTo>
                    <a:lnTo>
                      <a:pt x="8" y="62"/>
                    </a:lnTo>
                    <a:lnTo>
                      <a:pt x="6" y="64"/>
                    </a:lnTo>
                    <a:lnTo>
                      <a:pt x="4" y="64"/>
                    </a:lnTo>
                    <a:lnTo>
                      <a:pt x="4" y="66"/>
                    </a:lnTo>
                    <a:lnTo>
                      <a:pt x="2" y="68"/>
                    </a:lnTo>
                    <a:lnTo>
                      <a:pt x="0" y="72"/>
                    </a:lnTo>
                    <a:lnTo>
                      <a:pt x="4" y="76"/>
                    </a:lnTo>
                    <a:lnTo>
                      <a:pt x="10" y="76"/>
                    </a:lnTo>
                    <a:lnTo>
                      <a:pt x="12" y="74"/>
                    </a:lnTo>
                    <a:lnTo>
                      <a:pt x="12" y="72"/>
                    </a:lnTo>
                    <a:lnTo>
                      <a:pt x="14" y="72"/>
                    </a:lnTo>
                    <a:lnTo>
                      <a:pt x="16" y="72"/>
                    </a:lnTo>
                    <a:lnTo>
                      <a:pt x="18" y="72"/>
                    </a:lnTo>
                    <a:lnTo>
                      <a:pt x="20" y="72"/>
                    </a:lnTo>
                    <a:lnTo>
                      <a:pt x="22" y="72"/>
                    </a:lnTo>
                    <a:lnTo>
                      <a:pt x="26" y="74"/>
                    </a:lnTo>
                    <a:lnTo>
                      <a:pt x="30" y="74"/>
                    </a:lnTo>
                    <a:lnTo>
                      <a:pt x="32" y="72"/>
                    </a:lnTo>
                    <a:lnTo>
                      <a:pt x="40" y="64"/>
                    </a:lnTo>
                    <a:lnTo>
                      <a:pt x="40" y="60"/>
                    </a:lnTo>
                    <a:lnTo>
                      <a:pt x="44" y="50"/>
                    </a:lnTo>
                    <a:lnTo>
                      <a:pt x="46" y="46"/>
                    </a:lnTo>
                    <a:lnTo>
                      <a:pt x="48" y="44"/>
                    </a:lnTo>
                    <a:lnTo>
                      <a:pt x="50" y="42"/>
                    </a:lnTo>
                    <a:lnTo>
                      <a:pt x="50" y="40"/>
                    </a:lnTo>
                    <a:lnTo>
                      <a:pt x="52" y="38"/>
                    </a:lnTo>
                    <a:lnTo>
                      <a:pt x="52" y="36"/>
                    </a:lnTo>
                    <a:lnTo>
                      <a:pt x="52" y="34"/>
                    </a:lnTo>
                    <a:lnTo>
                      <a:pt x="52" y="32"/>
                    </a:lnTo>
                    <a:close/>
                  </a:path>
                </a:pathLst>
              </a:custGeom>
              <a:solidFill>
                <a:srgbClr val="9D90A0">
                  <a:lumMod val="40000"/>
                  <a:lumOff val="60000"/>
                </a:srgbClr>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47" name="Guyana" descr="© INSCALE GmbH, 05.05.2010&#10;http://www.presentationload.com/">
                <a:extLst>
                  <a:ext uri="{FF2B5EF4-FFF2-40B4-BE49-F238E27FC236}">
                    <a16:creationId xmlns:a16="http://schemas.microsoft.com/office/drawing/2014/main" id="{BF29F4ED-4C19-49B8-A1F3-ED1769A041C6}"/>
                  </a:ext>
                </a:extLst>
              </p:cNvPr>
              <p:cNvSpPr>
                <a:spLocks/>
              </p:cNvSpPr>
              <p:nvPr/>
            </p:nvSpPr>
            <p:spPr bwMode="gray">
              <a:xfrm>
                <a:off x="2487881" y="4254278"/>
                <a:ext cx="127913" cy="256440"/>
              </a:xfrm>
              <a:custGeom>
                <a:avLst/>
                <a:gdLst>
                  <a:gd name="T0" fmla="*/ 2147483647 w 324"/>
                  <a:gd name="T1" fmla="*/ 2147483647 h 582"/>
                  <a:gd name="T2" fmla="*/ 2147483647 w 324"/>
                  <a:gd name="T3" fmla="*/ 2147483647 h 582"/>
                  <a:gd name="T4" fmla="*/ 2147483647 w 324"/>
                  <a:gd name="T5" fmla="*/ 2147483647 h 582"/>
                  <a:gd name="T6" fmla="*/ 2147483647 w 324"/>
                  <a:gd name="T7" fmla="*/ 2147483647 h 582"/>
                  <a:gd name="T8" fmla="*/ 2147483647 w 324"/>
                  <a:gd name="T9" fmla="*/ 2147483647 h 582"/>
                  <a:gd name="T10" fmla="*/ 2147483647 w 324"/>
                  <a:gd name="T11" fmla="*/ 2147483647 h 582"/>
                  <a:gd name="T12" fmla="*/ 2147483647 w 324"/>
                  <a:gd name="T13" fmla="*/ 2147483647 h 582"/>
                  <a:gd name="T14" fmla="*/ 2147483647 w 324"/>
                  <a:gd name="T15" fmla="*/ 2147483647 h 582"/>
                  <a:gd name="T16" fmla="*/ 0 w 324"/>
                  <a:gd name="T17" fmla="*/ 2147483647 h 582"/>
                  <a:gd name="T18" fmla="*/ 2147483647 w 324"/>
                  <a:gd name="T19" fmla="*/ 2147483647 h 582"/>
                  <a:gd name="T20" fmla="*/ 2147483647 w 324"/>
                  <a:gd name="T21" fmla="*/ 2147483647 h 582"/>
                  <a:gd name="T22" fmla="*/ 2147483647 w 324"/>
                  <a:gd name="T23" fmla="*/ 2147483647 h 582"/>
                  <a:gd name="T24" fmla="*/ 2147483647 w 324"/>
                  <a:gd name="T25" fmla="*/ 2147483647 h 582"/>
                  <a:gd name="T26" fmla="*/ 2147483647 w 324"/>
                  <a:gd name="T27" fmla="*/ 2147483647 h 582"/>
                  <a:gd name="T28" fmla="*/ 2147483647 w 324"/>
                  <a:gd name="T29" fmla="*/ 2147483647 h 582"/>
                  <a:gd name="T30" fmla="*/ 2147483647 w 324"/>
                  <a:gd name="T31" fmla="*/ 2147483647 h 582"/>
                  <a:gd name="T32" fmla="*/ 2147483647 w 324"/>
                  <a:gd name="T33" fmla="*/ 2147483647 h 582"/>
                  <a:gd name="T34" fmla="*/ 2147483647 w 324"/>
                  <a:gd name="T35" fmla="*/ 2147483647 h 582"/>
                  <a:gd name="T36" fmla="*/ 2147483647 w 324"/>
                  <a:gd name="T37" fmla="*/ 2147483647 h 582"/>
                  <a:gd name="T38" fmla="*/ 2147483647 w 324"/>
                  <a:gd name="T39" fmla="*/ 2147483647 h 582"/>
                  <a:gd name="T40" fmla="*/ 2147483647 w 324"/>
                  <a:gd name="T41" fmla="*/ 2147483647 h 582"/>
                  <a:gd name="T42" fmla="*/ 2147483647 w 324"/>
                  <a:gd name="T43" fmla="*/ 2147483647 h 582"/>
                  <a:gd name="T44" fmla="*/ 2147483647 w 324"/>
                  <a:gd name="T45" fmla="*/ 2147483647 h 582"/>
                  <a:gd name="T46" fmla="*/ 2147483647 w 324"/>
                  <a:gd name="T47" fmla="*/ 2147483647 h 582"/>
                  <a:gd name="T48" fmla="*/ 2147483647 w 324"/>
                  <a:gd name="T49" fmla="*/ 2147483647 h 582"/>
                  <a:gd name="T50" fmla="*/ 2147483647 w 324"/>
                  <a:gd name="T51" fmla="*/ 2147483647 h 582"/>
                  <a:gd name="T52" fmla="*/ 2147483647 w 324"/>
                  <a:gd name="T53" fmla="*/ 2147483647 h 582"/>
                  <a:gd name="T54" fmla="*/ 2147483647 w 324"/>
                  <a:gd name="T55" fmla="*/ 2147483647 h 582"/>
                  <a:gd name="T56" fmla="*/ 2147483647 w 324"/>
                  <a:gd name="T57" fmla="*/ 2147483647 h 582"/>
                  <a:gd name="T58" fmla="*/ 2147483647 w 324"/>
                  <a:gd name="T59" fmla="*/ 2147483647 h 582"/>
                  <a:gd name="T60" fmla="*/ 2147483647 w 324"/>
                  <a:gd name="T61" fmla="*/ 2147483647 h 582"/>
                  <a:gd name="T62" fmla="*/ 2147483647 w 324"/>
                  <a:gd name="T63" fmla="*/ 2147483647 h 582"/>
                  <a:gd name="T64" fmla="*/ 2147483647 w 324"/>
                  <a:gd name="T65" fmla="*/ 2147483647 h 582"/>
                  <a:gd name="T66" fmla="*/ 2147483647 w 324"/>
                  <a:gd name="T67" fmla="*/ 2147483647 h 582"/>
                  <a:gd name="T68" fmla="*/ 2147483647 w 324"/>
                  <a:gd name="T69" fmla="*/ 2147483647 h 582"/>
                  <a:gd name="T70" fmla="*/ 2147483647 w 324"/>
                  <a:gd name="T71" fmla="*/ 2147483647 h 582"/>
                  <a:gd name="T72" fmla="*/ 2147483647 w 324"/>
                  <a:gd name="T73" fmla="*/ 2147483647 h 582"/>
                  <a:gd name="T74" fmla="*/ 2147483647 w 324"/>
                  <a:gd name="T75" fmla="*/ 2147483647 h 582"/>
                  <a:gd name="T76" fmla="*/ 2147483647 w 324"/>
                  <a:gd name="T77" fmla="*/ 2147483647 h 582"/>
                  <a:gd name="T78" fmla="*/ 2147483647 w 324"/>
                  <a:gd name="T79" fmla="*/ 2147483647 h 582"/>
                  <a:gd name="T80" fmla="*/ 2147483647 w 324"/>
                  <a:gd name="T81" fmla="*/ 2147483647 h 582"/>
                  <a:gd name="T82" fmla="*/ 2147483647 w 324"/>
                  <a:gd name="T83" fmla="*/ 2147483647 h 582"/>
                  <a:gd name="T84" fmla="*/ 2147483647 w 324"/>
                  <a:gd name="T85" fmla="*/ 2147483647 h 582"/>
                  <a:gd name="T86" fmla="*/ 2147483647 w 324"/>
                  <a:gd name="T87" fmla="*/ 2147483647 h 582"/>
                  <a:gd name="T88" fmla="*/ 2147483647 w 324"/>
                  <a:gd name="T89" fmla="*/ 2147483647 h 582"/>
                  <a:gd name="T90" fmla="*/ 2147483647 w 324"/>
                  <a:gd name="T91" fmla="*/ 2147483647 h 582"/>
                  <a:gd name="T92" fmla="*/ 2147483647 w 324"/>
                  <a:gd name="T93" fmla="*/ 2147483647 h 582"/>
                  <a:gd name="T94" fmla="*/ 2147483647 w 324"/>
                  <a:gd name="T95" fmla="*/ 2147483647 h 582"/>
                  <a:gd name="T96" fmla="*/ 2147483647 w 324"/>
                  <a:gd name="T97" fmla="*/ 2147483647 h 582"/>
                  <a:gd name="T98" fmla="*/ 2147483647 w 324"/>
                  <a:gd name="T99" fmla="*/ 2147483647 h 582"/>
                  <a:gd name="T100" fmla="*/ 2147483647 w 324"/>
                  <a:gd name="T101" fmla="*/ 2147483647 h 582"/>
                  <a:gd name="T102" fmla="*/ 2147483647 w 324"/>
                  <a:gd name="T103" fmla="*/ 2147483647 h 582"/>
                  <a:gd name="T104" fmla="*/ 2147483647 w 324"/>
                  <a:gd name="T105" fmla="*/ 2147483647 h 582"/>
                  <a:gd name="T106" fmla="*/ 2147483647 w 324"/>
                  <a:gd name="T107" fmla="*/ 2147483647 h 582"/>
                  <a:gd name="T108" fmla="*/ 2147483647 w 324"/>
                  <a:gd name="T109" fmla="*/ 2147483647 h 582"/>
                  <a:gd name="T110" fmla="*/ 2147483647 w 324"/>
                  <a:gd name="T111" fmla="*/ 2147483647 h 582"/>
                  <a:gd name="T112" fmla="*/ 2147483647 w 324"/>
                  <a:gd name="T113" fmla="*/ 2147483647 h 582"/>
                  <a:gd name="T114" fmla="*/ 2147483647 w 324"/>
                  <a:gd name="T115" fmla="*/ 2147483647 h 582"/>
                  <a:gd name="T116" fmla="*/ 2147483647 w 324"/>
                  <a:gd name="T117" fmla="*/ 2147483647 h 582"/>
                  <a:gd name="T118" fmla="*/ 2147483647 w 324"/>
                  <a:gd name="T119" fmla="*/ 2147483647 h 582"/>
                  <a:gd name="T120" fmla="*/ 2147483647 w 324"/>
                  <a:gd name="T121" fmla="*/ 2147483647 h 582"/>
                  <a:gd name="T122" fmla="*/ 2147483647 w 324"/>
                  <a:gd name="T123" fmla="*/ 0 h 582"/>
                  <a:gd name="T124" fmla="*/ 2147483647 w 324"/>
                  <a:gd name="T125" fmla="*/ 2147483647 h 58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24"/>
                  <a:gd name="T190" fmla="*/ 0 h 582"/>
                  <a:gd name="T191" fmla="*/ 324 w 324"/>
                  <a:gd name="T192" fmla="*/ 582 h 58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24" h="582">
                    <a:moveTo>
                      <a:pt x="90" y="42"/>
                    </a:moveTo>
                    <a:lnTo>
                      <a:pt x="84" y="48"/>
                    </a:lnTo>
                    <a:lnTo>
                      <a:pt x="72" y="48"/>
                    </a:lnTo>
                    <a:lnTo>
                      <a:pt x="60" y="60"/>
                    </a:lnTo>
                    <a:lnTo>
                      <a:pt x="60" y="102"/>
                    </a:lnTo>
                    <a:lnTo>
                      <a:pt x="84" y="102"/>
                    </a:lnTo>
                    <a:lnTo>
                      <a:pt x="84" y="120"/>
                    </a:lnTo>
                    <a:lnTo>
                      <a:pt x="78" y="126"/>
                    </a:lnTo>
                    <a:lnTo>
                      <a:pt x="66" y="132"/>
                    </a:lnTo>
                    <a:lnTo>
                      <a:pt x="54" y="132"/>
                    </a:lnTo>
                    <a:lnTo>
                      <a:pt x="42" y="138"/>
                    </a:lnTo>
                    <a:lnTo>
                      <a:pt x="12" y="138"/>
                    </a:lnTo>
                    <a:lnTo>
                      <a:pt x="12" y="144"/>
                    </a:lnTo>
                    <a:lnTo>
                      <a:pt x="30" y="162"/>
                    </a:lnTo>
                    <a:lnTo>
                      <a:pt x="30" y="180"/>
                    </a:lnTo>
                    <a:lnTo>
                      <a:pt x="18" y="186"/>
                    </a:lnTo>
                    <a:lnTo>
                      <a:pt x="12" y="186"/>
                    </a:lnTo>
                    <a:lnTo>
                      <a:pt x="0" y="192"/>
                    </a:lnTo>
                    <a:lnTo>
                      <a:pt x="0" y="204"/>
                    </a:lnTo>
                    <a:lnTo>
                      <a:pt x="6" y="210"/>
                    </a:lnTo>
                    <a:lnTo>
                      <a:pt x="12" y="222"/>
                    </a:lnTo>
                    <a:lnTo>
                      <a:pt x="48" y="258"/>
                    </a:lnTo>
                    <a:lnTo>
                      <a:pt x="72" y="264"/>
                    </a:lnTo>
                    <a:lnTo>
                      <a:pt x="78" y="252"/>
                    </a:lnTo>
                    <a:lnTo>
                      <a:pt x="90" y="264"/>
                    </a:lnTo>
                    <a:lnTo>
                      <a:pt x="96" y="276"/>
                    </a:lnTo>
                    <a:lnTo>
                      <a:pt x="96" y="294"/>
                    </a:lnTo>
                    <a:lnTo>
                      <a:pt x="90" y="306"/>
                    </a:lnTo>
                    <a:lnTo>
                      <a:pt x="84" y="312"/>
                    </a:lnTo>
                    <a:lnTo>
                      <a:pt x="84" y="318"/>
                    </a:lnTo>
                    <a:lnTo>
                      <a:pt x="90" y="324"/>
                    </a:lnTo>
                    <a:lnTo>
                      <a:pt x="96" y="324"/>
                    </a:lnTo>
                    <a:lnTo>
                      <a:pt x="108" y="318"/>
                    </a:lnTo>
                    <a:lnTo>
                      <a:pt x="114" y="318"/>
                    </a:lnTo>
                    <a:lnTo>
                      <a:pt x="114" y="348"/>
                    </a:lnTo>
                    <a:lnTo>
                      <a:pt x="120" y="354"/>
                    </a:lnTo>
                    <a:lnTo>
                      <a:pt x="126" y="354"/>
                    </a:lnTo>
                    <a:lnTo>
                      <a:pt x="126" y="366"/>
                    </a:lnTo>
                    <a:lnTo>
                      <a:pt x="120" y="378"/>
                    </a:lnTo>
                    <a:lnTo>
                      <a:pt x="108" y="390"/>
                    </a:lnTo>
                    <a:lnTo>
                      <a:pt x="96" y="432"/>
                    </a:lnTo>
                    <a:lnTo>
                      <a:pt x="90" y="444"/>
                    </a:lnTo>
                    <a:lnTo>
                      <a:pt x="90" y="450"/>
                    </a:lnTo>
                    <a:lnTo>
                      <a:pt x="84" y="462"/>
                    </a:lnTo>
                    <a:lnTo>
                      <a:pt x="84" y="468"/>
                    </a:lnTo>
                    <a:lnTo>
                      <a:pt x="90" y="480"/>
                    </a:lnTo>
                    <a:lnTo>
                      <a:pt x="114" y="504"/>
                    </a:lnTo>
                    <a:lnTo>
                      <a:pt x="114" y="534"/>
                    </a:lnTo>
                    <a:lnTo>
                      <a:pt x="144" y="570"/>
                    </a:lnTo>
                    <a:lnTo>
                      <a:pt x="156" y="570"/>
                    </a:lnTo>
                    <a:lnTo>
                      <a:pt x="162" y="582"/>
                    </a:lnTo>
                    <a:lnTo>
                      <a:pt x="198" y="582"/>
                    </a:lnTo>
                    <a:lnTo>
                      <a:pt x="204" y="576"/>
                    </a:lnTo>
                    <a:lnTo>
                      <a:pt x="204" y="564"/>
                    </a:lnTo>
                    <a:lnTo>
                      <a:pt x="216" y="552"/>
                    </a:lnTo>
                    <a:lnTo>
                      <a:pt x="234" y="552"/>
                    </a:lnTo>
                    <a:lnTo>
                      <a:pt x="240" y="540"/>
                    </a:lnTo>
                    <a:lnTo>
                      <a:pt x="270" y="540"/>
                    </a:lnTo>
                    <a:lnTo>
                      <a:pt x="270" y="534"/>
                    </a:lnTo>
                    <a:lnTo>
                      <a:pt x="288" y="516"/>
                    </a:lnTo>
                    <a:lnTo>
                      <a:pt x="300" y="516"/>
                    </a:lnTo>
                    <a:lnTo>
                      <a:pt x="312" y="528"/>
                    </a:lnTo>
                    <a:lnTo>
                      <a:pt x="318" y="528"/>
                    </a:lnTo>
                    <a:lnTo>
                      <a:pt x="324" y="522"/>
                    </a:lnTo>
                    <a:lnTo>
                      <a:pt x="324" y="510"/>
                    </a:lnTo>
                    <a:lnTo>
                      <a:pt x="318" y="504"/>
                    </a:lnTo>
                    <a:lnTo>
                      <a:pt x="312" y="492"/>
                    </a:lnTo>
                    <a:lnTo>
                      <a:pt x="306" y="474"/>
                    </a:lnTo>
                    <a:lnTo>
                      <a:pt x="288" y="456"/>
                    </a:lnTo>
                    <a:lnTo>
                      <a:pt x="282" y="444"/>
                    </a:lnTo>
                    <a:lnTo>
                      <a:pt x="282" y="420"/>
                    </a:lnTo>
                    <a:lnTo>
                      <a:pt x="288" y="414"/>
                    </a:lnTo>
                    <a:lnTo>
                      <a:pt x="288" y="396"/>
                    </a:lnTo>
                    <a:lnTo>
                      <a:pt x="276" y="408"/>
                    </a:lnTo>
                    <a:lnTo>
                      <a:pt x="276" y="414"/>
                    </a:lnTo>
                    <a:lnTo>
                      <a:pt x="264" y="414"/>
                    </a:lnTo>
                    <a:lnTo>
                      <a:pt x="258" y="402"/>
                    </a:lnTo>
                    <a:lnTo>
                      <a:pt x="252" y="396"/>
                    </a:lnTo>
                    <a:lnTo>
                      <a:pt x="246" y="384"/>
                    </a:lnTo>
                    <a:lnTo>
                      <a:pt x="246" y="372"/>
                    </a:lnTo>
                    <a:lnTo>
                      <a:pt x="240" y="372"/>
                    </a:lnTo>
                    <a:lnTo>
                      <a:pt x="240" y="366"/>
                    </a:lnTo>
                    <a:lnTo>
                      <a:pt x="234" y="360"/>
                    </a:lnTo>
                    <a:lnTo>
                      <a:pt x="234" y="348"/>
                    </a:lnTo>
                    <a:lnTo>
                      <a:pt x="240" y="336"/>
                    </a:lnTo>
                    <a:lnTo>
                      <a:pt x="246" y="330"/>
                    </a:lnTo>
                    <a:lnTo>
                      <a:pt x="246" y="288"/>
                    </a:lnTo>
                    <a:lnTo>
                      <a:pt x="252" y="282"/>
                    </a:lnTo>
                    <a:lnTo>
                      <a:pt x="264" y="276"/>
                    </a:lnTo>
                    <a:lnTo>
                      <a:pt x="294" y="276"/>
                    </a:lnTo>
                    <a:lnTo>
                      <a:pt x="300" y="270"/>
                    </a:lnTo>
                    <a:lnTo>
                      <a:pt x="300" y="258"/>
                    </a:lnTo>
                    <a:lnTo>
                      <a:pt x="288" y="246"/>
                    </a:lnTo>
                    <a:lnTo>
                      <a:pt x="288" y="234"/>
                    </a:lnTo>
                    <a:lnTo>
                      <a:pt x="294" y="222"/>
                    </a:lnTo>
                    <a:lnTo>
                      <a:pt x="300" y="216"/>
                    </a:lnTo>
                    <a:lnTo>
                      <a:pt x="306" y="204"/>
                    </a:lnTo>
                    <a:lnTo>
                      <a:pt x="306" y="192"/>
                    </a:lnTo>
                    <a:lnTo>
                      <a:pt x="300" y="180"/>
                    </a:lnTo>
                    <a:lnTo>
                      <a:pt x="294" y="174"/>
                    </a:lnTo>
                    <a:lnTo>
                      <a:pt x="276" y="174"/>
                    </a:lnTo>
                    <a:lnTo>
                      <a:pt x="270" y="180"/>
                    </a:lnTo>
                    <a:lnTo>
                      <a:pt x="270" y="156"/>
                    </a:lnTo>
                    <a:lnTo>
                      <a:pt x="258" y="150"/>
                    </a:lnTo>
                    <a:lnTo>
                      <a:pt x="252" y="138"/>
                    </a:lnTo>
                    <a:lnTo>
                      <a:pt x="234" y="132"/>
                    </a:lnTo>
                    <a:lnTo>
                      <a:pt x="216" y="132"/>
                    </a:lnTo>
                    <a:lnTo>
                      <a:pt x="204" y="138"/>
                    </a:lnTo>
                    <a:lnTo>
                      <a:pt x="198" y="150"/>
                    </a:lnTo>
                    <a:lnTo>
                      <a:pt x="198" y="156"/>
                    </a:lnTo>
                    <a:lnTo>
                      <a:pt x="192" y="162"/>
                    </a:lnTo>
                    <a:lnTo>
                      <a:pt x="192" y="168"/>
                    </a:lnTo>
                    <a:lnTo>
                      <a:pt x="192" y="162"/>
                    </a:lnTo>
                    <a:lnTo>
                      <a:pt x="198" y="156"/>
                    </a:lnTo>
                    <a:lnTo>
                      <a:pt x="198" y="144"/>
                    </a:lnTo>
                    <a:lnTo>
                      <a:pt x="204" y="132"/>
                    </a:lnTo>
                    <a:lnTo>
                      <a:pt x="204" y="114"/>
                    </a:lnTo>
                    <a:lnTo>
                      <a:pt x="210" y="102"/>
                    </a:lnTo>
                    <a:lnTo>
                      <a:pt x="210" y="78"/>
                    </a:lnTo>
                    <a:lnTo>
                      <a:pt x="192" y="42"/>
                    </a:lnTo>
                    <a:lnTo>
                      <a:pt x="180" y="30"/>
                    </a:lnTo>
                    <a:lnTo>
                      <a:pt x="132" y="6"/>
                    </a:lnTo>
                    <a:lnTo>
                      <a:pt x="126" y="0"/>
                    </a:lnTo>
                    <a:lnTo>
                      <a:pt x="120" y="0"/>
                    </a:lnTo>
                    <a:lnTo>
                      <a:pt x="102" y="36"/>
                    </a:lnTo>
                    <a:lnTo>
                      <a:pt x="96" y="42"/>
                    </a:lnTo>
                    <a:lnTo>
                      <a:pt x="90" y="42"/>
                    </a:lnTo>
                    <a:close/>
                  </a:path>
                </a:pathLst>
              </a:custGeom>
              <a:solidFill>
                <a:srgbClr val="9D90A0">
                  <a:lumMod val="40000"/>
                  <a:lumOff val="60000"/>
                </a:srgbClr>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48" name="Greenland" descr="© INSCALE GmbH, 05.05.2010&#10;http://www.presentationload.com/">
                <a:extLst>
                  <a:ext uri="{FF2B5EF4-FFF2-40B4-BE49-F238E27FC236}">
                    <a16:creationId xmlns:a16="http://schemas.microsoft.com/office/drawing/2014/main" id="{9189BA46-6D45-4E5E-99A5-833BABFBDDA9}"/>
                  </a:ext>
                </a:extLst>
              </p:cNvPr>
              <p:cNvSpPr>
                <a:spLocks noEditPoints="1"/>
              </p:cNvSpPr>
              <p:nvPr/>
            </p:nvSpPr>
            <p:spPr bwMode="gray">
              <a:xfrm>
                <a:off x="3005771" y="1790379"/>
                <a:ext cx="1109097" cy="670555"/>
              </a:xfrm>
              <a:custGeom>
                <a:avLst/>
                <a:gdLst>
                  <a:gd name="T0" fmla="*/ 2147483647 w 732"/>
                  <a:gd name="T1" fmla="*/ 2147483647 h 398"/>
                  <a:gd name="T2" fmla="*/ 2147483647 w 732"/>
                  <a:gd name="T3" fmla="*/ 2147483647 h 398"/>
                  <a:gd name="T4" fmla="*/ 2147483647 w 732"/>
                  <a:gd name="T5" fmla="*/ 2147483647 h 398"/>
                  <a:gd name="T6" fmla="*/ 2147483647 w 732"/>
                  <a:gd name="T7" fmla="*/ 2147483647 h 398"/>
                  <a:gd name="T8" fmla="*/ 2147483647 w 732"/>
                  <a:gd name="T9" fmla="*/ 2147483647 h 398"/>
                  <a:gd name="T10" fmla="*/ 2147483647 w 732"/>
                  <a:gd name="T11" fmla="*/ 2147483647 h 398"/>
                  <a:gd name="T12" fmla="*/ 2147483647 w 732"/>
                  <a:gd name="T13" fmla="*/ 2147483647 h 398"/>
                  <a:gd name="T14" fmla="*/ 2147483647 w 732"/>
                  <a:gd name="T15" fmla="*/ 2147483647 h 398"/>
                  <a:gd name="T16" fmla="*/ 2147483647 w 732"/>
                  <a:gd name="T17" fmla="*/ 2147483647 h 398"/>
                  <a:gd name="T18" fmla="*/ 2147483647 w 732"/>
                  <a:gd name="T19" fmla="*/ 2147483647 h 398"/>
                  <a:gd name="T20" fmla="*/ 2147483647 w 732"/>
                  <a:gd name="T21" fmla="*/ 2147483647 h 398"/>
                  <a:gd name="T22" fmla="*/ 2147483647 w 732"/>
                  <a:gd name="T23" fmla="*/ 2147483647 h 398"/>
                  <a:gd name="T24" fmla="*/ 2147483647 w 732"/>
                  <a:gd name="T25" fmla="*/ 2147483647 h 398"/>
                  <a:gd name="T26" fmla="*/ 2147483647 w 732"/>
                  <a:gd name="T27" fmla="*/ 2147483647 h 398"/>
                  <a:gd name="T28" fmla="*/ 2147483647 w 732"/>
                  <a:gd name="T29" fmla="*/ 2147483647 h 398"/>
                  <a:gd name="T30" fmla="*/ 2147483647 w 732"/>
                  <a:gd name="T31" fmla="*/ 2147483647 h 398"/>
                  <a:gd name="T32" fmla="*/ 2147483647 w 732"/>
                  <a:gd name="T33" fmla="*/ 2147483647 h 398"/>
                  <a:gd name="T34" fmla="*/ 2147483647 w 732"/>
                  <a:gd name="T35" fmla="*/ 2147483647 h 398"/>
                  <a:gd name="T36" fmla="*/ 2147483647 w 732"/>
                  <a:gd name="T37" fmla="*/ 2147483647 h 398"/>
                  <a:gd name="T38" fmla="*/ 2147483647 w 732"/>
                  <a:gd name="T39" fmla="*/ 2147483647 h 398"/>
                  <a:gd name="T40" fmla="*/ 2147483647 w 732"/>
                  <a:gd name="T41" fmla="*/ 2147483647 h 398"/>
                  <a:gd name="T42" fmla="*/ 2147483647 w 732"/>
                  <a:gd name="T43" fmla="*/ 2147483647 h 398"/>
                  <a:gd name="T44" fmla="*/ 2147483647 w 732"/>
                  <a:gd name="T45" fmla="*/ 2147483647 h 398"/>
                  <a:gd name="T46" fmla="*/ 2147483647 w 732"/>
                  <a:gd name="T47" fmla="*/ 2147483647 h 398"/>
                  <a:gd name="T48" fmla="*/ 2147483647 w 732"/>
                  <a:gd name="T49" fmla="*/ 2147483647 h 398"/>
                  <a:gd name="T50" fmla="*/ 2147483647 w 732"/>
                  <a:gd name="T51" fmla="*/ 2147483647 h 398"/>
                  <a:gd name="T52" fmla="*/ 2147483647 w 732"/>
                  <a:gd name="T53" fmla="*/ 2147483647 h 398"/>
                  <a:gd name="T54" fmla="*/ 2147483647 w 732"/>
                  <a:gd name="T55" fmla="*/ 2147483647 h 398"/>
                  <a:gd name="T56" fmla="*/ 2147483647 w 732"/>
                  <a:gd name="T57" fmla="*/ 2147483647 h 398"/>
                  <a:gd name="T58" fmla="*/ 2147483647 w 732"/>
                  <a:gd name="T59" fmla="*/ 2147483647 h 398"/>
                  <a:gd name="T60" fmla="*/ 2147483647 w 732"/>
                  <a:gd name="T61" fmla="*/ 2147483647 h 398"/>
                  <a:gd name="T62" fmla="*/ 2147483647 w 732"/>
                  <a:gd name="T63" fmla="*/ 2147483647 h 398"/>
                  <a:gd name="T64" fmla="*/ 2147483647 w 732"/>
                  <a:gd name="T65" fmla="*/ 2147483647 h 398"/>
                  <a:gd name="T66" fmla="*/ 2147483647 w 732"/>
                  <a:gd name="T67" fmla="*/ 2147483647 h 398"/>
                  <a:gd name="T68" fmla="*/ 2147483647 w 732"/>
                  <a:gd name="T69" fmla="*/ 2147483647 h 398"/>
                  <a:gd name="T70" fmla="*/ 2147483647 w 732"/>
                  <a:gd name="T71" fmla="*/ 2147483647 h 398"/>
                  <a:gd name="T72" fmla="*/ 2147483647 w 732"/>
                  <a:gd name="T73" fmla="*/ 2147483647 h 398"/>
                  <a:gd name="T74" fmla="*/ 2147483647 w 732"/>
                  <a:gd name="T75" fmla="*/ 2147483647 h 398"/>
                  <a:gd name="T76" fmla="*/ 2147483647 w 732"/>
                  <a:gd name="T77" fmla="*/ 2147483647 h 398"/>
                  <a:gd name="T78" fmla="*/ 2147483647 w 732"/>
                  <a:gd name="T79" fmla="*/ 2147483647 h 398"/>
                  <a:gd name="T80" fmla="*/ 2147483647 w 732"/>
                  <a:gd name="T81" fmla="*/ 2147483647 h 398"/>
                  <a:gd name="T82" fmla="*/ 2147483647 w 732"/>
                  <a:gd name="T83" fmla="*/ 2147483647 h 398"/>
                  <a:gd name="T84" fmla="*/ 2147483647 w 732"/>
                  <a:gd name="T85" fmla="*/ 2147483647 h 398"/>
                  <a:gd name="T86" fmla="*/ 2147483647 w 732"/>
                  <a:gd name="T87" fmla="*/ 2147483647 h 398"/>
                  <a:gd name="T88" fmla="*/ 2147483647 w 732"/>
                  <a:gd name="T89" fmla="*/ 2147483647 h 398"/>
                  <a:gd name="T90" fmla="*/ 2147483647 w 732"/>
                  <a:gd name="T91" fmla="*/ 2147483647 h 398"/>
                  <a:gd name="T92" fmla="*/ 2147483647 w 732"/>
                  <a:gd name="T93" fmla="*/ 2147483647 h 398"/>
                  <a:gd name="T94" fmla="*/ 2147483647 w 732"/>
                  <a:gd name="T95" fmla="*/ 2147483647 h 398"/>
                  <a:gd name="T96" fmla="*/ 2147483647 w 732"/>
                  <a:gd name="T97" fmla="*/ 2147483647 h 398"/>
                  <a:gd name="T98" fmla="*/ 2147483647 w 732"/>
                  <a:gd name="T99" fmla="*/ 2147483647 h 398"/>
                  <a:gd name="T100" fmla="*/ 2147483647 w 732"/>
                  <a:gd name="T101" fmla="*/ 2147483647 h 398"/>
                  <a:gd name="T102" fmla="*/ 2147483647 w 732"/>
                  <a:gd name="T103" fmla="*/ 2147483647 h 398"/>
                  <a:gd name="T104" fmla="*/ 2147483647 w 732"/>
                  <a:gd name="T105" fmla="*/ 2147483647 h 398"/>
                  <a:gd name="T106" fmla="*/ 2147483647 w 732"/>
                  <a:gd name="T107" fmla="*/ 2147483647 h 398"/>
                  <a:gd name="T108" fmla="*/ 2147483647 w 732"/>
                  <a:gd name="T109" fmla="*/ 2147483647 h 398"/>
                  <a:gd name="T110" fmla="*/ 2147483647 w 732"/>
                  <a:gd name="T111" fmla="*/ 2147483647 h 398"/>
                  <a:gd name="T112" fmla="*/ 2147483647 w 732"/>
                  <a:gd name="T113" fmla="*/ 2147483647 h 398"/>
                  <a:gd name="T114" fmla="*/ 2147483647 w 732"/>
                  <a:gd name="T115" fmla="*/ 2147483647 h 398"/>
                  <a:gd name="T116" fmla="*/ 2147483647 w 732"/>
                  <a:gd name="T117" fmla="*/ 2147483647 h 398"/>
                  <a:gd name="T118" fmla="*/ 2147483647 w 732"/>
                  <a:gd name="T119" fmla="*/ 2147483647 h 398"/>
                  <a:gd name="T120" fmla="*/ 2147483647 w 732"/>
                  <a:gd name="T121" fmla="*/ 2147483647 h 398"/>
                  <a:gd name="T122" fmla="*/ 2147483647 w 732"/>
                  <a:gd name="T123" fmla="*/ 2147483647 h 39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32"/>
                  <a:gd name="T187" fmla="*/ 0 h 398"/>
                  <a:gd name="T188" fmla="*/ 732 w 732"/>
                  <a:gd name="T189" fmla="*/ 398 h 39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32" h="398">
                    <a:moveTo>
                      <a:pt x="730" y="24"/>
                    </a:moveTo>
                    <a:lnTo>
                      <a:pt x="728" y="24"/>
                    </a:lnTo>
                    <a:lnTo>
                      <a:pt x="723" y="24"/>
                    </a:lnTo>
                    <a:lnTo>
                      <a:pt x="718" y="22"/>
                    </a:lnTo>
                    <a:lnTo>
                      <a:pt x="678" y="22"/>
                    </a:lnTo>
                    <a:lnTo>
                      <a:pt x="678" y="24"/>
                    </a:lnTo>
                    <a:lnTo>
                      <a:pt x="670" y="26"/>
                    </a:lnTo>
                    <a:lnTo>
                      <a:pt x="659" y="26"/>
                    </a:lnTo>
                    <a:lnTo>
                      <a:pt x="651" y="24"/>
                    </a:lnTo>
                    <a:lnTo>
                      <a:pt x="637" y="24"/>
                    </a:lnTo>
                    <a:lnTo>
                      <a:pt x="623" y="29"/>
                    </a:lnTo>
                    <a:lnTo>
                      <a:pt x="616" y="34"/>
                    </a:lnTo>
                    <a:lnTo>
                      <a:pt x="611" y="34"/>
                    </a:lnTo>
                    <a:lnTo>
                      <a:pt x="606" y="34"/>
                    </a:lnTo>
                    <a:lnTo>
                      <a:pt x="604" y="36"/>
                    </a:lnTo>
                    <a:lnTo>
                      <a:pt x="602" y="36"/>
                    </a:lnTo>
                    <a:lnTo>
                      <a:pt x="597" y="38"/>
                    </a:lnTo>
                    <a:lnTo>
                      <a:pt x="592" y="38"/>
                    </a:lnTo>
                    <a:lnTo>
                      <a:pt x="599" y="34"/>
                    </a:lnTo>
                    <a:lnTo>
                      <a:pt x="609" y="31"/>
                    </a:lnTo>
                    <a:lnTo>
                      <a:pt x="621" y="26"/>
                    </a:lnTo>
                    <a:lnTo>
                      <a:pt x="623" y="24"/>
                    </a:lnTo>
                    <a:lnTo>
                      <a:pt x="618" y="19"/>
                    </a:lnTo>
                    <a:lnTo>
                      <a:pt x="606" y="19"/>
                    </a:lnTo>
                    <a:lnTo>
                      <a:pt x="604" y="22"/>
                    </a:lnTo>
                    <a:lnTo>
                      <a:pt x="602" y="22"/>
                    </a:lnTo>
                    <a:lnTo>
                      <a:pt x="597" y="24"/>
                    </a:lnTo>
                    <a:lnTo>
                      <a:pt x="594" y="24"/>
                    </a:lnTo>
                    <a:lnTo>
                      <a:pt x="566" y="26"/>
                    </a:lnTo>
                    <a:lnTo>
                      <a:pt x="566" y="29"/>
                    </a:lnTo>
                    <a:lnTo>
                      <a:pt x="563" y="29"/>
                    </a:lnTo>
                    <a:lnTo>
                      <a:pt x="566" y="26"/>
                    </a:lnTo>
                    <a:lnTo>
                      <a:pt x="568" y="26"/>
                    </a:lnTo>
                    <a:lnTo>
                      <a:pt x="573" y="26"/>
                    </a:lnTo>
                    <a:lnTo>
                      <a:pt x="578" y="24"/>
                    </a:lnTo>
                    <a:lnTo>
                      <a:pt x="580" y="24"/>
                    </a:lnTo>
                    <a:lnTo>
                      <a:pt x="582" y="24"/>
                    </a:lnTo>
                    <a:lnTo>
                      <a:pt x="585" y="22"/>
                    </a:lnTo>
                    <a:lnTo>
                      <a:pt x="578" y="19"/>
                    </a:lnTo>
                    <a:lnTo>
                      <a:pt x="552" y="19"/>
                    </a:lnTo>
                    <a:lnTo>
                      <a:pt x="542" y="22"/>
                    </a:lnTo>
                    <a:lnTo>
                      <a:pt x="525" y="19"/>
                    </a:lnTo>
                    <a:lnTo>
                      <a:pt x="523" y="19"/>
                    </a:lnTo>
                    <a:lnTo>
                      <a:pt x="523" y="22"/>
                    </a:lnTo>
                    <a:lnTo>
                      <a:pt x="518" y="22"/>
                    </a:lnTo>
                    <a:lnTo>
                      <a:pt x="514" y="24"/>
                    </a:lnTo>
                    <a:lnTo>
                      <a:pt x="511" y="24"/>
                    </a:lnTo>
                    <a:lnTo>
                      <a:pt x="509" y="24"/>
                    </a:lnTo>
                    <a:lnTo>
                      <a:pt x="506" y="24"/>
                    </a:lnTo>
                    <a:lnTo>
                      <a:pt x="509" y="22"/>
                    </a:lnTo>
                    <a:lnTo>
                      <a:pt x="518" y="19"/>
                    </a:lnTo>
                    <a:lnTo>
                      <a:pt x="530" y="19"/>
                    </a:lnTo>
                    <a:lnTo>
                      <a:pt x="563" y="19"/>
                    </a:lnTo>
                    <a:lnTo>
                      <a:pt x="580" y="17"/>
                    </a:lnTo>
                    <a:lnTo>
                      <a:pt x="625" y="17"/>
                    </a:lnTo>
                    <a:lnTo>
                      <a:pt x="632" y="14"/>
                    </a:lnTo>
                    <a:lnTo>
                      <a:pt x="628" y="12"/>
                    </a:lnTo>
                    <a:lnTo>
                      <a:pt x="618" y="10"/>
                    </a:lnTo>
                    <a:lnTo>
                      <a:pt x="592" y="10"/>
                    </a:lnTo>
                    <a:lnTo>
                      <a:pt x="594" y="10"/>
                    </a:lnTo>
                    <a:lnTo>
                      <a:pt x="597" y="7"/>
                    </a:lnTo>
                    <a:lnTo>
                      <a:pt x="594" y="5"/>
                    </a:lnTo>
                    <a:lnTo>
                      <a:pt x="585" y="5"/>
                    </a:lnTo>
                    <a:lnTo>
                      <a:pt x="582" y="7"/>
                    </a:lnTo>
                    <a:lnTo>
                      <a:pt x="568" y="7"/>
                    </a:lnTo>
                    <a:lnTo>
                      <a:pt x="566" y="5"/>
                    </a:lnTo>
                    <a:lnTo>
                      <a:pt x="571" y="5"/>
                    </a:lnTo>
                    <a:lnTo>
                      <a:pt x="573" y="5"/>
                    </a:lnTo>
                    <a:lnTo>
                      <a:pt x="578" y="5"/>
                    </a:lnTo>
                    <a:lnTo>
                      <a:pt x="578" y="2"/>
                    </a:lnTo>
                    <a:lnTo>
                      <a:pt x="575" y="2"/>
                    </a:lnTo>
                    <a:lnTo>
                      <a:pt x="571" y="0"/>
                    </a:lnTo>
                    <a:lnTo>
                      <a:pt x="537" y="0"/>
                    </a:lnTo>
                    <a:lnTo>
                      <a:pt x="528" y="2"/>
                    </a:lnTo>
                    <a:lnTo>
                      <a:pt x="518" y="2"/>
                    </a:lnTo>
                    <a:lnTo>
                      <a:pt x="509" y="0"/>
                    </a:lnTo>
                    <a:lnTo>
                      <a:pt x="483" y="0"/>
                    </a:lnTo>
                    <a:lnTo>
                      <a:pt x="478" y="2"/>
                    </a:lnTo>
                    <a:lnTo>
                      <a:pt x="454" y="2"/>
                    </a:lnTo>
                    <a:lnTo>
                      <a:pt x="452" y="0"/>
                    </a:lnTo>
                    <a:lnTo>
                      <a:pt x="447" y="0"/>
                    </a:lnTo>
                    <a:lnTo>
                      <a:pt x="445" y="2"/>
                    </a:lnTo>
                    <a:lnTo>
                      <a:pt x="442" y="2"/>
                    </a:lnTo>
                    <a:lnTo>
                      <a:pt x="442" y="5"/>
                    </a:lnTo>
                    <a:lnTo>
                      <a:pt x="445" y="5"/>
                    </a:lnTo>
                    <a:lnTo>
                      <a:pt x="447" y="5"/>
                    </a:lnTo>
                    <a:lnTo>
                      <a:pt x="442" y="7"/>
                    </a:lnTo>
                    <a:lnTo>
                      <a:pt x="428" y="7"/>
                    </a:lnTo>
                    <a:lnTo>
                      <a:pt x="409" y="5"/>
                    </a:lnTo>
                    <a:lnTo>
                      <a:pt x="378" y="5"/>
                    </a:lnTo>
                    <a:lnTo>
                      <a:pt x="373" y="5"/>
                    </a:lnTo>
                    <a:lnTo>
                      <a:pt x="371" y="5"/>
                    </a:lnTo>
                    <a:lnTo>
                      <a:pt x="368" y="7"/>
                    </a:lnTo>
                    <a:lnTo>
                      <a:pt x="366" y="7"/>
                    </a:lnTo>
                    <a:lnTo>
                      <a:pt x="366" y="10"/>
                    </a:lnTo>
                    <a:lnTo>
                      <a:pt x="368" y="10"/>
                    </a:lnTo>
                    <a:lnTo>
                      <a:pt x="378" y="10"/>
                    </a:lnTo>
                    <a:lnTo>
                      <a:pt x="387" y="10"/>
                    </a:lnTo>
                    <a:lnTo>
                      <a:pt x="399" y="12"/>
                    </a:lnTo>
                    <a:lnTo>
                      <a:pt x="404" y="12"/>
                    </a:lnTo>
                    <a:lnTo>
                      <a:pt x="426" y="14"/>
                    </a:lnTo>
                    <a:lnTo>
                      <a:pt x="399" y="14"/>
                    </a:lnTo>
                    <a:lnTo>
                      <a:pt x="395" y="14"/>
                    </a:lnTo>
                    <a:lnTo>
                      <a:pt x="392" y="14"/>
                    </a:lnTo>
                    <a:lnTo>
                      <a:pt x="387" y="12"/>
                    </a:lnTo>
                    <a:lnTo>
                      <a:pt x="378" y="12"/>
                    </a:lnTo>
                    <a:lnTo>
                      <a:pt x="380" y="14"/>
                    </a:lnTo>
                    <a:lnTo>
                      <a:pt x="383" y="14"/>
                    </a:lnTo>
                    <a:lnTo>
                      <a:pt x="385" y="14"/>
                    </a:lnTo>
                    <a:lnTo>
                      <a:pt x="376" y="14"/>
                    </a:lnTo>
                    <a:lnTo>
                      <a:pt x="373" y="17"/>
                    </a:lnTo>
                    <a:lnTo>
                      <a:pt x="373" y="19"/>
                    </a:lnTo>
                    <a:lnTo>
                      <a:pt x="371" y="22"/>
                    </a:lnTo>
                    <a:lnTo>
                      <a:pt x="371" y="24"/>
                    </a:lnTo>
                    <a:lnTo>
                      <a:pt x="368" y="24"/>
                    </a:lnTo>
                    <a:lnTo>
                      <a:pt x="366" y="24"/>
                    </a:lnTo>
                    <a:lnTo>
                      <a:pt x="364" y="24"/>
                    </a:lnTo>
                    <a:lnTo>
                      <a:pt x="359" y="24"/>
                    </a:lnTo>
                    <a:lnTo>
                      <a:pt x="357" y="22"/>
                    </a:lnTo>
                    <a:lnTo>
                      <a:pt x="345" y="19"/>
                    </a:lnTo>
                    <a:lnTo>
                      <a:pt x="330" y="14"/>
                    </a:lnTo>
                    <a:lnTo>
                      <a:pt x="309" y="14"/>
                    </a:lnTo>
                    <a:lnTo>
                      <a:pt x="309" y="24"/>
                    </a:lnTo>
                    <a:lnTo>
                      <a:pt x="297" y="24"/>
                    </a:lnTo>
                    <a:lnTo>
                      <a:pt x="292" y="22"/>
                    </a:lnTo>
                    <a:lnTo>
                      <a:pt x="288" y="22"/>
                    </a:lnTo>
                    <a:lnTo>
                      <a:pt x="285" y="19"/>
                    </a:lnTo>
                    <a:lnTo>
                      <a:pt x="278" y="19"/>
                    </a:lnTo>
                    <a:lnTo>
                      <a:pt x="273" y="22"/>
                    </a:lnTo>
                    <a:lnTo>
                      <a:pt x="273" y="24"/>
                    </a:lnTo>
                    <a:lnTo>
                      <a:pt x="269" y="24"/>
                    </a:lnTo>
                    <a:lnTo>
                      <a:pt x="271" y="19"/>
                    </a:lnTo>
                    <a:lnTo>
                      <a:pt x="269" y="17"/>
                    </a:lnTo>
                    <a:lnTo>
                      <a:pt x="238" y="17"/>
                    </a:lnTo>
                    <a:lnTo>
                      <a:pt x="228" y="19"/>
                    </a:lnTo>
                    <a:lnTo>
                      <a:pt x="209" y="19"/>
                    </a:lnTo>
                    <a:lnTo>
                      <a:pt x="214" y="22"/>
                    </a:lnTo>
                    <a:lnTo>
                      <a:pt x="223" y="26"/>
                    </a:lnTo>
                    <a:lnTo>
                      <a:pt x="226" y="29"/>
                    </a:lnTo>
                    <a:lnTo>
                      <a:pt x="223" y="29"/>
                    </a:lnTo>
                    <a:lnTo>
                      <a:pt x="223" y="26"/>
                    </a:lnTo>
                    <a:lnTo>
                      <a:pt x="214" y="24"/>
                    </a:lnTo>
                    <a:lnTo>
                      <a:pt x="207" y="24"/>
                    </a:lnTo>
                    <a:lnTo>
                      <a:pt x="202" y="22"/>
                    </a:lnTo>
                    <a:lnTo>
                      <a:pt x="197" y="22"/>
                    </a:lnTo>
                    <a:lnTo>
                      <a:pt x="192" y="19"/>
                    </a:lnTo>
                    <a:lnTo>
                      <a:pt x="190" y="19"/>
                    </a:lnTo>
                    <a:lnTo>
                      <a:pt x="188" y="22"/>
                    </a:lnTo>
                    <a:lnTo>
                      <a:pt x="185" y="24"/>
                    </a:lnTo>
                    <a:lnTo>
                      <a:pt x="183" y="26"/>
                    </a:lnTo>
                    <a:lnTo>
                      <a:pt x="178" y="29"/>
                    </a:lnTo>
                    <a:lnTo>
                      <a:pt x="176" y="29"/>
                    </a:lnTo>
                    <a:lnTo>
                      <a:pt x="171" y="31"/>
                    </a:lnTo>
                    <a:lnTo>
                      <a:pt x="150" y="31"/>
                    </a:lnTo>
                    <a:lnTo>
                      <a:pt x="143" y="34"/>
                    </a:lnTo>
                    <a:lnTo>
                      <a:pt x="133" y="36"/>
                    </a:lnTo>
                    <a:lnTo>
                      <a:pt x="124" y="38"/>
                    </a:lnTo>
                    <a:lnTo>
                      <a:pt x="119" y="38"/>
                    </a:lnTo>
                    <a:lnTo>
                      <a:pt x="102" y="41"/>
                    </a:lnTo>
                    <a:lnTo>
                      <a:pt x="97" y="43"/>
                    </a:lnTo>
                    <a:lnTo>
                      <a:pt x="100" y="46"/>
                    </a:lnTo>
                    <a:lnTo>
                      <a:pt x="105" y="48"/>
                    </a:lnTo>
                    <a:lnTo>
                      <a:pt x="126" y="48"/>
                    </a:lnTo>
                    <a:lnTo>
                      <a:pt x="116" y="50"/>
                    </a:lnTo>
                    <a:lnTo>
                      <a:pt x="112" y="55"/>
                    </a:lnTo>
                    <a:lnTo>
                      <a:pt x="109" y="55"/>
                    </a:lnTo>
                    <a:lnTo>
                      <a:pt x="93" y="60"/>
                    </a:lnTo>
                    <a:lnTo>
                      <a:pt x="88" y="60"/>
                    </a:lnTo>
                    <a:lnTo>
                      <a:pt x="66" y="60"/>
                    </a:lnTo>
                    <a:lnTo>
                      <a:pt x="57" y="62"/>
                    </a:lnTo>
                    <a:lnTo>
                      <a:pt x="47" y="65"/>
                    </a:lnTo>
                    <a:lnTo>
                      <a:pt x="45" y="67"/>
                    </a:lnTo>
                    <a:lnTo>
                      <a:pt x="40" y="67"/>
                    </a:lnTo>
                    <a:lnTo>
                      <a:pt x="38" y="65"/>
                    </a:lnTo>
                    <a:lnTo>
                      <a:pt x="31" y="70"/>
                    </a:lnTo>
                    <a:lnTo>
                      <a:pt x="9" y="70"/>
                    </a:lnTo>
                    <a:lnTo>
                      <a:pt x="7" y="70"/>
                    </a:lnTo>
                    <a:lnTo>
                      <a:pt x="2" y="70"/>
                    </a:lnTo>
                    <a:lnTo>
                      <a:pt x="0" y="74"/>
                    </a:lnTo>
                    <a:lnTo>
                      <a:pt x="2" y="74"/>
                    </a:lnTo>
                    <a:lnTo>
                      <a:pt x="9" y="79"/>
                    </a:lnTo>
                    <a:lnTo>
                      <a:pt x="12" y="82"/>
                    </a:lnTo>
                    <a:lnTo>
                      <a:pt x="14" y="84"/>
                    </a:lnTo>
                    <a:lnTo>
                      <a:pt x="24" y="79"/>
                    </a:lnTo>
                    <a:lnTo>
                      <a:pt x="24" y="84"/>
                    </a:lnTo>
                    <a:lnTo>
                      <a:pt x="28" y="86"/>
                    </a:lnTo>
                    <a:lnTo>
                      <a:pt x="33" y="86"/>
                    </a:lnTo>
                    <a:lnTo>
                      <a:pt x="36" y="84"/>
                    </a:lnTo>
                    <a:lnTo>
                      <a:pt x="38" y="84"/>
                    </a:lnTo>
                    <a:lnTo>
                      <a:pt x="40" y="82"/>
                    </a:lnTo>
                    <a:lnTo>
                      <a:pt x="40" y="84"/>
                    </a:lnTo>
                    <a:lnTo>
                      <a:pt x="43" y="86"/>
                    </a:lnTo>
                    <a:lnTo>
                      <a:pt x="45" y="86"/>
                    </a:lnTo>
                    <a:lnTo>
                      <a:pt x="47" y="84"/>
                    </a:lnTo>
                    <a:lnTo>
                      <a:pt x="52" y="84"/>
                    </a:lnTo>
                    <a:lnTo>
                      <a:pt x="57" y="84"/>
                    </a:lnTo>
                    <a:lnTo>
                      <a:pt x="59" y="82"/>
                    </a:lnTo>
                    <a:lnTo>
                      <a:pt x="64" y="82"/>
                    </a:lnTo>
                    <a:lnTo>
                      <a:pt x="64" y="84"/>
                    </a:lnTo>
                    <a:lnTo>
                      <a:pt x="64" y="86"/>
                    </a:lnTo>
                    <a:lnTo>
                      <a:pt x="62" y="86"/>
                    </a:lnTo>
                    <a:lnTo>
                      <a:pt x="57" y="91"/>
                    </a:lnTo>
                    <a:lnTo>
                      <a:pt x="55" y="91"/>
                    </a:lnTo>
                    <a:lnTo>
                      <a:pt x="52" y="89"/>
                    </a:lnTo>
                    <a:lnTo>
                      <a:pt x="40" y="89"/>
                    </a:lnTo>
                    <a:lnTo>
                      <a:pt x="36" y="91"/>
                    </a:lnTo>
                    <a:lnTo>
                      <a:pt x="33" y="91"/>
                    </a:lnTo>
                    <a:lnTo>
                      <a:pt x="21" y="89"/>
                    </a:lnTo>
                    <a:lnTo>
                      <a:pt x="19" y="89"/>
                    </a:lnTo>
                    <a:lnTo>
                      <a:pt x="14" y="86"/>
                    </a:lnTo>
                    <a:lnTo>
                      <a:pt x="7" y="86"/>
                    </a:lnTo>
                    <a:lnTo>
                      <a:pt x="2" y="89"/>
                    </a:lnTo>
                    <a:lnTo>
                      <a:pt x="2" y="93"/>
                    </a:lnTo>
                    <a:lnTo>
                      <a:pt x="2" y="96"/>
                    </a:lnTo>
                    <a:lnTo>
                      <a:pt x="7" y="98"/>
                    </a:lnTo>
                    <a:lnTo>
                      <a:pt x="19" y="98"/>
                    </a:lnTo>
                    <a:lnTo>
                      <a:pt x="17" y="101"/>
                    </a:lnTo>
                    <a:lnTo>
                      <a:pt x="14" y="101"/>
                    </a:lnTo>
                    <a:lnTo>
                      <a:pt x="9" y="101"/>
                    </a:lnTo>
                    <a:lnTo>
                      <a:pt x="12" y="103"/>
                    </a:lnTo>
                    <a:lnTo>
                      <a:pt x="19" y="105"/>
                    </a:lnTo>
                    <a:lnTo>
                      <a:pt x="21" y="105"/>
                    </a:lnTo>
                    <a:lnTo>
                      <a:pt x="24" y="108"/>
                    </a:lnTo>
                    <a:lnTo>
                      <a:pt x="33" y="108"/>
                    </a:lnTo>
                    <a:lnTo>
                      <a:pt x="33" y="105"/>
                    </a:lnTo>
                    <a:lnTo>
                      <a:pt x="36" y="105"/>
                    </a:lnTo>
                    <a:lnTo>
                      <a:pt x="38" y="105"/>
                    </a:lnTo>
                    <a:lnTo>
                      <a:pt x="43" y="108"/>
                    </a:lnTo>
                    <a:lnTo>
                      <a:pt x="52" y="105"/>
                    </a:lnTo>
                    <a:lnTo>
                      <a:pt x="52" y="108"/>
                    </a:lnTo>
                    <a:lnTo>
                      <a:pt x="57" y="108"/>
                    </a:lnTo>
                    <a:lnTo>
                      <a:pt x="62" y="105"/>
                    </a:lnTo>
                    <a:lnTo>
                      <a:pt x="64" y="105"/>
                    </a:lnTo>
                    <a:lnTo>
                      <a:pt x="69" y="103"/>
                    </a:lnTo>
                    <a:lnTo>
                      <a:pt x="76" y="105"/>
                    </a:lnTo>
                    <a:lnTo>
                      <a:pt x="81" y="105"/>
                    </a:lnTo>
                    <a:lnTo>
                      <a:pt x="83" y="105"/>
                    </a:lnTo>
                    <a:lnTo>
                      <a:pt x="85" y="103"/>
                    </a:lnTo>
                    <a:lnTo>
                      <a:pt x="88" y="103"/>
                    </a:lnTo>
                    <a:lnTo>
                      <a:pt x="93" y="105"/>
                    </a:lnTo>
                    <a:lnTo>
                      <a:pt x="97" y="105"/>
                    </a:lnTo>
                    <a:lnTo>
                      <a:pt x="112" y="105"/>
                    </a:lnTo>
                    <a:lnTo>
                      <a:pt x="121" y="110"/>
                    </a:lnTo>
                    <a:lnTo>
                      <a:pt x="124" y="110"/>
                    </a:lnTo>
                    <a:lnTo>
                      <a:pt x="128" y="115"/>
                    </a:lnTo>
                    <a:lnTo>
                      <a:pt x="135" y="115"/>
                    </a:lnTo>
                    <a:lnTo>
                      <a:pt x="133" y="117"/>
                    </a:lnTo>
                    <a:lnTo>
                      <a:pt x="133" y="120"/>
                    </a:lnTo>
                    <a:lnTo>
                      <a:pt x="133" y="125"/>
                    </a:lnTo>
                    <a:lnTo>
                      <a:pt x="138" y="125"/>
                    </a:lnTo>
                    <a:lnTo>
                      <a:pt x="140" y="125"/>
                    </a:lnTo>
                    <a:lnTo>
                      <a:pt x="145" y="127"/>
                    </a:lnTo>
                    <a:lnTo>
                      <a:pt x="147" y="129"/>
                    </a:lnTo>
                    <a:lnTo>
                      <a:pt x="143" y="134"/>
                    </a:lnTo>
                    <a:lnTo>
                      <a:pt x="145" y="141"/>
                    </a:lnTo>
                    <a:lnTo>
                      <a:pt x="152" y="144"/>
                    </a:lnTo>
                    <a:lnTo>
                      <a:pt x="145" y="149"/>
                    </a:lnTo>
                    <a:lnTo>
                      <a:pt x="150" y="151"/>
                    </a:lnTo>
                    <a:lnTo>
                      <a:pt x="147" y="151"/>
                    </a:lnTo>
                    <a:lnTo>
                      <a:pt x="145" y="153"/>
                    </a:lnTo>
                    <a:lnTo>
                      <a:pt x="145" y="156"/>
                    </a:lnTo>
                    <a:lnTo>
                      <a:pt x="150" y="161"/>
                    </a:lnTo>
                    <a:lnTo>
                      <a:pt x="152" y="161"/>
                    </a:lnTo>
                    <a:lnTo>
                      <a:pt x="152" y="163"/>
                    </a:lnTo>
                    <a:lnTo>
                      <a:pt x="147" y="165"/>
                    </a:lnTo>
                    <a:lnTo>
                      <a:pt x="145" y="168"/>
                    </a:lnTo>
                    <a:lnTo>
                      <a:pt x="143" y="168"/>
                    </a:lnTo>
                    <a:lnTo>
                      <a:pt x="147" y="170"/>
                    </a:lnTo>
                    <a:lnTo>
                      <a:pt x="143" y="170"/>
                    </a:lnTo>
                    <a:lnTo>
                      <a:pt x="140" y="170"/>
                    </a:lnTo>
                    <a:lnTo>
                      <a:pt x="138" y="170"/>
                    </a:lnTo>
                    <a:lnTo>
                      <a:pt x="133" y="173"/>
                    </a:lnTo>
                    <a:lnTo>
                      <a:pt x="131" y="173"/>
                    </a:lnTo>
                    <a:lnTo>
                      <a:pt x="131" y="175"/>
                    </a:lnTo>
                    <a:lnTo>
                      <a:pt x="143" y="175"/>
                    </a:lnTo>
                    <a:lnTo>
                      <a:pt x="138" y="180"/>
                    </a:lnTo>
                    <a:lnTo>
                      <a:pt x="126" y="180"/>
                    </a:lnTo>
                    <a:lnTo>
                      <a:pt x="124" y="180"/>
                    </a:lnTo>
                    <a:lnTo>
                      <a:pt x="124" y="182"/>
                    </a:lnTo>
                    <a:lnTo>
                      <a:pt x="133" y="189"/>
                    </a:lnTo>
                    <a:lnTo>
                      <a:pt x="138" y="189"/>
                    </a:lnTo>
                    <a:lnTo>
                      <a:pt x="145" y="184"/>
                    </a:lnTo>
                    <a:lnTo>
                      <a:pt x="147" y="184"/>
                    </a:lnTo>
                    <a:lnTo>
                      <a:pt x="152" y="184"/>
                    </a:lnTo>
                    <a:lnTo>
                      <a:pt x="154" y="182"/>
                    </a:lnTo>
                    <a:lnTo>
                      <a:pt x="157" y="182"/>
                    </a:lnTo>
                    <a:lnTo>
                      <a:pt x="157" y="180"/>
                    </a:lnTo>
                    <a:lnTo>
                      <a:pt x="157" y="175"/>
                    </a:lnTo>
                    <a:lnTo>
                      <a:pt x="159" y="173"/>
                    </a:lnTo>
                    <a:lnTo>
                      <a:pt x="159" y="180"/>
                    </a:lnTo>
                    <a:lnTo>
                      <a:pt x="166" y="175"/>
                    </a:lnTo>
                    <a:lnTo>
                      <a:pt x="164" y="177"/>
                    </a:lnTo>
                    <a:lnTo>
                      <a:pt x="164" y="180"/>
                    </a:lnTo>
                    <a:lnTo>
                      <a:pt x="166" y="180"/>
                    </a:lnTo>
                    <a:lnTo>
                      <a:pt x="169" y="182"/>
                    </a:lnTo>
                    <a:lnTo>
                      <a:pt x="176" y="182"/>
                    </a:lnTo>
                    <a:lnTo>
                      <a:pt x="171" y="187"/>
                    </a:lnTo>
                    <a:lnTo>
                      <a:pt x="171" y="189"/>
                    </a:lnTo>
                    <a:lnTo>
                      <a:pt x="173" y="192"/>
                    </a:lnTo>
                    <a:lnTo>
                      <a:pt x="176" y="194"/>
                    </a:lnTo>
                    <a:lnTo>
                      <a:pt x="178" y="196"/>
                    </a:lnTo>
                    <a:lnTo>
                      <a:pt x="181" y="199"/>
                    </a:lnTo>
                    <a:lnTo>
                      <a:pt x="178" y="201"/>
                    </a:lnTo>
                    <a:lnTo>
                      <a:pt x="173" y="201"/>
                    </a:lnTo>
                    <a:lnTo>
                      <a:pt x="173" y="204"/>
                    </a:lnTo>
                    <a:lnTo>
                      <a:pt x="166" y="204"/>
                    </a:lnTo>
                    <a:lnTo>
                      <a:pt x="164" y="201"/>
                    </a:lnTo>
                    <a:lnTo>
                      <a:pt x="162" y="201"/>
                    </a:lnTo>
                    <a:lnTo>
                      <a:pt x="159" y="201"/>
                    </a:lnTo>
                    <a:lnTo>
                      <a:pt x="157" y="199"/>
                    </a:lnTo>
                    <a:lnTo>
                      <a:pt x="143" y="199"/>
                    </a:lnTo>
                    <a:lnTo>
                      <a:pt x="140" y="196"/>
                    </a:lnTo>
                    <a:lnTo>
                      <a:pt x="138" y="194"/>
                    </a:lnTo>
                    <a:lnTo>
                      <a:pt x="131" y="194"/>
                    </a:lnTo>
                    <a:lnTo>
                      <a:pt x="128" y="199"/>
                    </a:lnTo>
                    <a:lnTo>
                      <a:pt x="128" y="201"/>
                    </a:lnTo>
                    <a:lnTo>
                      <a:pt x="133" y="201"/>
                    </a:lnTo>
                    <a:lnTo>
                      <a:pt x="133" y="204"/>
                    </a:lnTo>
                    <a:lnTo>
                      <a:pt x="140" y="204"/>
                    </a:lnTo>
                    <a:lnTo>
                      <a:pt x="143" y="206"/>
                    </a:lnTo>
                    <a:lnTo>
                      <a:pt x="145" y="206"/>
                    </a:lnTo>
                    <a:lnTo>
                      <a:pt x="147" y="206"/>
                    </a:lnTo>
                    <a:lnTo>
                      <a:pt x="152" y="211"/>
                    </a:lnTo>
                    <a:lnTo>
                      <a:pt x="162" y="211"/>
                    </a:lnTo>
                    <a:lnTo>
                      <a:pt x="164" y="211"/>
                    </a:lnTo>
                    <a:lnTo>
                      <a:pt x="166" y="211"/>
                    </a:lnTo>
                    <a:lnTo>
                      <a:pt x="173" y="213"/>
                    </a:lnTo>
                    <a:lnTo>
                      <a:pt x="178" y="208"/>
                    </a:lnTo>
                    <a:lnTo>
                      <a:pt x="178" y="216"/>
                    </a:lnTo>
                    <a:lnTo>
                      <a:pt x="176" y="213"/>
                    </a:lnTo>
                    <a:lnTo>
                      <a:pt x="173" y="213"/>
                    </a:lnTo>
                    <a:lnTo>
                      <a:pt x="171" y="213"/>
                    </a:lnTo>
                    <a:lnTo>
                      <a:pt x="171" y="216"/>
                    </a:lnTo>
                    <a:lnTo>
                      <a:pt x="173" y="220"/>
                    </a:lnTo>
                    <a:lnTo>
                      <a:pt x="169" y="220"/>
                    </a:lnTo>
                    <a:lnTo>
                      <a:pt x="166" y="220"/>
                    </a:lnTo>
                    <a:lnTo>
                      <a:pt x="164" y="220"/>
                    </a:lnTo>
                    <a:lnTo>
                      <a:pt x="164" y="223"/>
                    </a:lnTo>
                    <a:lnTo>
                      <a:pt x="164" y="225"/>
                    </a:lnTo>
                    <a:lnTo>
                      <a:pt x="173" y="225"/>
                    </a:lnTo>
                    <a:lnTo>
                      <a:pt x="171" y="225"/>
                    </a:lnTo>
                    <a:lnTo>
                      <a:pt x="171" y="228"/>
                    </a:lnTo>
                    <a:lnTo>
                      <a:pt x="169" y="230"/>
                    </a:lnTo>
                    <a:lnTo>
                      <a:pt x="162" y="225"/>
                    </a:lnTo>
                    <a:lnTo>
                      <a:pt x="159" y="225"/>
                    </a:lnTo>
                    <a:lnTo>
                      <a:pt x="159" y="228"/>
                    </a:lnTo>
                    <a:lnTo>
                      <a:pt x="159" y="230"/>
                    </a:lnTo>
                    <a:lnTo>
                      <a:pt x="162" y="232"/>
                    </a:lnTo>
                    <a:lnTo>
                      <a:pt x="157" y="232"/>
                    </a:lnTo>
                    <a:lnTo>
                      <a:pt x="157" y="237"/>
                    </a:lnTo>
                    <a:lnTo>
                      <a:pt x="154" y="237"/>
                    </a:lnTo>
                    <a:lnTo>
                      <a:pt x="152" y="240"/>
                    </a:lnTo>
                    <a:lnTo>
                      <a:pt x="152" y="242"/>
                    </a:lnTo>
                    <a:lnTo>
                      <a:pt x="157" y="247"/>
                    </a:lnTo>
                    <a:lnTo>
                      <a:pt x="159" y="247"/>
                    </a:lnTo>
                    <a:lnTo>
                      <a:pt x="159" y="252"/>
                    </a:lnTo>
                    <a:lnTo>
                      <a:pt x="157" y="252"/>
                    </a:lnTo>
                    <a:lnTo>
                      <a:pt x="154" y="252"/>
                    </a:lnTo>
                    <a:lnTo>
                      <a:pt x="152" y="249"/>
                    </a:lnTo>
                    <a:lnTo>
                      <a:pt x="150" y="244"/>
                    </a:lnTo>
                    <a:lnTo>
                      <a:pt x="147" y="242"/>
                    </a:lnTo>
                    <a:lnTo>
                      <a:pt x="147" y="240"/>
                    </a:lnTo>
                    <a:lnTo>
                      <a:pt x="145" y="237"/>
                    </a:lnTo>
                    <a:lnTo>
                      <a:pt x="143" y="235"/>
                    </a:lnTo>
                    <a:lnTo>
                      <a:pt x="140" y="235"/>
                    </a:lnTo>
                    <a:lnTo>
                      <a:pt x="135" y="235"/>
                    </a:lnTo>
                    <a:lnTo>
                      <a:pt x="133" y="235"/>
                    </a:lnTo>
                    <a:lnTo>
                      <a:pt x="128" y="240"/>
                    </a:lnTo>
                    <a:lnTo>
                      <a:pt x="128" y="242"/>
                    </a:lnTo>
                    <a:lnTo>
                      <a:pt x="133" y="244"/>
                    </a:lnTo>
                    <a:lnTo>
                      <a:pt x="138" y="244"/>
                    </a:lnTo>
                    <a:lnTo>
                      <a:pt x="140" y="247"/>
                    </a:lnTo>
                    <a:lnTo>
                      <a:pt x="135" y="249"/>
                    </a:lnTo>
                    <a:lnTo>
                      <a:pt x="131" y="249"/>
                    </a:lnTo>
                    <a:lnTo>
                      <a:pt x="128" y="247"/>
                    </a:lnTo>
                    <a:lnTo>
                      <a:pt x="121" y="247"/>
                    </a:lnTo>
                    <a:lnTo>
                      <a:pt x="119" y="249"/>
                    </a:lnTo>
                    <a:lnTo>
                      <a:pt x="116" y="249"/>
                    </a:lnTo>
                    <a:lnTo>
                      <a:pt x="114" y="249"/>
                    </a:lnTo>
                    <a:lnTo>
                      <a:pt x="112" y="252"/>
                    </a:lnTo>
                    <a:lnTo>
                      <a:pt x="109" y="252"/>
                    </a:lnTo>
                    <a:lnTo>
                      <a:pt x="121" y="252"/>
                    </a:lnTo>
                    <a:lnTo>
                      <a:pt x="126" y="252"/>
                    </a:lnTo>
                    <a:lnTo>
                      <a:pt x="140" y="252"/>
                    </a:lnTo>
                    <a:lnTo>
                      <a:pt x="143" y="252"/>
                    </a:lnTo>
                    <a:lnTo>
                      <a:pt x="131" y="252"/>
                    </a:lnTo>
                    <a:lnTo>
                      <a:pt x="112" y="256"/>
                    </a:lnTo>
                    <a:lnTo>
                      <a:pt x="107" y="256"/>
                    </a:lnTo>
                    <a:lnTo>
                      <a:pt x="105" y="259"/>
                    </a:lnTo>
                    <a:lnTo>
                      <a:pt x="107" y="259"/>
                    </a:lnTo>
                    <a:lnTo>
                      <a:pt x="107" y="261"/>
                    </a:lnTo>
                    <a:lnTo>
                      <a:pt x="114" y="261"/>
                    </a:lnTo>
                    <a:lnTo>
                      <a:pt x="119" y="259"/>
                    </a:lnTo>
                    <a:lnTo>
                      <a:pt x="124" y="259"/>
                    </a:lnTo>
                    <a:lnTo>
                      <a:pt x="128" y="256"/>
                    </a:lnTo>
                    <a:lnTo>
                      <a:pt x="138" y="256"/>
                    </a:lnTo>
                    <a:lnTo>
                      <a:pt x="140" y="259"/>
                    </a:lnTo>
                    <a:lnTo>
                      <a:pt x="138" y="261"/>
                    </a:lnTo>
                    <a:lnTo>
                      <a:pt x="114" y="261"/>
                    </a:lnTo>
                    <a:lnTo>
                      <a:pt x="112" y="261"/>
                    </a:lnTo>
                    <a:lnTo>
                      <a:pt x="102" y="261"/>
                    </a:lnTo>
                    <a:lnTo>
                      <a:pt x="102" y="264"/>
                    </a:lnTo>
                    <a:lnTo>
                      <a:pt x="107" y="264"/>
                    </a:lnTo>
                    <a:lnTo>
                      <a:pt x="107" y="266"/>
                    </a:lnTo>
                    <a:lnTo>
                      <a:pt x="112" y="266"/>
                    </a:lnTo>
                    <a:lnTo>
                      <a:pt x="114" y="266"/>
                    </a:lnTo>
                    <a:lnTo>
                      <a:pt x="109" y="266"/>
                    </a:lnTo>
                    <a:lnTo>
                      <a:pt x="107" y="268"/>
                    </a:lnTo>
                    <a:lnTo>
                      <a:pt x="107" y="271"/>
                    </a:lnTo>
                    <a:lnTo>
                      <a:pt x="105" y="273"/>
                    </a:lnTo>
                    <a:lnTo>
                      <a:pt x="102" y="273"/>
                    </a:lnTo>
                    <a:lnTo>
                      <a:pt x="100" y="275"/>
                    </a:lnTo>
                    <a:lnTo>
                      <a:pt x="97" y="275"/>
                    </a:lnTo>
                    <a:lnTo>
                      <a:pt x="107" y="278"/>
                    </a:lnTo>
                    <a:lnTo>
                      <a:pt x="97" y="280"/>
                    </a:lnTo>
                    <a:lnTo>
                      <a:pt x="97" y="283"/>
                    </a:lnTo>
                    <a:lnTo>
                      <a:pt x="100" y="285"/>
                    </a:lnTo>
                    <a:lnTo>
                      <a:pt x="105" y="285"/>
                    </a:lnTo>
                    <a:lnTo>
                      <a:pt x="107" y="285"/>
                    </a:lnTo>
                    <a:lnTo>
                      <a:pt x="114" y="285"/>
                    </a:lnTo>
                    <a:lnTo>
                      <a:pt x="112" y="285"/>
                    </a:lnTo>
                    <a:lnTo>
                      <a:pt x="109" y="285"/>
                    </a:lnTo>
                    <a:lnTo>
                      <a:pt x="107" y="287"/>
                    </a:lnTo>
                    <a:lnTo>
                      <a:pt x="102" y="290"/>
                    </a:lnTo>
                    <a:lnTo>
                      <a:pt x="102" y="292"/>
                    </a:lnTo>
                    <a:lnTo>
                      <a:pt x="105" y="295"/>
                    </a:lnTo>
                    <a:lnTo>
                      <a:pt x="107" y="295"/>
                    </a:lnTo>
                    <a:lnTo>
                      <a:pt x="109" y="292"/>
                    </a:lnTo>
                    <a:lnTo>
                      <a:pt x="114" y="290"/>
                    </a:lnTo>
                    <a:lnTo>
                      <a:pt x="112" y="295"/>
                    </a:lnTo>
                    <a:lnTo>
                      <a:pt x="109" y="295"/>
                    </a:lnTo>
                    <a:lnTo>
                      <a:pt x="107" y="299"/>
                    </a:lnTo>
                    <a:lnTo>
                      <a:pt x="107" y="304"/>
                    </a:lnTo>
                    <a:lnTo>
                      <a:pt x="109" y="304"/>
                    </a:lnTo>
                    <a:lnTo>
                      <a:pt x="109" y="302"/>
                    </a:lnTo>
                    <a:lnTo>
                      <a:pt x="114" y="302"/>
                    </a:lnTo>
                    <a:lnTo>
                      <a:pt x="109" y="307"/>
                    </a:lnTo>
                    <a:lnTo>
                      <a:pt x="107" y="307"/>
                    </a:lnTo>
                    <a:lnTo>
                      <a:pt x="105" y="309"/>
                    </a:lnTo>
                    <a:lnTo>
                      <a:pt x="102" y="311"/>
                    </a:lnTo>
                    <a:lnTo>
                      <a:pt x="102" y="316"/>
                    </a:lnTo>
                    <a:lnTo>
                      <a:pt x="105" y="316"/>
                    </a:lnTo>
                    <a:lnTo>
                      <a:pt x="107" y="314"/>
                    </a:lnTo>
                    <a:lnTo>
                      <a:pt x="114" y="307"/>
                    </a:lnTo>
                    <a:lnTo>
                      <a:pt x="124" y="307"/>
                    </a:lnTo>
                    <a:lnTo>
                      <a:pt x="126" y="304"/>
                    </a:lnTo>
                    <a:lnTo>
                      <a:pt x="128" y="304"/>
                    </a:lnTo>
                    <a:lnTo>
                      <a:pt x="128" y="307"/>
                    </a:lnTo>
                    <a:lnTo>
                      <a:pt x="133" y="304"/>
                    </a:lnTo>
                    <a:lnTo>
                      <a:pt x="128" y="311"/>
                    </a:lnTo>
                    <a:lnTo>
                      <a:pt x="135" y="311"/>
                    </a:lnTo>
                    <a:lnTo>
                      <a:pt x="128" y="311"/>
                    </a:lnTo>
                    <a:lnTo>
                      <a:pt x="124" y="314"/>
                    </a:lnTo>
                    <a:lnTo>
                      <a:pt x="124" y="316"/>
                    </a:lnTo>
                    <a:lnTo>
                      <a:pt x="119" y="316"/>
                    </a:lnTo>
                    <a:lnTo>
                      <a:pt x="116" y="316"/>
                    </a:lnTo>
                    <a:lnTo>
                      <a:pt x="114" y="319"/>
                    </a:lnTo>
                    <a:lnTo>
                      <a:pt x="114" y="321"/>
                    </a:lnTo>
                    <a:lnTo>
                      <a:pt x="112" y="321"/>
                    </a:lnTo>
                    <a:lnTo>
                      <a:pt x="107" y="323"/>
                    </a:lnTo>
                    <a:lnTo>
                      <a:pt x="105" y="326"/>
                    </a:lnTo>
                    <a:lnTo>
                      <a:pt x="109" y="326"/>
                    </a:lnTo>
                    <a:lnTo>
                      <a:pt x="107" y="326"/>
                    </a:lnTo>
                    <a:lnTo>
                      <a:pt x="107" y="328"/>
                    </a:lnTo>
                    <a:lnTo>
                      <a:pt x="107" y="331"/>
                    </a:lnTo>
                    <a:lnTo>
                      <a:pt x="109" y="331"/>
                    </a:lnTo>
                    <a:lnTo>
                      <a:pt x="107" y="333"/>
                    </a:lnTo>
                    <a:lnTo>
                      <a:pt x="107" y="335"/>
                    </a:lnTo>
                    <a:lnTo>
                      <a:pt x="116" y="335"/>
                    </a:lnTo>
                    <a:lnTo>
                      <a:pt x="112" y="343"/>
                    </a:lnTo>
                    <a:lnTo>
                      <a:pt x="116" y="340"/>
                    </a:lnTo>
                    <a:lnTo>
                      <a:pt x="119" y="340"/>
                    </a:lnTo>
                    <a:lnTo>
                      <a:pt x="116" y="340"/>
                    </a:lnTo>
                    <a:lnTo>
                      <a:pt x="114" y="343"/>
                    </a:lnTo>
                    <a:lnTo>
                      <a:pt x="114" y="345"/>
                    </a:lnTo>
                    <a:lnTo>
                      <a:pt x="112" y="347"/>
                    </a:lnTo>
                    <a:lnTo>
                      <a:pt x="112" y="352"/>
                    </a:lnTo>
                    <a:lnTo>
                      <a:pt x="114" y="352"/>
                    </a:lnTo>
                    <a:lnTo>
                      <a:pt x="121" y="352"/>
                    </a:lnTo>
                    <a:lnTo>
                      <a:pt x="116" y="359"/>
                    </a:lnTo>
                    <a:lnTo>
                      <a:pt x="126" y="357"/>
                    </a:lnTo>
                    <a:lnTo>
                      <a:pt x="121" y="362"/>
                    </a:lnTo>
                    <a:lnTo>
                      <a:pt x="124" y="366"/>
                    </a:lnTo>
                    <a:lnTo>
                      <a:pt x="128" y="366"/>
                    </a:lnTo>
                    <a:lnTo>
                      <a:pt x="126" y="366"/>
                    </a:lnTo>
                    <a:lnTo>
                      <a:pt x="126" y="369"/>
                    </a:lnTo>
                    <a:lnTo>
                      <a:pt x="128" y="371"/>
                    </a:lnTo>
                    <a:lnTo>
                      <a:pt x="133" y="371"/>
                    </a:lnTo>
                    <a:lnTo>
                      <a:pt x="128" y="376"/>
                    </a:lnTo>
                    <a:lnTo>
                      <a:pt x="135" y="376"/>
                    </a:lnTo>
                    <a:lnTo>
                      <a:pt x="133" y="381"/>
                    </a:lnTo>
                    <a:lnTo>
                      <a:pt x="145" y="378"/>
                    </a:lnTo>
                    <a:lnTo>
                      <a:pt x="147" y="381"/>
                    </a:lnTo>
                    <a:lnTo>
                      <a:pt x="150" y="381"/>
                    </a:lnTo>
                    <a:lnTo>
                      <a:pt x="152" y="378"/>
                    </a:lnTo>
                    <a:lnTo>
                      <a:pt x="162" y="374"/>
                    </a:lnTo>
                    <a:lnTo>
                      <a:pt x="164" y="371"/>
                    </a:lnTo>
                    <a:lnTo>
                      <a:pt x="164" y="374"/>
                    </a:lnTo>
                    <a:lnTo>
                      <a:pt x="162" y="376"/>
                    </a:lnTo>
                    <a:lnTo>
                      <a:pt x="169" y="378"/>
                    </a:lnTo>
                    <a:lnTo>
                      <a:pt x="171" y="376"/>
                    </a:lnTo>
                    <a:lnTo>
                      <a:pt x="173" y="376"/>
                    </a:lnTo>
                    <a:lnTo>
                      <a:pt x="169" y="378"/>
                    </a:lnTo>
                    <a:lnTo>
                      <a:pt x="164" y="381"/>
                    </a:lnTo>
                    <a:lnTo>
                      <a:pt x="162" y="383"/>
                    </a:lnTo>
                    <a:lnTo>
                      <a:pt x="162" y="386"/>
                    </a:lnTo>
                    <a:lnTo>
                      <a:pt x="169" y="386"/>
                    </a:lnTo>
                    <a:lnTo>
                      <a:pt x="173" y="386"/>
                    </a:lnTo>
                    <a:lnTo>
                      <a:pt x="176" y="386"/>
                    </a:lnTo>
                    <a:lnTo>
                      <a:pt x="173" y="386"/>
                    </a:lnTo>
                    <a:lnTo>
                      <a:pt x="171" y="388"/>
                    </a:lnTo>
                    <a:lnTo>
                      <a:pt x="169" y="390"/>
                    </a:lnTo>
                    <a:lnTo>
                      <a:pt x="169" y="393"/>
                    </a:lnTo>
                    <a:lnTo>
                      <a:pt x="169" y="395"/>
                    </a:lnTo>
                    <a:lnTo>
                      <a:pt x="176" y="395"/>
                    </a:lnTo>
                    <a:lnTo>
                      <a:pt x="178" y="393"/>
                    </a:lnTo>
                    <a:lnTo>
                      <a:pt x="178" y="395"/>
                    </a:lnTo>
                    <a:lnTo>
                      <a:pt x="183" y="398"/>
                    </a:lnTo>
                    <a:lnTo>
                      <a:pt x="188" y="398"/>
                    </a:lnTo>
                    <a:lnTo>
                      <a:pt x="192" y="395"/>
                    </a:lnTo>
                    <a:lnTo>
                      <a:pt x="195" y="393"/>
                    </a:lnTo>
                    <a:lnTo>
                      <a:pt x="192" y="390"/>
                    </a:lnTo>
                    <a:lnTo>
                      <a:pt x="192" y="388"/>
                    </a:lnTo>
                    <a:lnTo>
                      <a:pt x="197" y="388"/>
                    </a:lnTo>
                    <a:lnTo>
                      <a:pt x="200" y="386"/>
                    </a:lnTo>
                    <a:lnTo>
                      <a:pt x="200" y="378"/>
                    </a:lnTo>
                    <a:lnTo>
                      <a:pt x="202" y="381"/>
                    </a:lnTo>
                    <a:lnTo>
                      <a:pt x="207" y="381"/>
                    </a:lnTo>
                    <a:lnTo>
                      <a:pt x="207" y="376"/>
                    </a:lnTo>
                    <a:lnTo>
                      <a:pt x="207" y="374"/>
                    </a:lnTo>
                    <a:lnTo>
                      <a:pt x="207" y="371"/>
                    </a:lnTo>
                    <a:lnTo>
                      <a:pt x="207" y="374"/>
                    </a:lnTo>
                    <a:lnTo>
                      <a:pt x="209" y="376"/>
                    </a:lnTo>
                    <a:lnTo>
                      <a:pt x="212" y="376"/>
                    </a:lnTo>
                    <a:lnTo>
                      <a:pt x="214" y="374"/>
                    </a:lnTo>
                    <a:lnTo>
                      <a:pt x="214" y="371"/>
                    </a:lnTo>
                    <a:lnTo>
                      <a:pt x="209" y="366"/>
                    </a:lnTo>
                    <a:lnTo>
                      <a:pt x="216" y="366"/>
                    </a:lnTo>
                    <a:lnTo>
                      <a:pt x="216" y="364"/>
                    </a:lnTo>
                    <a:lnTo>
                      <a:pt x="214" y="362"/>
                    </a:lnTo>
                    <a:lnTo>
                      <a:pt x="223" y="362"/>
                    </a:lnTo>
                    <a:lnTo>
                      <a:pt x="219" y="357"/>
                    </a:lnTo>
                    <a:lnTo>
                      <a:pt x="223" y="355"/>
                    </a:lnTo>
                    <a:lnTo>
                      <a:pt x="219" y="352"/>
                    </a:lnTo>
                    <a:lnTo>
                      <a:pt x="216" y="350"/>
                    </a:lnTo>
                    <a:lnTo>
                      <a:pt x="219" y="350"/>
                    </a:lnTo>
                    <a:lnTo>
                      <a:pt x="221" y="350"/>
                    </a:lnTo>
                    <a:lnTo>
                      <a:pt x="216" y="343"/>
                    </a:lnTo>
                    <a:lnTo>
                      <a:pt x="221" y="347"/>
                    </a:lnTo>
                    <a:lnTo>
                      <a:pt x="223" y="347"/>
                    </a:lnTo>
                    <a:lnTo>
                      <a:pt x="228" y="343"/>
                    </a:lnTo>
                    <a:lnTo>
                      <a:pt x="235" y="343"/>
                    </a:lnTo>
                    <a:lnTo>
                      <a:pt x="235" y="340"/>
                    </a:lnTo>
                    <a:lnTo>
                      <a:pt x="233" y="338"/>
                    </a:lnTo>
                    <a:lnTo>
                      <a:pt x="238" y="338"/>
                    </a:lnTo>
                    <a:lnTo>
                      <a:pt x="242" y="331"/>
                    </a:lnTo>
                    <a:lnTo>
                      <a:pt x="245" y="331"/>
                    </a:lnTo>
                    <a:lnTo>
                      <a:pt x="252" y="331"/>
                    </a:lnTo>
                    <a:lnTo>
                      <a:pt x="252" y="326"/>
                    </a:lnTo>
                    <a:lnTo>
                      <a:pt x="257" y="331"/>
                    </a:lnTo>
                    <a:lnTo>
                      <a:pt x="259" y="326"/>
                    </a:lnTo>
                    <a:lnTo>
                      <a:pt x="259" y="319"/>
                    </a:lnTo>
                    <a:lnTo>
                      <a:pt x="252" y="316"/>
                    </a:lnTo>
                    <a:lnTo>
                      <a:pt x="257" y="316"/>
                    </a:lnTo>
                    <a:lnTo>
                      <a:pt x="264" y="311"/>
                    </a:lnTo>
                    <a:lnTo>
                      <a:pt x="266" y="307"/>
                    </a:lnTo>
                    <a:lnTo>
                      <a:pt x="259" y="304"/>
                    </a:lnTo>
                    <a:lnTo>
                      <a:pt x="264" y="299"/>
                    </a:lnTo>
                    <a:lnTo>
                      <a:pt x="278" y="299"/>
                    </a:lnTo>
                    <a:lnTo>
                      <a:pt x="280" y="297"/>
                    </a:lnTo>
                    <a:lnTo>
                      <a:pt x="280" y="292"/>
                    </a:lnTo>
                    <a:lnTo>
                      <a:pt x="288" y="290"/>
                    </a:lnTo>
                    <a:lnTo>
                      <a:pt x="292" y="290"/>
                    </a:lnTo>
                    <a:lnTo>
                      <a:pt x="295" y="292"/>
                    </a:lnTo>
                    <a:lnTo>
                      <a:pt x="302" y="292"/>
                    </a:lnTo>
                    <a:lnTo>
                      <a:pt x="311" y="283"/>
                    </a:lnTo>
                    <a:lnTo>
                      <a:pt x="311" y="280"/>
                    </a:lnTo>
                    <a:lnTo>
                      <a:pt x="314" y="280"/>
                    </a:lnTo>
                    <a:lnTo>
                      <a:pt x="316" y="278"/>
                    </a:lnTo>
                    <a:lnTo>
                      <a:pt x="319" y="278"/>
                    </a:lnTo>
                    <a:lnTo>
                      <a:pt x="319" y="280"/>
                    </a:lnTo>
                    <a:lnTo>
                      <a:pt x="316" y="283"/>
                    </a:lnTo>
                    <a:lnTo>
                      <a:pt x="314" y="285"/>
                    </a:lnTo>
                    <a:lnTo>
                      <a:pt x="311" y="290"/>
                    </a:lnTo>
                    <a:lnTo>
                      <a:pt x="319" y="290"/>
                    </a:lnTo>
                    <a:lnTo>
                      <a:pt x="319" y="285"/>
                    </a:lnTo>
                    <a:lnTo>
                      <a:pt x="323" y="285"/>
                    </a:lnTo>
                    <a:lnTo>
                      <a:pt x="326" y="283"/>
                    </a:lnTo>
                    <a:lnTo>
                      <a:pt x="328" y="283"/>
                    </a:lnTo>
                    <a:lnTo>
                      <a:pt x="328" y="285"/>
                    </a:lnTo>
                    <a:lnTo>
                      <a:pt x="333" y="285"/>
                    </a:lnTo>
                    <a:lnTo>
                      <a:pt x="335" y="285"/>
                    </a:lnTo>
                    <a:lnTo>
                      <a:pt x="342" y="283"/>
                    </a:lnTo>
                    <a:lnTo>
                      <a:pt x="347" y="278"/>
                    </a:lnTo>
                    <a:lnTo>
                      <a:pt x="349" y="275"/>
                    </a:lnTo>
                    <a:lnTo>
                      <a:pt x="359" y="275"/>
                    </a:lnTo>
                    <a:lnTo>
                      <a:pt x="366" y="275"/>
                    </a:lnTo>
                    <a:lnTo>
                      <a:pt x="371" y="271"/>
                    </a:lnTo>
                    <a:lnTo>
                      <a:pt x="373" y="268"/>
                    </a:lnTo>
                    <a:lnTo>
                      <a:pt x="376" y="266"/>
                    </a:lnTo>
                    <a:lnTo>
                      <a:pt x="383" y="259"/>
                    </a:lnTo>
                    <a:lnTo>
                      <a:pt x="385" y="256"/>
                    </a:lnTo>
                    <a:lnTo>
                      <a:pt x="390" y="254"/>
                    </a:lnTo>
                    <a:lnTo>
                      <a:pt x="399" y="252"/>
                    </a:lnTo>
                    <a:lnTo>
                      <a:pt x="402" y="252"/>
                    </a:lnTo>
                    <a:lnTo>
                      <a:pt x="404" y="249"/>
                    </a:lnTo>
                    <a:lnTo>
                      <a:pt x="407" y="249"/>
                    </a:lnTo>
                    <a:lnTo>
                      <a:pt x="407" y="247"/>
                    </a:lnTo>
                    <a:lnTo>
                      <a:pt x="407" y="244"/>
                    </a:lnTo>
                    <a:lnTo>
                      <a:pt x="407" y="240"/>
                    </a:lnTo>
                    <a:lnTo>
                      <a:pt x="407" y="235"/>
                    </a:lnTo>
                    <a:lnTo>
                      <a:pt x="414" y="242"/>
                    </a:lnTo>
                    <a:lnTo>
                      <a:pt x="416" y="244"/>
                    </a:lnTo>
                    <a:lnTo>
                      <a:pt x="418" y="244"/>
                    </a:lnTo>
                    <a:lnTo>
                      <a:pt x="437" y="244"/>
                    </a:lnTo>
                    <a:lnTo>
                      <a:pt x="447" y="242"/>
                    </a:lnTo>
                    <a:lnTo>
                      <a:pt x="454" y="240"/>
                    </a:lnTo>
                    <a:lnTo>
                      <a:pt x="459" y="240"/>
                    </a:lnTo>
                    <a:lnTo>
                      <a:pt x="468" y="237"/>
                    </a:lnTo>
                    <a:lnTo>
                      <a:pt x="480" y="235"/>
                    </a:lnTo>
                    <a:lnTo>
                      <a:pt x="487" y="235"/>
                    </a:lnTo>
                    <a:lnTo>
                      <a:pt x="492" y="230"/>
                    </a:lnTo>
                    <a:lnTo>
                      <a:pt x="499" y="230"/>
                    </a:lnTo>
                    <a:lnTo>
                      <a:pt x="502" y="228"/>
                    </a:lnTo>
                    <a:lnTo>
                      <a:pt x="509" y="228"/>
                    </a:lnTo>
                    <a:lnTo>
                      <a:pt x="516" y="220"/>
                    </a:lnTo>
                    <a:lnTo>
                      <a:pt x="518" y="220"/>
                    </a:lnTo>
                    <a:lnTo>
                      <a:pt x="518" y="218"/>
                    </a:lnTo>
                    <a:lnTo>
                      <a:pt x="523" y="218"/>
                    </a:lnTo>
                    <a:lnTo>
                      <a:pt x="525" y="216"/>
                    </a:lnTo>
                    <a:lnTo>
                      <a:pt x="528" y="216"/>
                    </a:lnTo>
                    <a:lnTo>
                      <a:pt x="542" y="213"/>
                    </a:lnTo>
                    <a:lnTo>
                      <a:pt x="552" y="211"/>
                    </a:lnTo>
                    <a:lnTo>
                      <a:pt x="552" y="206"/>
                    </a:lnTo>
                    <a:lnTo>
                      <a:pt x="549" y="206"/>
                    </a:lnTo>
                    <a:lnTo>
                      <a:pt x="547" y="208"/>
                    </a:lnTo>
                    <a:lnTo>
                      <a:pt x="537" y="208"/>
                    </a:lnTo>
                    <a:lnTo>
                      <a:pt x="530" y="206"/>
                    </a:lnTo>
                    <a:lnTo>
                      <a:pt x="525" y="206"/>
                    </a:lnTo>
                    <a:lnTo>
                      <a:pt x="521" y="204"/>
                    </a:lnTo>
                    <a:lnTo>
                      <a:pt x="509" y="204"/>
                    </a:lnTo>
                    <a:lnTo>
                      <a:pt x="499" y="206"/>
                    </a:lnTo>
                    <a:lnTo>
                      <a:pt x="490" y="206"/>
                    </a:lnTo>
                    <a:lnTo>
                      <a:pt x="487" y="211"/>
                    </a:lnTo>
                    <a:lnTo>
                      <a:pt x="471" y="211"/>
                    </a:lnTo>
                    <a:lnTo>
                      <a:pt x="485" y="206"/>
                    </a:lnTo>
                    <a:lnTo>
                      <a:pt x="494" y="204"/>
                    </a:lnTo>
                    <a:lnTo>
                      <a:pt x="499" y="204"/>
                    </a:lnTo>
                    <a:lnTo>
                      <a:pt x="502" y="201"/>
                    </a:lnTo>
                    <a:lnTo>
                      <a:pt x="506" y="201"/>
                    </a:lnTo>
                    <a:lnTo>
                      <a:pt x="511" y="199"/>
                    </a:lnTo>
                    <a:lnTo>
                      <a:pt x="514" y="199"/>
                    </a:lnTo>
                    <a:lnTo>
                      <a:pt x="516" y="199"/>
                    </a:lnTo>
                    <a:lnTo>
                      <a:pt x="514" y="196"/>
                    </a:lnTo>
                    <a:lnTo>
                      <a:pt x="509" y="194"/>
                    </a:lnTo>
                    <a:lnTo>
                      <a:pt x="506" y="194"/>
                    </a:lnTo>
                    <a:lnTo>
                      <a:pt x="504" y="194"/>
                    </a:lnTo>
                    <a:lnTo>
                      <a:pt x="497" y="196"/>
                    </a:lnTo>
                    <a:lnTo>
                      <a:pt x="483" y="201"/>
                    </a:lnTo>
                    <a:lnTo>
                      <a:pt x="468" y="201"/>
                    </a:lnTo>
                    <a:lnTo>
                      <a:pt x="478" y="196"/>
                    </a:lnTo>
                    <a:lnTo>
                      <a:pt x="485" y="192"/>
                    </a:lnTo>
                    <a:lnTo>
                      <a:pt x="487" y="192"/>
                    </a:lnTo>
                    <a:lnTo>
                      <a:pt x="492" y="194"/>
                    </a:lnTo>
                    <a:lnTo>
                      <a:pt x="497" y="194"/>
                    </a:lnTo>
                    <a:lnTo>
                      <a:pt x="499" y="192"/>
                    </a:lnTo>
                    <a:lnTo>
                      <a:pt x="504" y="192"/>
                    </a:lnTo>
                    <a:lnTo>
                      <a:pt x="506" y="189"/>
                    </a:lnTo>
                    <a:lnTo>
                      <a:pt x="516" y="189"/>
                    </a:lnTo>
                    <a:lnTo>
                      <a:pt x="518" y="189"/>
                    </a:lnTo>
                    <a:lnTo>
                      <a:pt x="516" y="187"/>
                    </a:lnTo>
                    <a:lnTo>
                      <a:pt x="514" y="187"/>
                    </a:lnTo>
                    <a:lnTo>
                      <a:pt x="509" y="184"/>
                    </a:lnTo>
                    <a:lnTo>
                      <a:pt x="485" y="184"/>
                    </a:lnTo>
                    <a:lnTo>
                      <a:pt x="492" y="182"/>
                    </a:lnTo>
                    <a:lnTo>
                      <a:pt x="485" y="180"/>
                    </a:lnTo>
                    <a:lnTo>
                      <a:pt x="485" y="175"/>
                    </a:lnTo>
                    <a:lnTo>
                      <a:pt x="487" y="175"/>
                    </a:lnTo>
                    <a:lnTo>
                      <a:pt x="490" y="177"/>
                    </a:lnTo>
                    <a:lnTo>
                      <a:pt x="492" y="180"/>
                    </a:lnTo>
                    <a:lnTo>
                      <a:pt x="497" y="182"/>
                    </a:lnTo>
                    <a:lnTo>
                      <a:pt x="504" y="182"/>
                    </a:lnTo>
                    <a:lnTo>
                      <a:pt x="506" y="184"/>
                    </a:lnTo>
                    <a:lnTo>
                      <a:pt x="509" y="184"/>
                    </a:lnTo>
                    <a:lnTo>
                      <a:pt x="514" y="184"/>
                    </a:lnTo>
                    <a:lnTo>
                      <a:pt x="518" y="184"/>
                    </a:lnTo>
                    <a:lnTo>
                      <a:pt x="518" y="187"/>
                    </a:lnTo>
                    <a:lnTo>
                      <a:pt x="523" y="187"/>
                    </a:lnTo>
                    <a:lnTo>
                      <a:pt x="523" y="184"/>
                    </a:lnTo>
                    <a:lnTo>
                      <a:pt x="528" y="184"/>
                    </a:lnTo>
                    <a:lnTo>
                      <a:pt x="528" y="187"/>
                    </a:lnTo>
                    <a:lnTo>
                      <a:pt x="528" y="189"/>
                    </a:lnTo>
                    <a:lnTo>
                      <a:pt x="528" y="192"/>
                    </a:lnTo>
                    <a:lnTo>
                      <a:pt x="528" y="196"/>
                    </a:lnTo>
                    <a:lnTo>
                      <a:pt x="528" y="199"/>
                    </a:lnTo>
                    <a:lnTo>
                      <a:pt x="533" y="199"/>
                    </a:lnTo>
                    <a:lnTo>
                      <a:pt x="537" y="201"/>
                    </a:lnTo>
                    <a:lnTo>
                      <a:pt x="542" y="201"/>
                    </a:lnTo>
                    <a:lnTo>
                      <a:pt x="547" y="201"/>
                    </a:lnTo>
                    <a:lnTo>
                      <a:pt x="549" y="201"/>
                    </a:lnTo>
                    <a:lnTo>
                      <a:pt x="552" y="199"/>
                    </a:lnTo>
                    <a:lnTo>
                      <a:pt x="554" y="199"/>
                    </a:lnTo>
                    <a:lnTo>
                      <a:pt x="554" y="204"/>
                    </a:lnTo>
                    <a:lnTo>
                      <a:pt x="559" y="204"/>
                    </a:lnTo>
                    <a:lnTo>
                      <a:pt x="561" y="201"/>
                    </a:lnTo>
                    <a:lnTo>
                      <a:pt x="563" y="201"/>
                    </a:lnTo>
                    <a:lnTo>
                      <a:pt x="563" y="194"/>
                    </a:lnTo>
                    <a:lnTo>
                      <a:pt x="561" y="194"/>
                    </a:lnTo>
                    <a:lnTo>
                      <a:pt x="563" y="189"/>
                    </a:lnTo>
                    <a:lnTo>
                      <a:pt x="563" y="187"/>
                    </a:lnTo>
                    <a:lnTo>
                      <a:pt x="559" y="187"/>
                    </a:lnTo>
                    <a:lnTo>
                      <a:pt x="556" y="182"/>
                    </a:lnTo>
                    <a:lnTo>
                      <a:pt x="552" y="180"/>
                    </a:lnTo>
                    <a:lnTo>
                      <a:pt x="552" y="175"/>
                    </a:lnTo>
                    <a:lnTo>
                      <a:pt x="533" y="170"/>
                    </a:lnTo>
                    <a:lnTo>
                      <a:pt x="523" y="170"/>
                    </a:lnTo>
                    <a:lnTo>
                      <a:pt x="521" y="170"/>
                    </a:lnTo>
                    <a:lnTo>
                      <a:pt x="528" y="168"/>
                    </a:lnTo>
                    <a:lnTo>
                      <a:pt x="530" y="165"/>
                    </a:lnTo>
                    <a:lnTo>
                      <a:pt x="528" y="165"/>
                    </a:lnTo>
                    <a:lnTo>
                      <a:pt x="525" y="163"/>
                    </a:lnTo>
                    <a:lnTo>
                      <a:pt x="514" y="163"/>
                    </a:lnTo>
                    <a:lnTo>
                      <a:pt x="509" y="161"/>
                    </a:lnTo>
                    <a:lnTo>
                      <a:pt x="504" y="161"/>
                    </a:lnTo>
                    <a:lnTo>
                      <a:pt x="509" y="156"/>
                    </a:lnTo>
                    <a:lnTo>
                      <a:pt x="523" y="156"/>
                    </a:lnTo>
                    <a:lnTo>
                      <a:pt x="528" y="153"/>
                    </a:lnTo>
                    <a:lnTo>
                      <a:pt x="533" y="153"/>
                    </a:lnTo>
                    <a:lnTo>
                      <a:pt x="547" y="156"/>
                    </a:lnTo>
                    <a:lnTo>
                      <a:pt x="552" y="156"/>
                    </a:lnTo>
                    <a:lnTo>
                      <a:pt x="554" y="156"/>
                    </a:lnTo>
                    <a:lnTo>
                      <a:pt x="556" y="158"/>
                    </a:lnTo>
                    <a:lnTo>
                      <a:pt x="559" y="161"/>
                    </a:lnTo>
                    <a:lnTo>
                      <a:pt x="563" y="165"/>
                    </a:lnTo>
                    <a:lnTo>
                      <a:pt x="568" y="165"/>
                    </a:lnTo>
                    <a:lnTo>
                      <a:pt x="568" y="163"/>
                    </a:lnTo>
                    <a:lnTo>
                      <a:pt x="568" y="158"/>
                    </a:lnTo>
                    <a:lnTo>
                      <a:pt x="559" y="156"/>
                    </a:lnTo>
                    <a:lnTo>
                      <a:pt x="552" y="153"/>
                    </a:lnTo>
                    <a:lnTo>
                      <a:pt x="540" y="151"/>
                    </a:lnTo>
                    <a:lnTo>
                      <a:pt x="544" y="149"/>
                    </a:lnTo>
                    <a:lnTo>
                      <a:pt x="547" y="149"/>
                    </a:lnTo>
                    <a:lnTo>
                      <a:pt x="552" y="151"/>
                    </a:lnTo>
                    <a:lnTo>
                      <a:pt x="556" y="151"/>
                    </a:lnTo>
                    <a:lnTo>
                      <a:pt x="559" y="153"/>
                    </a:lnTo>
                    <a:lnTo>
                      <a:pt x="578" y="153"/>
                    </a:lnTo>
                    <a:lnTo>
                      <a:pt x="594" y="151"/>
                    </a:lnTo>
                    <a:lnTo>
                      <a:pt x="594" y="144"/>
                    </a:lnTo>
                    <a:lnTo>
                      <a:pt x="582" y="141"/>
                    </a:lnTo>
                    <a:lnTo>
                      <a:pt x="578" y="146"/>
                    </a:lnTo>
                    <a:lnTo>
                      <a:pt x="573" y="141"/>
                    </a:lnTo>
                    <a:lnTo>
                      <a:pt x="573" y="139"/>
                    </a:lnTo>
                    <a:lnTo>
                      <a:pt x="587" y="139"/>
                    </a:lnTo>
                    <a:lnTo>
                      <a:pt x="599" y="137"/>
                    </a:lnTo>
                    <a:lnTo>
                      <a:pt x="602" y="139"/>
                    </a:lnTo>
                    <a:lnTo>
                      <a:pt x="609" y="139"/>
                    </a:lnTo>
                    <a:lnTo>
                      <a:pt x="616" y="134"/>
                    </a:lnTo>
                    <a:lnTo>
                      <a:pt x="618" y="134"/>
                    </a:lnTo>
                    <a:lnTo>
                      <a:pt x="618" y="132"/>
                    </a:lnTo>
                    <a:lnTo>
                      <a:pt x="599" y="132"/>
                    </a:lnTo>
                    <a:lnTo>
                      <a:pt x="599" y="129"/>
                    </a:lnTo>
                    <a:lnTo>
                      <a:pt x="597" y="129"/>
                    </a:lnTo>
                    <a:lnTo>
                      <a:pt x="597" y="127"/>
                    </a:lnTo>
                    <a:lnTo>
                      <a:pt x="592" y="127"/>
                    </a:lnTo>
                    <a:lnTo>
                      <a:pt x="587" y="125"/>
                    </a:lnTo>
                    <a:lnTo>
                      <a:pt x="592" y="125"/>
                    </a:lnTo>
                    <a:lnTo>
                      <a:pt x="594" y="125"/>
                    </a:lnTo>
                    <a:lnTo>
                      <a:pt x="594" y="122"/>
                    </a:lnTo>
                    <a:lnTo>
                      <a:pt x="592" y="120"/>
                    </a:lnTo>
                    <a:lnTo>
                      <a:pt x="590" y="120"/>
                    </a:lnTo>
                    <a:lnTo>
                      <a:pt x="582" y="117"/>
                    </a:lnTo>
                    <a:lnTo>
                      <a:pt x="592" y="117"/>
                    </a:lnTo>
                    <a:lnTo>
                      <a:pt x="594" y="120"/>
                    </a:lnTo>
                    <a:lnTo>
                      <a:pt x="597" y="120"/>
                    </a:lnTo>
                    <a:lnTo>
                      <a:pt x="602" y="120"/>
                    </a:lnTo>
                    <a:lnTo>
                      <a:pt x="606" y="120"/>
                    </a:lnTo>
                    <a:lnTo>
                      <a:pt x="609" y="125"/>
                    </a:lnTo>
                    <a:lnTo>
                      <a:pt x="613" y="125"/>
                    </a:lnTo>
                    <a:lnTo>
                      <a:pt x="618" y="120"/>
                    </a:lnTo>
                    <a:lnTo>
                      <a:pt x="618" y="113"/>
                    </a:lnTo>
                    <a:lnTo>
                      <a:pt x="616" y="110"/>
                    </a:lnTo>
                    <a:lnTo>
                      <a:pt x="613" y="110"/>
                    </a:lnTo>
                    <a:lnTo>
                      <a:pt x="611" y="108"/>
                    </a:lnTo>
                    <a:lnTo>
                      <a:pt x="609" y="105"/>
                    </a:lnTo>
                    <a:lnTo>
                      <a:pt x="592" y="103"/>
                    </a:lnTo>
                    <a:lnTo>
                      <a:pt x="587" y="101"/>
                    </a:lnTo>
                    <a:lnTo>
                      <a:pt x="587" y="98"/>
                    </a:lnTo>
                    <a:lnTo>
                      <a:pt x="590" y="98"/>
                    </a:lnTo>
                    <a:lnTo>
                      <a:pt x="599" y="98"/>
                    </a:lnTo>
                    <a:lnTo>
                      <a:pt x="611" y="96"/>
                    </a:lnTo>
                    <a:lnTo>
                      <a:pt x="618" y="96"/>
                    </a:lnTo>
                    <a:lnTo>
                      <a:pt x="623" y="98"/>
                    </a:lnTo>
                    <a:lnTo>
                      <a:pt x="632" y="98"/>
                    </a:lnTo>
                    <a:lnTo>
                      <a:pt x="637" y="96"/>
                    </a:lnTo>
                    <a:lnTo>
                      <a:pt x="642" y="93"/>
                    </a:lnTo>
                    <a:lnTo>
                      <a:pt x="642" y="91"/>
                    </a:lnTo>
                    <a:lnTo>
                      <a:pt x="642" y="89"/>
                    </a:lnTo>
                    <a:lnTo>
                      <a:pt x="632" y="89"/>
                    </a:lnTo>
                    <a:lnTo>
                      <a:pt x="625" y="86"/>
                    </a:lnTo>
                    <a:lnTo>
                      <a:pt x="616" y="86"/>
                    </a:lnTo>
                    <a:lnTo>
                      <a:pt x="613" y="84"/>
                    </a:lnTo>
                    <a:lnTo>
                      <a:pt x="623" y="84"/>
                    </a:lnTo>
                    <a:lnTo>
                      <a:pt x="621" y="82"/>
                    </a:lnTo>
                    <a:lnTo>
                      <a:pt x="618" y="79"/>
                    </a:lnTo>
                    <a:lnTo>
                      <a:pt x="618" y="77"/>
                    </a:lnTo>
                    <a:lnTo>
                      <a:pt x="613" y="77"/>
                    </a:lnTo>
                    <a:lnTo>
                      <a:pt x="611" y="79"/>
                    </a:lnTo>
                    <a:lnTo>
                      <a:pt x="611" y="84"/>
                    </a:lnTo>
                    <a:lnTo>
                      <a:pt x="606" y="84"/>
                    </a:lnTo>
                    <a:lnTo>
                      <a:pt x="604" y="84"/>
                    </a:lnTo>
                    <a:lnTo>
                      <a:pt x="602" y="82"/>
                    </a:lnTo>
                    <a:lnTo>
                      <a:pt x="599" y="79"/>
                    </a:lnTo>
                    <a:lnTo>
                      <a:pt x="602" y="79"/>
                    </a:lnTo>
                    <a:lnTo>
                      <a:pt x="606" y="77"/>
                    </a:lnTo>
                    <a:lnTo>
                      <a:pt x="609" y="74"/>
                    </a:lnTo>
                    <a:lnTo>
                      <a:pt x="613" y="70"/>
                    </a:lnTo>
                    <a:lnTo>
                      <a:pt x="616" y="67"/>
                    </a:lnTo>
                    <a:lnTo>
                      <a:pt x="618" y="65"/>
                    </a:lnTo>
                    <a:lnTo>
                      <a:pt x="621" y="65"/>
                    </a:lnTo>
                    <a:lnTo>
                      <a:pt x="623" y="65"/>
                    </a:lnTo>
                    <a:lnTo>
                      <a:pt x="628" y="65"/>
                    </a:lnTo>
                    <a:lnTo>
                      <a:pt x="630" y="65"/>
                    </a:lnTo>
                    <a:lnTo>
                      <a:pt x="632" y="62"/>
                    </a:lnTo>
                    <a:lnTo>
                      <a:pt x="637" y="60"/>
                    </a:lnTo>
                    <a:lnTo>
                      <a:pt x="635" y="55"/>
                    </a:lnTo>
                    <a:lnTo>
                      <a:pt x="637" y="53"/>
                    </a:lnTo>
                    <a:lnTo>
                      <a:pt x="640" y="50"/>
                    </a:lnTo>
                    <a:lnTo>
                      <a:pt x="642" y="50"/>
                    </a:lnTo>
                    <a:lnTo>
                      <a:pt x="647" y="50"/>
                    </a:lnTo>
                    <a:lnTo>
                      <a:pt x="649" y="50"/>
                    </a:lnTo>
                    <a:lnTo>
                      <a:pt x="651" y="53"/>
                    </a:lnTo>
                    <a:lnTo>
                      <a:pt x="656" y="53"/>
                    </a:lnTo>
                    <a:lnTo>
                      <a:pt x="659" y="50"/>
                    </a:lnTo>
                    <a:lnTo>
                      <a:pt x="661" y="50"/>
                    </a:lnTo>
                    <a:lnTo>
                      <a:pt x="663" y="48"/>
                    </a:lnTo>
                    <a:lnTo>
                      <a:pt x="644" y="48"/>
                    </a:lnTo>
                    <a:lnTo>
                      <a:pt x="642" y="48"/>
                    </a:lnTo>
                    <a:lnTo>
                      <a:pt x="637" y="48"/>
                    </a:lnTo>
                    <a:lnTo>
                      <a:pt x="635" y="50"/>
                    </a:lnTo>
                    <a:lnTo>
                      <a:pt x="630" y="50"/>
                    </a:lnTo>
                    <a:lnTo>
                      <a:pt x="630" y="48"/>
                    </a:lnTo>
                    <a:lnTo>
                      <a:pt x="640" y="43"/>
                    </a:lnTo>
                    <a:lnTo>
                      <a:pt x="670" y="43"/>
                    </a:lnTo>
                    <a:lnTo>
                      <a:pt x="675" y="43"/>
                    </a:lnTo>
                    <a:lnTo>
                      <a:pt x="678" y="43"/>
                    </a:lnTo>
                    <a:lnTo>
                      <a:pt x="682" y="41"/>
                    </a:lnTo>
                    <a:lnTo>
                      <a:pt x="678" y="41"/>
                    </a:lnTo>
                    <a:lnTo>
                      <a:pt x="673" y="38"/>
                    </a:lnTo>
                    <a:lnTo>
                      <a:pt x="656" y="38"/>
                    </a:lnTo>
                    <a:lnTo>
                      <a:pt x="651" y="41"/>
                    </a:lnTo>
                    <a:lnTo>
                      <a:pt x="635" y="41"/>
                    </a:lnTo>
                    <a:lnTo>
                      <a:pt x="635" y="38"/>
                    </a:lnTo>
                    <a:lnTo>
                      <a:pt x="637" y="38"/>
                    </a:lnTo>
                    <a:lnTo>
                      <a:pt x="642" y="38"/>
                    </a:lnTo>
                    <a:lnTo>
                      <a:pt x="687" y="38"/>
                    </a:lnTo>
                    <a:lnTo>
                      <a:pt x="692" y="36"/>
                    </a:lnTo>
                    <a:lnTo>
                      <a:pt x="699" y="34"/>
                    </a:lnTo>
                    <a:lnTo>
                      <a:pt x="701" y="31"/>
                    </a:lnTo>
                    <a:lnTo>
                      <a:pt x="718" y="31"/>
                    </a:lnTo>
                    <a:lnTo>
                      <a:pt x="723" y="29"/>
                    </a:lnTo>
                    <a:lnTo>
                      <a:pt x="725" y="29"/>
                    </a:lnTo>
                    <a:lnTo>
                      <a:pt x="730" y="29"/>
                    </a:lnTo>
                    <a:lnTo>
                      <a:pt x="732" y="26"/>
                    </a:lnTo>
                    <a:lnTo>
                      <a:pt x="730" y="24"/>
                    </a:lnTo>
                    <a:close/>
                    <a:moveTo>
                      <a:pt x="119" y="268"/>
                    </a:moveTo>
                    <a:lnTo>
                      <a:pt x="116" y="266"/>
                    </a:lnTo>
                    <a:lnTo>
                      <a:pt x="119" y="268"/>
                    </a:lnTo>
                    <a:close/>
                    <a:moveTo>
                      <a:pt x="128" y="223"/>
                    </a:moveTo>
                    <a:lnTo>
                      <a:pt x="135" y="223"/>
                    </a:lnTo>
                    <a:lnTo>
                      <a:pt x="138" y="220"/>
                    </a:lnTo>
                    <a:lnTo>
                      <a:pt x="145" y="220"/>
                    </a:lnTo>
                    <a:lnTo>
                      <a:pt x="147" y="220"/>
                    </a:lnTo>
                    <a:lnTo>
                      <a:pt x="147" y="216"/>
                    </a:lnTo>
                    <a:lnTo>
                      <a:pt x="150" y="216"/>
                    </a:lnTo>
                    <a:lnTo>
                      <a:pt x="147" y="213"/>
                    </a:lnTo>
                    <a:lnTo>
                      <a:pt x="145" y="211"/>
                    </a:lnTo>
                    <a:lnTo>
                      <a:pt x="143" y="211"/>
                    </a:lnTo>
                    <a:lnTo>
                      <a:pt x="138" y="211"/>
                    </a:lnTo>
                    <a:lnTo>
                      <a:pt x="135" y="206"/>
                    </a:lnTo>
                    <a:lnTo>
                      <a:pt x="119" y="206"/>
                    </a:lnTo>
                    <a:lnTo>
                      <a:pt x="119" y="213"/>
                    </a:lnTo>
                    <a:lnTo>
                      <a:pt x="116" y="216"/>
                    </a:lnTo>
                    <a:lnTo>
                      <a:pt x="114" y="216"/>
                    </a:lnTo>
                    <a:lnTo>
                      <a:pt x="114" y="218"/>
                    </a:lnTo>
                    <a:lnTo>
                      <a:pt x="116" y="220"/>
                    </a:lnTo>
                    <a:lnTo>
                      <a:pt x="119" y="220"/>
                    </a:lnTo>
                    <a:lnTo>
                      <a:pt x="119" y="225"/>
                    </a:lnTo>
                    <a:lnTo>
                      <a:pt x="128" y="223"/>
                    </a:lnTo>
                    <a:close/>
                  </a:path>
                </a:pathLst>
              </a:custGeom>
              <a:solidFill>
                <a:srgbClr val="9D90A0">
                  <a:lumMod val="40000"/>
                  <a:lumOff val="60000"/>
                </a:srgbClr>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49" name="Ecuador" descr="© INSCALE GmbH, 05.05.2010&#10;http://www.presentationload.com/">
                <a:extLst>
                  <a:ext uri="{FF2B5EF4-FFF2-40B4-BE49-F238E27FC236}">
                    <a16:creationId xmlns:a16="http://schemas.microsoft.com/office/drawing/2014/main" id="{1E1EE9C3-33CA-4B55-8B97-3652D970EAAE}"/>
                  </a:ext>
                </a:extLst>
              </p:cNvPr>
              <p:cNvSpPr>
                <a:spLocks noEditPoints="1"/>
              </p:cNvSpPr>
              <p:nvPr/>
            </p:nvSpPr>
            <p:spPr bwMode="gray">
              <a:xfrm>
                <a:off x="1930993" y="4496856"/>
                <a:ext cx="163791" cy="232182"/>
              </a:xfrm>
              <a:custGeom>
                <a:avLst/>
                <a:gdLst>
                  <a:gd name="T0" fmla="*/ 2147483647 w 414"/>
                  <a:gd name="T1" fmla="*/ 2147483647 h 528"/>
                  <a:gd name="T2" fmla="*/ 2147483647 w 414"/>
                  <a:gd name="T3" fmla="*/ 2147483647 h 528"/>
                  <a:gd name="T4" fmla="*/ 2147483647 w 414"/>
                  <a:gd name="T5" fmla="*/ 2147483647 h 528"/>
                  <a:gd name="T6" fmla="*/ 2147483647 w 414"/>
                  <a:gd name="T7" fmla="*/ 2147483647 h 528"/>
                  <a:gd name="T8" fmla="*/ 2147483647 w 414"/>
                  <a:gd name="T9" fmla="*/ 2147483647 h 528"/>
                  <a:gd name="T10" fmla="*/ 2147483647 w 414"/>
                  <a:gd name="T11" fmla="*/ 2147483647 h 528"/>
                  <a:gd name="T12" fmla="*/ 2147483647 w 414"/>
                  <a:gd name="T13" fmla="*/ 2147483647 h 528"/>
                  <a:gd name="T14" fmla="*/ 2147483647 w 414"/>
                  <a:gd name="T15" fmla="*/ 2147483647 h 528"/>
                  <a:gd name="T16" fmla="*/ 2147483647 w 414"/>
                  <a:gd name="T17" fmla="*/ 2147483647 h 528"/>
                  <a:gd name="T18" fmla="*/ 2147483647 w 414"/>
                  <a:gd name="T19" fmla="*/ 2147483647 h 528"/>
                  <a:gd name="T20" fmla="*/ 2147483647 w 414"/>
                  <a:gd name="T21" fmla="*/ 2147483647 h 528"/>
                  <a:gd name="T22" fmla="*/ 2147483647 w 414"/>
                  <a:gd name="T23" fmla="*/ 2147483647 h 528"/>
                  <a:gd name="T24" fmla="*/ 2147483647 w 414"/>
                  <a:gd name="T25" fmla="*/ 2147483647 h 528"/>
                  <a:gd name="T26" fmla="*/ 2147483647 w 414"/>
                  <a:gd name="T27" fmla="*/ 2147483647 h 528"/>
                  <a:gd name="T28" fmla="*/ 2147483647 w 414"/>
                  <a:gd name="T29" fmla="*/ 2147483647 h 528"/>
                  <a:gd name="T30" fmla="*/ 2147483647 w 414"/>
                  <a:gd name="T31" fmla="*/ 2147483647 h 528"/>
                  <a:gd name="T32" fmla="*/ 2147483647 w 414"/>
                  <a:gd name="T33" fmla="*/ 2147483647 h 528"/>
                  <a:gd name="T34" fmla="*/ 2147483647 w 414"/>
                  <a:gd name="T35" fmla="*/ 2147483647 h 528"/>
                  <a:gd name="T36" fmla="*/ 2147483647 w 414"/>
                  <a:gd name="T37" fmla="*/ 2147483647 h 528"/>
                  <a:gd name="T38" fmla="*/ 2147483647 w 414"/>
                  <a:gd name="T39" fmla="*/ 2147483647 h 528"/>
                  <a:gd name="T40" fmla="*/ 2147483647 w 414"/>
                  <a:gd name="T41" fmla="*/ 2147483647 h 528"/>
                  <a:gd name="T42" fmla="*/ 2147483647 w 414"/>
                  <a:gd name="T43" fmla="*/ 2147483647 h 528"/>
                  <a:gd name="T44" fmla="*/ 2147483647 w 414"/>
                  <a:gd name="T45" fmla="*/ 2147483647 h 528"/>
                  <a:gd name="T46" fmla="*/ 2147483647 w 414"/>
                  <a:gd name="T47" fmla="*/ 2147483647 h 528"/>
                  <a:gd name="T48" fmla="*/ 2147483647 w 414"/>
                  <a:gd name="T49" fmla="*/ 2147483647 h 528"/>
                  <a:gd name="T50" fmla="*/ 2147483647 w 414"/>
                  <a:gd name="T51" fmla="*/ 2147483647 h 528"/>
                  <a:gd name="T52" fmla="*/ 2147483647 w 414"/>
                  <a:gd name="T53" fmla="*/ 2147483647 h 528"/>
                  <a:gd name="T54" fmla="*/ 2147483647 w 414"/>
                  <a:gd name="T55" fmla="*/ 2147483647 h 528"/>
                  <a:gd name="T56" fmla="*/ 2147483647 w 414"/>
                  <a:gd name="T57" fmla="*/ 2147483647 h 528"/>
                  <a:gd name="T58" fmla="*/ 2147483647 w 414"/>
                  <a:gd name="T59" fmla="*/ 2147483647 h 528"/>
                  <a:gd name="T60" fmla="*/ 2147483647 w 414"/>
                  <a:gd name="T61" fmla="*/ 2147483647 h 528"/>
                  <a:gd name="T62" fmla="*/ 2147483647 w 414"/>
                  <a:gd name="T63" fmla="*/ 2147483647 h 528"/>
                  <a:gd name="T64" fmla="*/ 2147483647 w 414"/>
                  <a:gd name="T65" fmla="*/ 2147483647 h 528"/>
                  <a:gd name="T66" fmla="*/ 2147483647 w 414"/>
                  <a:gd name="T67" fmla="*/ 2147483647 h 528"/>
                  <a:gd name="T68" fmla="*/ 2147483647 w 414"/>
                  <a:gd name="T69" fmla="*/ 2147483647 h 528"/>
                  <a:gd name="T70" fmla="*/ 2147483647 w 414"/>
                  <a:gd name="T71" fmla="*/ 2147483647 h 528"/>
                  <a:gd name="T72" fmla="*/ 2147483647 w 414"/>
                  <a:gd name="T73" fmla="*/ 2147483647 h 528"/>
                  <a:gd name="T74" fmla="*/ 2147483647 w 414"/>
                  <a:gd name="T75" fmla="*/ 2147483647 h 528"/>
                  <a:gd name="T76" fmla="*/ 2147483647 w 414"/>
                  <a:gd name="T77" fmla="*/ 2147483647 h 528"/>
                  <a:gd name="T78" fmla="*/ 2147483647 w 414"/>
                  <a:gd name="T79" fmla="*/ 2147483647 h 528"/>
                  <a:gd name="T80" fmla="*/ 2147483647 w 414"/>
                  <a:gd name="T81" fmla="*/ 2147483647 h 528"/>
                  <a:gd name="T82" fmla="*/ 2147483647 w 414"/>
                  <a:gd name="T83" fmla="*/ 2147483647 h 528"/>
                  <a:gd name="T84" fmla="*/ 2147483647 w 414"/>
                  <a:gd name="T85" fmla="*/ 2147483647 h 528"/>
                  <a:gd name="T86" fmla="*/ 2147483647 w 414"/>
                  <a:gd name="T87" fmla="*/ 2147483647 h 528"/>
                  <a:gd name="T88" fmla="*/ 2147483647 w 414"/>
                  <a:gd name="T89" fmla="*/ 2147483647 h 52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14"/>
                  <a:gd name="T136" fmla="*/ 0 h 528"/>
                  <a:gd name="T137" fmla="*/ 414 w 414"/>
                  <a:gd name="T138" fmla="*/ 528 h 528"/>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14" h="528">
                    <a:moveTo>
                      <a:pt x="60" y="372"/>
                    </a:moveTo>
                    <a:lnTo>
                      <a:pt x="72" y="366"/>
                    </a:lnTo>
                    <a:lnTo>
                      <a:pt x="78" y="360"/>
                    </a:lnTo>
                    <a:lnTo>
                      <a:pt x="78" y="342"/>
                    </a:lnTo>
                    <a:lnTo>
                      <a:pt x="72" y="342"/>
                    </a:lnTo>
                    <a:lnTo>
                      <a:pt x="54" y="360"/>
                    </a:lnTo>
                    <a:lnTo>
                      <a:pt x="54" y="372"/>
                    </a:lnTo>
                    <a:lnTo>
                      <a:pt x="60" y="372"/>
                    </a:lnTo>
                    <a:close/>
                    <a:moveTo>
                      <a:pt x="414" y="174"/>
                    </a:moveTo>
                    <a:lnTo>
                      <a:pt x="390" y="156"/>
                    </a:lnTo>
                    <a:lnTo>
                      <a:pt x="396" y="156"/>
                    </a:lnTo>
                    <a:lnTo>
                      <a:pt x="396" y="150"/>
                    </a:lnTo>
                    <a:lnTo>
                      <a:pt x="402" y="150"/>
                    </a:lnTo>
                    <a:lnTo>
                      <a:pt x="402" y="126"/>
                    </a:lnTo>
                    <a:lnTo>
                      <a:pt x="372" y="126"/>
                    </a:lnTo>
                    <a:lnTo>
                      <a:pt x="360" y="114"/>
                    </a:lnTo>
                    <a:lnTo>
                      <a:pt x="360" y="108"/>
                    </a:lnTo>
                    <a:lnTo>
                      <a:pt x="354" y="102"/>
                    </a:lnTo>
                    <a:lnTo>
                      <a:pt x="354" y="96"/>
                    </a:lnTo>
                    <a:lnTo>
                      <a:pt x="342" y="90"/>
                    </a:lnTo>
                    <a:lnTo>
                      <a:pt x="336" y="90"/>
                    </a:lnTo>
                    <a:lnTo>
                      <a:pt x="330" y="96"/>
                    </a:lnTo>
                    <a:lnTo>
                      <a:pt x="330" y="108"/>
                    </a:lnTo>
                    <a:lnTo>
                      <a:pt x="306" y="108"/>
                    </a:lnTo>
                    <a:lnTo>
                      <a:pt x="300" y="102"/>
                    </a:lnTo>
                    <a:lnTo>
                      <a:pt x="288" y="96"/>
                    </a:lnTo>
                    <a:lnTo>
                      <a:pt x="282" y="102"/>
                    </a:lnTo>
                    <a:lnTo>
                      <a:pt x="270" y="102"/>
                    </a:lnTo>
                    <a:lnTo>
                      <a:pt x="258" y="96"/>
                    </a:lnTo>
                    <a:lnTo>
                      <a:pt x="252" y="90"/>
                    </a:lnTo>
                    <a:lnTo>
                      <a:pt x="252" y="84"/>
                    </a:lnTo>
                    <a:lnTo>
                      <a:pt x="246" y="72"/>
                    </a:lnTo>
                    <a:lnTo>
                      <a:pt x="240" y="66"/>
                    </a:lnTo>
                    <a:lnTo>
                      <a:pt x="228" y="60"/>
                    </a:lnTo>
                    <a:lnTo>
                      <a:pt x="210" y="60"/>
                    </a:lnTo>
                    <a:lnTo>
                      <a:pt x="204" y="48"/>
                    </a:lnTo>
                    <a:lnTo>
                      <a:pt x="168" y="30"/>
                    </a:lnTo>
                    <a:lnTo>
                      <a:pt x="162" y="18"/>
                    </a:lnTo>
                    <a:lnTo>
                      <a:pt x="150" y="12"/>
                    </a:lnTo>
                    <a:lnTo>
                      <a:pt x="144" y="0"/>
                    </a:lnTo>
                    <a:lnTo>
                      <a:pt x="144" y="12"/>
                    </a:lnTo>
                    <a:lnTo>
                      <a:pt x="150" y="18"/>
                    </a:lnTo>
                    <a:lnTo>
                      <a:pt x="150" y="36"/>
                    </a:lnTo>
                    <a:lnTo>
                      <a:pt x="144" y="42"/>
                    </a:lnTo>
                    <a:lnTo>
                      <a:pt x="120" y="54"/>
                    </a:lnTo>
                    <a:lnTo>
                      <a:pt x="102" y="54"/>
                    </a:lnTo>
                    <a:lnTo>
                      <a:pt x="96" y="42"/>
                    </a:lnTo>
                    <a:lnTo>
                      <a:pt x="90" y="42"/>
                    </a:lnTo>
                    <a:lnTo>
                      <a:pt x="78" y="54"/>
                    </a:lnTo>
                    <a:lnTo>
                      <a:pt x="66" y="60"/>
                    </a:lnTo>
                    <a:lnTo>
                      <a:pt x="60" y="72"/>
                    </a:lnTo>
                    <a:lnTo>
                      <a:pt x="60" y="84"/>
                    </a:lnTo>
                    <a:lnTo>
                      <a:pt x="66" y="90"/>
                    </a:lnTo>
                    <a:lnTo>
                      <a:pt x="72" y="102"/>
                    </a:lnTo>
                    <a:lnTo>
                      <a:pt x="72" y="120"/>
                    </a:lnTo>
                    <a:lnTo>
                      <a:pt x="66" y="126"/>
                    </a:lnTo>
                    <a:lnTo>
                      <a:pt x="54" y="132"/>
                    </a:lnTo>
                    <a:lnTo>
                      <a:pt x="42" y="144"/>
                    </a:lnTo>
                    <a:lnTo>
                      <a:pt x="42" y="162"/>
                    </a:lnTo>
                    <a:lnTo>
                      <a:pt x="48" y="168"/>
                    </a:lnTo>
                    <a:lnTo>
                      <a:pt x="54" y="180"/>
                    </a:lnTo>
                    <a:lnTo>
                      <a:pt x="36" y="180"/>
                    </a:lnTo>
                    <a:lnTo>
                      <a:pt x="36" y="198"/>
                    </a:lnTo>
                    <a:lnTo>
                      <a:pt x="0" y="216"/>
                    </a:lnTo>
                    <a:lnTo>
                      <a:pt x="24" y="228"/>
                    </a:lnTo>
                    <a:lnTo>
                      <a:pt x="12" y="258"/>
                    </a:lnTo>
                    <a:lnTo>
                      <a:pt x="24" y="270"/>
                    </a:lnTo>
                    <a:lnTo>
                      <a:pt x="24" y="282"/>
                    </a:lnTo>
                    <a:lnTo>
                      <a:pt x="6" y="300"/>
                    </a:lnTo>
                    <a:lnTo>
                      <a:pt x="0" y="300"/>
                    </a:lnTo>
                    <a:lnTo>
                      <a:pt x="12" y="312"/>
                    </a:lnTo>
                    <a:lnTo>
                      <a:pt x="6" y="318"/>
                    </a:lnTo>
                    <a:lnTo>
                      <a:pt x="6" y="324"/>
                    </a:lnTo>
                    <a:lnTo>
                      <a:pt x="18" y="336"/>
                    </a:lnTo>
                    <a:lnTo>
                      <a:pt x="30" y="342"/>
                    </a:lnTo>
                    <a:lnTo>
                      <a:pt x="60" y="342"/>
                    </a:lnTo>
                    <a:lnTo>
                      <a:pt x="72" y="330"/>
                    </a:lnTo>
                    <a:lnTo>
                      <a:pt x="72" y="324"/>
                    </a:lnTo>
                    <a:lnTo>
                      <a:pt x="96" y="330"/>
                    </a:lnTo>
                    <a:lnTo>
                      <a:pt x="102" y="342"/>
                    </a:lnTo>
                    <a:lnTo>
                      <a:pt x="102" y="348"/>
                    </a:lnTo>
                    <a:lnTo>
                      <a:pt x="96" y="366"/>
                    </a:lnTo>
                    <a:lnTo>
                      <a:pt x="90" y="372"/>
                    </a:lnTo>
                    <a:lnTo>
                      <a:pt x="90" y="384"/>
                    </a:lnTo>
                    <a:lnTo>
                      <a:pt x="84" y="396"/>
                    </a:lnTo>
                    <a:lnTo>
                      <a:pt x="72" y="402"/>
                    </a:lnTo>
                    <a:lnTo>
                      <a:pt x="66" y="402"/>
                    </a:lnTo>
                    <a:lnTo>
                      <a:pt x="60" y="408"/>
                    </a:lnTo>
                    <a:lnTo>
                      <a:pt x="54" y="408"/>
                    </a:lnTo>
                    <a:lnTo>
                      <a:pt x="60" y="408"/>
                    </a:lnTo>
                    <a:lnTo>
                      <a:pt x="72" y="414"/>
                    </a:lnTo>
                    <a:lnTo>
                      <a:pt x="78" y="414"/>
                    </a:lnTo>
                    <a:lnTo>
                      <a:pt x="78" y="420"/>
                    </a:lnTo>
                    <a:lnTo>
                      <a:pt x="72" y="426"/>
                    </a:lnTo>
                    <a:lnTo>
                      <a:pt x="66" y="438"/>
                    </a:lnTo>
                    <a:lnTo>
                      <a:pt x="54" y="444"/>
                    </a:lnTo>
                    <a:lnTo>
                      <a:pt x="48" y="456"/>
                    </a:lnTo>
                    <a:lnTo>
                      <a:pt x="42" y="462"/>
                    </a:lnTo>
                    <a:lnTo>
                      <a:pt x="54" y="474"/>
                    </a:lnTo>
                    <a:lnTo>
                      <a:pt x="42" y="486"/>
                    </a:lnTo>
                    <a:lnTo>
                      <a:pt x="48" y="492"/>
                    </a:lnTo>
                    <a:lnTo>
                      <a:pt x="54" y="492"/>
                    </a:lnTo>
                    <a:lnTo>
                      <a:pt x="66" y="486"/>
                    </a:lnTo>
                    <a:lnTo>
                      <a:pt x="78" y="474"/>
                    </a:lnTo>
                    <a:lnTo>
                      <a:pt x="90" y="486"/>
                    </a:lnTo>
                    <a:lnTo>
                      <a:pt x="120" y="486"/>
                    </a:lnTo>
                    <a:lnTo>
                      <a:pt x="120" y="492"/>
                    </a:lnTo>
                    <a:lnTo>
                      <a:pt x="126" y="498"/>
                    </a:lnTo>
                    <a:lnTo>
                      <a:pt x="126" y="516"/>
                    </a:lnTo>
                    <a:lnTo>
                      <a:pt x="132" y="528"/>
                    </a:lnTo>
                    <a:lnTo>
                      <a:pt x="150" y="528"/>
                    </a:lnTo>
                    <a:lnTo>
                      <a:pt x="150" y="522"/>
                    </a:lnTo>
                    <a:lnTo>
                      <a:pt x="156" y="516"/>
                    </a:lnTo>
                    <a:lnTo>
                      <a:pt x="156" y="510"/>
                    </a:lnTo>
                    <a:lnTo>
                      <a:pt x="162" y="504"/>
                    </a:lnTo>
                    <a:lnTo>
                      <a:pt x="180" y="504"/>
                    </a:lnTo>
                    <a:lnTo>
                      <a:pt x="180" y="474"/>
                    </a:lnTo>
                    <a:lnTo>
                      <a:pt x="186" y="462"/>
                    </a:lnTo>
                    <a:lnTo>
                      <a:pt x="186" y="438"/>
                    </a:lnTo>
                    <a:lnTo>
                      <a:pt x="198" y="426"/>
                    </a:lnTo>
                    <a:lnTo>
                      <a:pt x="198" y="408"/>
                    </a:lnTo>
                    <a:lnTo>
                      <a:pt x="210" y="402"/>
                    </a:lnTo>
                    <a:lnTo>
                      <a:pt x="210" y="396"/>
                    </a:lnTo>
                    <a:lnTo>
                      <a:pt x="228" y="378"/>
                    </a:lnTo>
                    <a:lnTo>
                      <a:pt x="246" y="366"/>
                    </a:lnTo>
                    <a:lnTo>
                      <a:pt x="264" y="360"/>
                    </a:lnTo>
                    <a:lnTo>
                      <a:pt x="324" y="330"/>
                    </a:lnTo>
                    <a:lnTo>
                      <a:pt x="342" y="318"/>
                    </a:lnTo>
                    <a:lnTo>
                      <a:pt x="354" y="300"/>
                    </a:lnTo>
                    <a:lnTo>
                      <a:pt x="366" y="288"/>
                    </a:lnTo>
                    <a:lnTo>
                      <a:pt x="372" y="276"/>
                    </a:lnTo>
                    <a:lnTo>
                      <a:pt x="384" y="264"/>
                    </a:lnTo>
                    <a:lnTo>
                      <a:pt x="390" y="252"/>
                    </a:lnTo>
                    <a:lnTo>
                      <a:pt x="402" y="210"/>
                    </a:lnTo>
                    <a:lnTo>
                      <a:pt x="414" y="204"/>
                    </a:lnTo>
                    <a:lnTo>
                      <a:pt x="414" y="174"/>
                    </a:lnTo>
                    <a:close/>
                  </a:path>
                </a:pathLst>
              </a:custGeom>
              <a:solidFill>
                <a:srgbClr val="9D90A0">
                  <a:lumMod val="40000"/>
                  <a:lumOff val="60000"/>
                </a:srgbClr>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50" name="Dominican Republic" descr="© INSCALE GmbH, 05.05.2010&#10;http://www.presentationload.com/">
                <a:extLst>
                  <a:ext uri="{FF2B5EF4-FFF2-40B4-BE49-F238E27FC236}">
                    <a16:creationId xmlns:a16="http://schemas.microsoft.com/office/drawing/2014/main" id="{15E58794-EA31-47DF-A85D-A6079C972949}"/>
                  </a:ext>
                </a:extLst>
              </p:cNvPr>
              <p:cNvSpPr>
                <a:spLocks/>
              </p:cNvSpPr>
              <p:nvPr/>
            </p:nvSpPr>
            <p:spPr bwMode="gray">
              <a:xfrm>
                <a:off x="2224256" y="3848826"/>
                <a:ext cx="98274" cy="74506"/>
              </a:xfrm>
              <a:custGeom>
                <a:avLst/>
                <a:gdLst>
                  <a:gd name="T0" fmla="*/ 2147483647 w 252"/>
                  <a:gd name="T1" fmla="*/ 2147483647 h 168"/>
                  <a:gd name="T2" fmla="*/ 2147483647 w 252"/>
                  <a:gd name="T3" fmla="*/ 2147483647 h 168"/>
                  <a:gd name="T4" fmla="*/ 2147483647 w 252"/>
                  <a:gd name="T5" fmla="*/ 2147483647 h 168"/>
                  <a:gd name="T6" fmla="*/ 2147483647 w 252"/>
                  <a:gd name="T7" fmla="*/ 2147483647 h 168"/>
                  <a:gd name="T8" fmla="*/ 2147483647 w 252"/>
                  <a:gd name="T9" fmla="*/ 2147483647 h 168"/>
                  <a:gd name="T10" fmla="*/ 2147483647 w 252"/>
                  <a:gd name="T11" fmla="*/ 2147483647 h 168"/>
                  <a:gd name="T12" fmla="*/ 2147483647 w 252"/>
                  <a:gd name="T13" fmla="*/ 2147483647 h 168"/>
                  <a:gd name="T14" fmla="*/ 2147483647 w 252"/>
                  <a:gd name="T15" fmla="*/ 2147483647 h 168"/>
                  <a:gd name="T16" fmla="*/ 2147483647 w 252"/>
                  <a:gd name="T17" fmla="*/ 2147483647 h 168"/>
                  <a:gd name="T18" fmla="*/ 2147483647 w 252"/>
                  <a:gd name="T19" fmla="*/ 2147483647 h 168"/>
                  <a:gd name="T20" fmla="*/ 2147483647 w 252"/>
                  <a:gd name="T21" fmla="*/ 0 h 168"/>
                  <a:gd name="T22" fmla="*/ 2147483647 w 252"/>
                  <a:gd name="T23" fmla="*/ 0 h 168"/>
                  <a:gd name="T24" fmla="*/ 2147483647 w 252"/>
                  <a:gd name="T25" fmla="*/ 2147483647 h 168"/>
                  <a:gd name="T26" fmla="*/ 2147483647 w 252"/>
                  <a:gd name="T27" fmla="*/ 2147483647 h 168"/>
                  <a:gd name="T28" fmla="*/ 2147483647 w 252"/>
                  <a:gd name="T29" fmla="*/ 2147483647 h 168"/>
                  <a:gd name="T30" fmla="*/ 2147483647 w 252"/>
                  <a:gd name="T31" fmla="*/ 2147483647 h 168"/>
                  <a:gd name="T32" fmla="*/ 2147483647 w 252"/>
                  <a:gd name="T33" fmla="*/ 2147483647 h 168"/>
                  <a:gd name="T34" fmla="*/ 2147483647 w 252"/>
                  <a:gd name="T35" fmla="*/ 2147483647 h 168"/>
                  <a:gd name="T36" fmla="*/ 2147483647 w 252"/>
                  <a:gd name="T37" fmla="*/ 2147483647 h 168"/>
                  <a:gd name="T38" fmla="*/ 2147483647 w 252"/>
                  <a:gd name="T39" fmla="*/ 2147483647 h 168"/>
                  <a:gd name="T40" fmla="*/ 2147483647 w 252"/>
                  <a:gd name="T41" fmla="*/ 2147483647 h 168"/>
                  <a:gd name="T42" fmla="*/ 0 w 252"/>
                  <a:gd name="T43" fmla="*/ 2147483647 h 168"/>
                  <a:gd name="T44" fmla="*/ 0 w 252"/>
                  <a:gd name="T45" fmla="*/ 2147483647 h 168"/>
                  <a:gd name="T46" fmla="*/ 2147483647 w 252"/>
                  <a:gd name="T47" fmla="*/ 2147483647 h 168"/>
                  <a:gd name="T48" fmla="*/ 0 w 252"/>
                  <a:gd name="T49" fmla="*/ 2147483647 h 168"/>
                  <a:gd name="T50" fmla="*/ 2147483647 w 252"/>
                  <a:gd name="T51" fmla="*/ 2147483647 h 168"/>
                  <a:gd name="T52" fmla="*/ 2147483647 w 252"/>
                  <a:gd name="T53" fmla="*/ 2147483647 h 168"/>
                  <a:gd name="T54" fmla="*/ 2147483647 w 252"/>
                  <a:gd name="T55" fmla="*/ 2147483647 h 168"/>
                  <a:gd name="T56" fmla="*/ 2147483647 w 252"/>
                  <a:gd name="T57" fmla="*/ 2147483647 h 168"/>
                  <a:gd name="T58" fmla="*/ 2147483647 w 252"/>
                  <a:gd name="T59" fmla="*/ 2147483647 h 168"/>
                  <a:gd name="T60" fmla="*/ 2147483647 w 252"/>
                  <a:gd name="T61" fmla="*/ 2147483647 h 168"/>
                  <a:gd name="T62" fmla="*/ 2147483647 w 252"/>
                  <a:gd name="T63" fmla="*/ 2147483647 h 168"/>
                  <a:gd name="T64" fmla="*/ 2147483647 w 252"/>
                  <a:gd name="T65" fmla="*/ 2147483647 h 168"/>
                  <a:gd name="T66" fmla="*/ 2147483647 w 252"/>
                  <a:gd name="T67" fmla="*/ 2147483647 h 16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52"/>
                  <a:gd name="T103" fmla="*/ 0 h 168"/>
                  <a:gd name="T104" fmla="*/ 252 w 252"/>
                  <a:gd name="T105" fmla="*/ 168 h 16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52" h="168">
                    <a:moveTo>
                      <a:pt x="246" y="102"/>
                    </a:moveTo>
                    <a:lnTo>
                      <a:pt x="234" y="96"/>
                    </a:lnTo>
                    <a:lnTo>
                      <a:pt x="216" y="78"/>
                    </a:lnTo>
                    <a:lnTo>
                      <a:pt x="192" y="66"/>
                    </a:lnTo>
                    <a:lnTo>
                      <a:pt x="156" y="54"/>
                    </a:lnTo>
                    <a:lnTo>
                      <a:pt x="132" y="42"/>
                    </a:lnTo>
                    <a:lnTo>
                      <a:pt x="126" y="30"/>
                    </a:lnTo>
                    <a:lnTo>
                      <a:pt x="108" y="12"/>
                    </a:lnTo>
                    <a:lnTo>
                      <a:pt x="96" y="6"/>
                    </a:lnTo>
                    <a:lnTo>
                      <a:pt x="84" y="6"/>
                    </a:lnTo>
                    <a:lnTo>
                      <a:pt x="60" y="0"/>
                    </a:lnTo>
                    <a:lnTo>
                      <a:pt x="30" y="0"/>
                    </a:lnTo>
                    <a:lnTo>
                      <a:pt x="24" y="6"/>
                    </a:lnTo>
                    <a:lnTo>
                      <a:pt x="18" y="6"/>
                    </a:lnTo>
                    <a:lnTo>
                      <a:pt x="30" y="42"/>
                    </a:lnTo>
                    <a:lnTo>
                      <a:pt x="30" y="54"/>
                    </a:lnTo>
                    <a:lnTo>
                      <a:pt x="24" y="60"/>
                    </a:lnTo>
                    <a:lnTo>
                      <a:pt x="18" y="72"/>
                    </a:lnTo>
                    <a:lnTo>
                      <a:pt x="12" y="78"/>
                    </a:lnTo>
                    <a:lnTo>
                      <a:pt x="12" y="90"/>
                    </a:lnTo>
                    <a:lnTo>
                      <a:pt x="6" y="102"/>
                    </a:lnTo>
                    <a:lnTo>
                      <a:pt x="0" y="108"/>
                    </a:lnTo>
                    <a:lnTo>
                      <a:pt x="0" y="114"/>
                    </a:lnTo>
                    <a:lnTo>
                      <a:pt x="12" y="144"/>
                    </a:lnTo>
                    <a:lnTo>
                      <a:pt x="0" y="126"/>
                    </a:lnTo>
                    <a:lnTo>
                      <a:pt x="30" y="168"/>
                    </a:lnTo>
                    <a:lnTo>
                      <a:pt x="78" y="132"/>
                    </a:lnTo>
                    <a:lnTo>
                      <a:pt x="174" y="132"/>
                    </a:lnTo>
                    <a:lnTo>
                      <a:pt x="186" y="138"/>
                    </a:lnTo>
                    <a:lnTo>
                      <a:pt x="240" y="138"/>
                    </a:lnTo>
                    <a:lnTo>
                      <a:pt x="246" y="132"/>
                    </a:lnTo>
                    <a:lnTo>
                      <a:pt x="252" y="120"/>
                    </a:lnTo>
                    <a:lnTo>
                      <a:pt x="252" y="114"/>
                    </a:lnTo>
                    <a:lnTo>
                      <a:pt x="246" y="102"/>
                    </a:lnTo>
                    <a:close/>
                  </a:path>
                </a:pathLst>
              </a:custGeom>
              <a:solidFill>
                <a:srgbClr val="9D90A0">
                  <a:lumMod val="40000"/>
                  <a:lumOff val="60000"/>
                </a:srgbClr>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51" name="Cuba" descr="© INSCALE GmbH, 05.05.2010&#10;http://www.presentationload.com/">
                <a:extLst>
                  <a:ext uri="{FF2B5EF4-FFF2-40B4-BE49-F238E27FC236}">
                    <a16:creationId xmlns:a16="http://schemas.microsoft.com/office/drawing/2014/main" id="{CF5F4D1E-5D99-41F4-88CD-30F349F46152}"/>
                  </a:ext>
                </a:extLst>
              </p:cNvPr>
              <p:cNvSpPr>
                <a:spLocks noEditPoints="1"/>
              </p:cNvSpPr>
              <p:nvPr/>
            </p:nvSpPr>
            <p:spPr bwMode="gray">
              <a:xfrm>
                <a:off x="1879515" y="3731003"/>
                <a:ext cx="291703" cy="117824"/>
              </a:xfrm>
              <a:custGeom>
                <a:avLst/>
                <a:gdLst>
                  <a:gd name="T0" fmla="*/ 2147483647 w 738"/>
                  <a:gd name="T1" fmla="*/ 2147483647 h 270"/>
                  <a:gd name="T2" fmla="*/ 2147483647 w 738"/>
                  <a:gd name="T3" fmla="*/ 2147483647 h 270"/>
                  <a:gd name="T4" fmla="*/ 2147483647 w 738"/>
                  <a:gd name="T5" fmla="*/ 2147483647 h 270"/>
                  <a:gd name="T6" fmla="*/ 2147483647 w 738"/>
                  <a:gd name="T7" fmla="*/ 2147483647 h 270"/>
                  <a:gd name="T8" fmla="*/ 2147483647 w 738"/>
                  <a:gd name="T9" fmla="*/ 2147483647 h 270"/>
                  <a:gd name="T10" fmla="*/ 2147483647 w 738"/>
                  <a:gd name="T11" fmla="*/ 2147483647 h 270"/>
                  <a:gd name="T12" fmla="*/ 2147483647 w 738"/>
                  <a:gd name="T13" fmla="*/ 2147483647 h 270"/>
                  <a:gd name="T14" fmla="*/ 2147483647 w 738"/>
                  <a:gd name="T15" fmla="*/ 2147483647 h 270"/>
                  <a:gd name="T16" fmla="*/ 2147483647 w 738"/>
                  <a:gd name="T17" fmla="*/ 2147483647 h 270"/>
                  <a:gd name="T18" fmla="*/ 2147483647 w 738"/>
                  <a:gd name="T19" fmla="*/ 2147483647 h 270"/>
                  <a:gd name="T20" fmla="*/ 2147483647 w 738"/>
                  <a:gd name="T21" fmla="*/ 2147483647 h 270"/>
                  <a:gd name="T22" fmla="*/ 2147483647 w 738"/>
                  <a:gd name="T23" fmla="*/ 2147483647 h 270"/>
                  <a:gd name="T24" fmla="*/ 2147483647 w 738"/>
                  <a:gd name="T25" fmla="*/ 2147483647 h 270"/>
                  <a:gd name="T26" fmla="*/ 2147483647 w 738"/>
                  <a:gd name="T27" fmla="*/ 2147483647 h 270"/>
                  <a:gd name="T28" fmla="*/ 2147483647 w 738"/>
                  <a:gd name="T29" fmla="*/ 2147483647 h 270"/>
                  <a:gd name="T30" fmla="*/ 2147483647 w 738"/>
                  <a:gd name="T31" fmla="*/ 2147483647 h 270"/>
                  <a:gd name="T32" fmla="*/ 2147483647 w 738"/>
                  <a:gd name="T33" fmla="*/ 2147483647 h 270"/>
                  <a:gd name="T34" fmla="*/ 2147483647 w 738"/>
                  <a:gd name="T35" fmla="*/ 2147483647 h 270"/>
                  <a:gd name="T36" fmla="*/ 2147483647 w 738"/>
                  <a:gd name="T37" fmla="*/ 0 h 270"/>
                  <a:gd name="T38" fmla="*/ 2147483647 w 738"/>
                  <a:gd name="T39" fmla="*/ 2147483647 h 270"/>
                  <a:gd name="T40" fmla="*/ 2147483647 w 738"/>
                  <a:gd name="T41" fmla="*/ 2147483647 h 270"/>
                  <a:gd name="T42" fmla="*/ 2147483647 w 738"/>
                  <a:gd name="T43" fmla="*/ 2147483647 h 270"/>
                  <a:gd name="T44" fmla="*/ 2147483647 w 738"/>
                  <a:gd name="T45" fmla="*/ 2147483647 h 270"/>
                  <a:gd name="T46" fmla="*/ 2147483647 w 738"/>
                  <a:gd name="T47" fmla="*/ 2147483647 h 270"/>
                  <a:gd name="T48" fmla="*/ 2147483647 w 738"/>
                  <a:gd name="T49" fmla="*/ 2147483647 h 270"/>
                  <a:gd name="T50" fmla="*/ 2147483647 w 738"/>
                  <a:gd name="T51" fmla="*/ 2147483647 h 270"/>
                  <a:gd name="T52" fmla="*/ 2147483647 w 738"/>
                  <a:gd name="T53" fmla="*/ 2147483647 h 270"/>
                  <a:gd name="T54" fmla="*/ 2147483647 w 738"/>
                  <a:gd name="T55" fmla="*/ 2147483647 h 270"/>
                  <a:gd name="T56" fmla="*/ 2147483647 w 738"/>
                  <a:gd name="T57" fmla="*/ 2147483647 h 270"/>
                  <a:gd name="T58" fmla="*/ 2147483647 w 738"/>
                  <a:gd name="T59" fmla="*/ 2147483647 h 270"/>
                  <a:gd name="T60" fmla="*/ 2147483647 w 738"/>
                  <a:gd name="T61" fmla="*/ 2147483647 h 270"/>
                  <a:gd name="T62" fmla="*/ 2147483647 w 738"/>
                  <a:gd name="T63" fmla="*/ 2147483647 h 270"/>
                  <a:gd name="T64" fmla="*/ 2147483647 w 738"/>
                  <a:gd name="T65" fmla="*/ 2147483647 h 270"/>
                  <a:gd name="T66" fmla="*/ 2147483647 w 738"/>
                  <a:gd name="T67" fmla="*/ 2147483647 h 270"/>
                  <a:gd name="T68" fmla="*/ 2147483647 w 738"/>
                  <a:gd name="T69" fmla="*/ 2147483647 h 270"/>
                  <a:gd name="T70" fmla="*/ 2147483647 w 738"/>
                  <a:gd name="T71" fmla="*/ 2147483647 h 270"/>
                  <a:gd name="T72" fmla="*/ 2147483647 w 738"/>
                  <a:gd name="T73" fmla="*/ 2147483647 h 270"/>
                  <a:gd name="T74" fmla="*/ 2147483647 w 738"/>
                  <a:gd name="T75" fmla="*/ 2147483647 h 270"/>
                  <a:gd name="T76" fmla="*/ 2147483647 w 738"/>
                  <a:gd name="T77" fmla="*/ 2147483647 h 270"/>
                  <a:gd name="T78" fmla="*/ 2147483647 w 738"/>
                  <a:gd name="T79" fmla="*/ 2147483647 h 270"/>
                  <a:gd name="T80" fmla="*/ 2147483647 w 738"/>
                  <a:gd name="T81" fmla="*/ 2147483647 h 270"/>
                  <a:gd name="T82" fmla="*/ 2147483647 w 738"/>
                  <a:gd name="T83" fmla="*/ 2147483647 h 270"/>
                  <a:gd name="T84" fmla="*/ 2147483647 w 738"/>
                  <a:gd name="T85" fmla="*/ 2147483647 h 270"/>
                  <a:gd name="T86" fmla="*/ 2147483647 w 738"/>
                  <a:gd name="T87" fmla="*/ 2147483647 h 270"/>
                  <a:gd name="T88" fmla="*/ 2147483647 w 738"/>
                  <a:gd name="T89" fmla="*/ 2147483647 h 270"/>
                  <a:gd name="T90" fmla="*/ 2147483647 w 738"/>
                  <a:gd name="T91" fmla="*/ 2147483647 h 270"/>
                  <a:gd name="T92" fmla="*/ 2147483647 w 738"/>
                  <a:gd name="T93" fmla="*/ 2147483647 h 270"/>
                  <a:gd name="T94" fmla="*/ 2147483647 w 738"/>
                  <a:gd name="T95" fmla="*/ 2147483647 h 270"/>
                  <a:gd name="T96" fmla="*/ 2147483647 w 738"/>
                  <a:gd name="T97" fmla="*/ 2147483647 h 270"/>
                  <a:gd name="T98" fmla="*/ 2147483647 w 738"/>
                  <a:gd name="T99" fmla="*/ 2147483647 h 270"/>
                  <a:gd name="T100" fmla="*/ 2147483647 w 738"/>
                  <a:gd name="T101" fmla="*/ 2147483647 h 270"/>
                  <a:gd name="T102" fmla="*/ 2147483647 w 738"/>
                  <a:gd name="T103" fmla="*/ 2147483647 h 270"/>
                  <a:gd name="T104" fmla="*/ 2147483647 w 738"/>
                  <a:gd name="T105" fmla="*/ 2147483647 h 270"/>
                  <a:gd name="T106" fmla="*/ 2147483647 w 738"/>
                  <a:gd name="T107" fmla="*/ 2147483647 h 270"/>
                  <a:gd name="T108" fmla="*/ 2147483647 w 738"/>
                  <a:gd name="T109" fmla="*/ 2147483647 h 270"/>
                  <a:gd name="T110" fmla="*/ 2147483647 w 738"/>
                  <a:gd name="T111" fmla="*/ 2147483647 h 270"/>
                  <a:gd name="T112" fmla="*/ 2147483647 w 738"/>
                  <a:gd name="T113" fmla="*/ 2147483647 h 270"/>
                  <a:gd name="T114" fmla="*/ 2147483647 w 738"/>
                  <a:gd name="T115" fmla="*/ 2147483647 h 27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738"/>
                  <a:gd name="T175" fmla="*/ 0 h 270"/>
                  <a:gd name="T176" fmla="*/ 738 w 738"/>
                  <a:gd name="T177" fmla="*/ 270 h 27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738" h="270">
                    <a:moveTo>
                      <a:pt x="708" y="228"/>
                    </a:moveTo>
                    <a:lnTo>
                      <a:pt x="690" y="222"/>
                    </a:lnTo>
                    <a:lnTo>
                      <a:pt x="666" y="222"/>
                    </a:lnTo>
                    <a:lnTo>
                      <a:pt x="666" y="204"/>
                    </a:lnTo>
                    <a:lnTo>
                      <a:pt x="660" y="198"/>
                    </a:lnTo>
                    <a:lnTo>
                      <a:pt x="648" y="192"/>
                    </a:lnTo>
                    <a:lnTo>
                      <a:pt x="600" y="192"/>
                    </a:lnTo>
                    <a:lnTo>
                      <a:pt x="624" y="168"/>
                    </a:lnTo>
                    <a:lnTo>
                      <a:pt x="612" y="168"/>
                    </a:lnTo>
                    <a:lnTo>
                      <a:pt x="600" y="162"/>
                    </a:lnTo>
                    <a:lnTo>
                      <a:pt x="558" y="162"/>
                    </a:lnTo>
                    <a:lnTo>
                      <a:pt x="534" y="150"/>
                    </a:lnTo>
                    <a:lnTo>
                      <a:pt x="528" y="144"/>
                    </a:lnTo>
                    <a:lnTo>
                      <a:pt x="522" y="144"/>
                    </a:lnTo>
                    <a:lnTo>
                      <a:pt x="528" y="138"/>
                    </a:lnTo>
                    <a:lnTo>
                      <a:pt x="528" y="132"/>
                    </a:lnTo>
                    <a:lnTo>
                      <a:pt x="534" y="126"/>
                    </a:lnTo>
                    <a:lnTo>
                      <a:pt x="534" y="120"/>
                    </a:lnTo>
                    <a:lnTo>
                      <a:pt x="522" y="120"/>
                    </a:lnTo>
                    <a:lnTo>
                      <a:pt x="510" y="114"/>
                    </a:lnTo>
                    <a:lnTo>
                      <a:pt x="504" y="114"/>
                    </a:lnTo>
                    <a:lnTo>
                      <a:pt x="474" y="84"/>
                    </a:lnTo>
                    <a:lnTo>
                      <a:pt x="462" y="78"/>
                    </a:lnTo>
                    <a:lnTo>
                      <a:pt x="450" y="66"/>
                    </a:lnTo>
                    <a:lnTo>
                      <a:pt x="432" y="66"/>
                    </a:lnTo>
                    <a:lnTo>
                      <a:pt x="432" y="84"/>
                    </a:lnTo>
                    <a:lnTo>
                      <a:pt x="444" y="96"/>
                    </a:lnTo>
                    <a:lnTo>
                      <a:pt x="450" y="96"/>
                    </a:lnTo>
                    <a:lnTo>
                      <a:pt x="378" y="60"/>
                    </a:lnTo>
                    <a:lnTo>
                      <a:pt x="372" y="54"/>
                    </a:lnTo>
                    <a:lnTo>
                      <a:pt x="360" y="48"/>
                    </a:lnTo>
                    <a:lnTo>
                      <a:pt x="354" y="36"/>
                    </a:lnTo>
                    <a:lnTo>
                      <a:pt x="342" y="30"/>
                    </a:lnTo>
                    <a:lnTo>
                      <a:pt x="330" y="18"/>
                    </a:lnTo>
                    <a:lnTo>
                      <a:pt x="270" y="18"/>
                    </a:lnTo>
                    <a:lnTo>
                      <a:pt x="258" y="12"/>
                    </a:lnTo>
                    <a:lnTo>
                      <a:pt x="228" y="6"/>
                    </a:lnTo>
                    <a:lnTo>
                      <a:pt x="174" y="0"/>
                    </a:lnTo>
                    <a:lnTo>
                      <a:pt x="126" y="6"/>
                    </a:lnTo>
                    <a:lnTo>
                      <a:pt x="96" y="18"/>
                    </a:lnTo>
                    <a:lnTo>
                      <a:pt x="72" y="42"/>
                    </a:lnTo>
                    <a:lnTo>
                      <a:pt x="60" y="48"/>
                    </a:lnTo>
                    <a:lnTo>
                      <a:pt x="42" y="60"/>
                    </a:lnTo>
                    <a:lnTo>
                      <a:pt x="24" y="66"/>
                    </a:lnTo>
                    <a:lnTo>
                      <a:pt x="12" y="72"/>
                    </a:lnTo>
                    <a:lnTo>
                      <a:pt x="6" y="78"/>
                    </a:lnTo>
                    <a:lnTo>
                      <a:pt x="0" y="78"/>
                    </a:lnTo>
                    <a:lnTo>
                      <a:pt x="72" y="72"/>
                    </a:lnTo>
                    <a:lnTo>
                      <a:pt x="72" y="60"/>
                    </a:lnTo>
                    <a:lnTo>
                      <a:pt x="150" y="54"/>
                    </a:lnTo>
                    <a:lnTo>
                      <a:pt x="174" y="42"/>
                    </a:lnTo>
                    <a:lnTo>
                      <a:pt x="198" y="42"/>
                    </a:lnTo>
                    <a:lnTo>
                      <a:pt x="222" y="54"/>
                    </a:lnTo>
                    <a:lnTo>
                      <a:pt x="222" y="60"/>
                    </a:lnTo>
                    <a:lnTo>
                      <a:pt x="216" y="60"/>
                    </a:lnTo>
                    <a:lnTo>
                      <a:pt x="210" y="66"/>
                    </a:lnTo>
                    <a:lnTo>
                      <a:pt x="198" y="66"/>
                    </a:lnTo>
                    <a:lnTo>
                      <a:pt x="192" y="72"/>
                    </a:lnTo>
                    <a:lnTo>
                      <a:pt x="186" y="72"/>
                    </a:lnTo>
                    <a:lnTo>
                      <a:pt x="204" y="78"/>
                    </a:lnTo>
                    <a:lnTo>
                      <a:pt x="210" y="78"/>
                    </a:lnTo>
                    <a:lnTo>
                      <a:pt x="216" y="84"/>
                    </a:lnTo>
                    <a:lnTo>
                      <a:pt x="228" y="90"/>
                    </a:lnTo>
                    <a:lnTo>
                      <a:pt x="246" y="96"/>
                    </a:lnTo>
                    <a:lnTo>
                      <a:pt x="258" y="102"/>
                    </a:lnTo>
                    <a:lnTo>
                      <a:pt x="276" y="102"/>
                    </a:lnTo>
                    <a:lnTo>
                      <a:pt x="282" y="96"/>
                    </a:lnTo>
                    <a:lnTo>
                      <a:pt x="282" y="90"/>
                    </a:lnTo>
                    <a:lnTo>
                      <a:pt x="294" y="96"/>
                    </a:lnTo>
                    <a:lnTo>
                      <a:pt x="300" y="102"/>
                    </a:lnTo>
                    <a:lnTo>
                      <a:pt x="318" y="114"/>
                    </a:lnTo>
                    <a:lnTo>
                      <a:pt x="342" y="126"/>
                    </a:lnTo>
                    <a:lnTo>
                      <a:pt x="372" y="126"/>
                    </a:lnTo>
                    <a:lnTo>
                      <a:pt x="390" y="120"/>
                    </a:lnTo>
                    <a:lnTo>
                      <a:pt x="402" y="120"/>
                    </a:lnTo>
                    <a:lnTo>
                      <a:pt x="390" y="144"/>
                    </a:lnTo>
                    <a:lnTo>
                      <a:pt x="450" y="168"/>
                    </a:lnTo>
                    <a:lnTo>
                      <a:pt x="474" y="204"/>
                    </a:lnTo>
                    <a:lnTo>
                      <a:pt x="480" y="210"/>
                    </a:lnTo>
                    <a:lnTo>
                      <a:pt x="492" y="216"/>
                    </a:lnTo>
                    <a:lnTo>
                      <a:pt x="498" y="222"/>
                    </a:lnTo>
                    <a:lnTo>
                      <a:pt x="498" y="228"/>
                    </a:lnTo>
                    <a:lnTo>
                      <a:pt x="474" y="252"/>
                    </a:lnTo>
                    <a:lnTo>
                      <a:pt x="474" y="258"/>
                    </a:lnTo>
                    <a:lnTo>
                      <a:pt x="480" y="264"/>
                    </a:lnTo>
                    <a:lnTo>
                      <a:pt x="492" y="258"/>
                    </a:lnTo>
                    <a:lnTo>
                      <a:pt x="504" y="258"/>
                    </a:lnTo>
                    <a:lnTo>
                      <a:pt x="528" y="246"/>
                    </a:lnTo>
                    <a:lnTo>
                      <a:pt x="558" y="246"/>
                    </a:lnTo>
                    <a:lnTo>
                      <a:pt x="558" y="252"/>
                    </a:lnTo>
                    <a:lnTo>
                      <a:pt x="552" y="252"/>
                    </a:lnTo>
                    <a:lnTo>
                      <a:pt x="546" y="258"/>
                    </a:lnTo>
                    <a:lnTo>
                      <a:pt x="546" y="264"/>
                    </a:lnTo>
                    <a:lnTo>
                      <a:pt x="558" y="264"/>
                    </a:lnTo>
                    <a:lnTo>
                      <a:pt x="564" y="270"/>
                    </a:lnTo>
                    <a:lnTo>
                      <a:pt x="612" y="270"/>
                    </a:lnTo>
                    <a:lnTo>
                      <a:pt x="636" y="264"/>
                    </a:lnTo>
                    <a:lnTo>
                      <a:pt x="684" y="258"/>
                    </a:lnTo>
                    <a:lnTo>
                      <a:pt x="720" y="252"/>
                    </a:lnTo>
                    <a:lnTo>
                      <a:pt x="738" y="246"/>
                    </a:lnTo>
                    <a:lnTo>
                      <a:pt x="738" y="240"/>
                    </a:lnTo>
                    <a:lnTo>
                      <a:pt x="732" y="234"/>
                    </a:lnTo>
                    <a:lnTo>
                      <a:pt x="720" y="228"/>
                    </a:lnTo>
                    <a:lnTo>
                      <a:pt x="708" y="228"/>
                    </a:lnTo>
                    <a:close/>
                    <a:moveTo>
                      <a:pt x="114" y="126"/>
                    </a:moveTo>
                    <a:lnTo>
                      <a:pt x="114" y="132"/>
                    </a:lnTo>
                    <a:lnTo>
                      <a:pt x="120" y="138"/>
                    </a:lnTo>
                    <a:lnTo>
                      <a:pt x="132" y="144"/>
                    </a:lnTo>
                    <a:lnTo>
                      <a:pt x="144" y="138"/>
                    </a:lnTo>
                    <a:lnTo>
                      <a:pt x="150" y="138"/>
                    </a:lnTo>
                    <a:lnTo>
                      <a:pt x="156" y="126"/>
                    </a:lnTo>
                    <a:lnTo>
                      <a:pt x="156" y="120"/>
                    </a:lnTo>
                    <a:lnTo>
                      <a:pt x="150" y="114"/>
                    </a:lnTo>
                    <a:lnTo>
                      <a:pt x="138" y="114"/>
                    </a:lnTo>
                    <a:lnTo>
                      <a:pt x="126" y="120"/>
                    </a:lnTo>
                    <a:lnTo>
                      <a:pt x="120" y="120"/>
                    </a:lnTo>
                    <a:lnTo>
                      <a:pt x="114" y="126"/>
                    </a:lnTo>
                    <a:close/>
                  </a:path>
                </a:pathLst>
              </a:custGeom>
              <a:solidFill>
                <a:srgbClr val="9D90A0">
                  <a:lumMod val="40000"/>
                  <a:lumOff val="60000"/>
                </a:srgbClr>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52" name="Colombia" descr="© INSCALE GmbH, 05.05.2010&#10;http://www.presentationload.com/">
                <a:extLst>
                  <a:ext uri="{FF2B5EF4-FFF2-40B4-BE49-F238E27FC236}">
                    <a16:creationId xmlns:a16="http://schemas.microsoft.com/office/drawing/2014/main" id="{ADCEC9B3-D770-4BFA-8950-CDE0F77D8426}"/>
                  </a:ext>
                </a:extLst>
              </p:cNvPr>
              <p:cNvSpPr>
                <a:spLocks/>
              </p:cNvSpPr>
              <p:nvPr/>
            </p:nvSpPr>
            <p:spPr bwMode="gray">
              <a:xfrm>
                <a:off x="1988709" y="4112196"/>
                <a:ext cx="343180" cy="590851"/>
              </a:xfrm>
              <a:custGeom>
                <a:avLst/>
                <a:gdLst>
                  <a:gd name="T0" fmla="*/ 2147483647 w 870"/>
                  <a:gd name="T1" fmla="*/ 2147483647 h 1344"/>
                  <a:gd name="T2" fmla="*/ 2147483647 w 870"/>
                  <a:gd name="T3" fmla="*/ 2147483647 h 1344"/>
                  <a:gd name="T4" fmla="*/ 2147483647 w 870"/>
                  <a:gd name="T5" fmla="*/ 2147483647 h 1344"/>
                  <a:gd name="T6" fmla="*/ 2147483647 w 870"/>
                  <a:gd name="T7" fmla="*/ 2147483647 h 1344"/>
                  <a:gd name="T8" fmla="*/ 2147483647 w 870"/>
                  <a:gd name="T9" fmla="*/ 2147483647 h 1344"/>
                  <a:gd name="T10" fmla="*/ 2147483647 w 870"/>
                  <a:gd name="T11" fmla="*/ 2147483647 h 1344"/>
                  <a:gd name="T12" fmla="*/ 2147483647 w 870"/>
                  <a:gd name="T13" fmla="*/ 2147483647 h 1344"/>
                  <a:gd name="T14" fmla="*/ 2147483647 w 870"/>
                  <a:gd name="T15" fmla="*/ 2147483647 h 1344"/>
                  <a:gd name="T16" fmla="*/ 2147483647 w 870"/>
                  <a:gd name="T17" fmla="*/ 2147483647 h 1344"/>
                  <a:gd name="T18" fmla="*/ 2147483647 w 870"/>
                  <a:gd name="T19" fmla="*/ 2147483647 h 1344"/>
                  <a:gd name="T20" fmla="*/ 2147483647 w 870"/>
                  <a:gd name="T21" fmla="*/ 2147483647 h 1344"/>
                  <a:gd name="T22" fmla="*/ 2147483647 w 870"/>
                  <a:gd name="T23" fmla="*/ 2147483647 h 1344"/>
                  <a:gd name="T24" fmla="*/ 2147483647 w 870"/>
                  <a:gd name="T25" fmla="*/ 2147483647 h 1344"/>
                  <a:gd name="T26" fmla="*/ 2147483647 w 870"/>
                  <a:gd name="T27" fmla="*/ 2147483647 h 1344"/>
                  <a:gd name="T28" fmla="*/ 2147483647 w 870"/>
                  <a:gd name="T29" fmla="*/ 2147483647 h 1344"/>
                  <a:gd name="T30" fmla="*/ 2147483647 w 870"/>
                  <a:gd name="T31" fmla="*/ 2147483647 h 1344"/>
                  <a:gd name="T32" fmla="*/ 2147483647 w 870"/>
                  <a:gd name="T33" fmla="*/ 2147483647 h 1344"/>
                  <a:gd name="T34" fmla="*/ 2147483647 w 870"/>
                  <a:gd name="T35" fmla="*/ 2147483647 h 1344"/>
                  <a:gd name="T36" fmla="*/ 2147483647 w 870"/>
                  <a:gd name="T37" fmla="*/ 2147483647 h 1344"/>
                  <a:gd name="T38" fmla="*/ 2147483647 w 870"/>
                  <a:gd name="T39" fmla="*/ 2147483647 h 1344"/>
                  <a:gd name="T40" fmla="*/ 2147483647 w 870"/>
                  <a:gd name="T41" fmla="*/ 2147483647 h 1344"/>
                  <a:gd name="T42" fmla="*/ 2147483647 w 870"/>
                  <a:gd name="T43" fmla="*/ 2147483647 h 1344"/>
                  <a:gd name="T44" fmla="*/ 2147483647 w 870"/>
                  <a:gd name="T45" fmla="*/ 2147483647 h 1344"/>
                  <a:gd name="T46" fmla="*/ 2147483647 w 870"/>
                  <a:gd name="T47" fmla="*/ 2147483647 h 1344"/>
                  <a:gd name="T48" fmla="*/ 2147483647 w 870"/>
                  <a:gd name="T49" fmla="*/ 2147483647 h 1344"/>
                  <a:gd name="T50" fmla="*/ 2147483647 w 870"/>
                  <a:gd name="T51" fmla="*/ 2147483647 h 1344"/>
                  <a:gd name="T52" fmla="*/ 2147483647 w 870"/>
                  <a:gd name="T53" fmla="*/ 2147483647 h 1344"/>
                  <a:gd name="T54" fmla="*/ 2147483647 w 870"/>
                  <a:gd name="T55" fmla="*/ 2147483647 h 1344"/>
                  <a:gd name="T56" fmla="*/ 2147483647 w 870"/>
                  <a:gd name="T57" fmla="*/ 2147483647 h 1344"/>
                  <a:gd name="T58" fmla="*/ 2147483647 w 870"/>
                  <a:gd name="T59" fmla="*/ 2147483647 h 1344"/>
                  <a:gd name="T60" fmla="*/ 2147483647 w 870"/>
                  <a:gd name="T61" fmla="*/ 2147483647 h 1344"/>
                  <a:gd name="T62" fmla="*/ 2147483647 w 870"/>
                  <a:gd name="T63" fmla="*/ 2147483647 h 1344"/>
                  <a:gd name="T64" fmla="*/ 2147483647 w 870"/>
                  <a:gd name="T65" fmla="*/ 2147483647 h 1344"/>
                  <a:gd name="T66" fmla="*/ 2147483647 w 870"/>
                  <a:gd name="T67" fmla="*/ 2147483647 h 1344"/>
                  <a:gd name="T68" fmla="*/ 2147483647 w 870"/>
                  <a:gd name="T69" fmla="*/ 2147483647 h 1344"/>
                  <a:gd name="T70" fmla="*/ 2147483647 w 870"/>
                  <a:gd name="T71" fmla="*/ 2147483647 h 1344"/>
                  <a:gd name="T72" fmla="*/ 2147483647 w 870"/>
                  <a:gd name="T73" fmla="*/ 0 h 1344"/>
                  <a:gd name="T74" fmla="*/ 2147483647 w 870"/>
                  <a:gd name="T75" fmla="*/ 2147483647 h 1344"/>
                  <a:gd name="T76" fmla="*/ 2147483647 w 870"/>
                  <a:gd name="T77" fmla="*/ 2147483647 h 1344"/>
                  <a:gd name="T78" fmla="*/ 2147483647 w 870"/>
                  <a:gd name="T79" fmla="*/ 2147483647 h 1344"/>
                  <a:gd name="T80" fmla="*/ 2147483647 w 870"/>
                  <a:gd name="T81" fmla="*/ 2147483647 h 1344"/>
                  <a:gd name="T82" fmla="*/ 2147483647 w 870"/>
                  <a:gd name="T83" fmla="*/ 2147483647 h 1344"/>
                  <a:gd name="T84" fmla="*/ 2147483647 w 870"/>
                  <a:gd name="T85" fmla="*/ 2147483647 h 1344"/>
                  <a:gd name="T86" fmla="*/ 2147483647 w 870"/>
                  <a:gd name="T87" fmla="*/ 2147483647 h 1344"/>
                  <a:gd name="T88" fmla="*/ 2147483647 w 870"/>
                  <a:gd name="T89" fmla="*/ 2147483647 h 1344"/>
                  <a:gd name="T90" fmla="*/ 2147483647 w 870"/>
                  <a:gd name="T91" fmla="*/ 2147483647 h 1344"/>
                  <a:gd name="T92" fmla="*/ 2147483647 w 870"/>
                  <a:gd name="T93" fmla="*/ 2147483647 h 1344"/>
                  <a:gd name="T94" fmla="*/ 2147483647 w 870"/>
                  <a:gd name="T95" fmla="*/ 2147483647 h 1344"/>
                  <a:gd name="T96" fmla="*/ 2147483647 w 870"/>
                  <a:gd name="T97" fmla="*/ 2147483647 h 1344"/>
                  <a:gd name="T98" fmla="*/ 2147483647 w 870"/>
                  <a:gd name="T99" fmla="*/ 2147483647 h 1344"/>
                  <a:gd name="T100" fmla="*/ 2147483647 w 870"/>
                  <a:gd name="T101" fmla="*/ 2147483647 h 1344"/>
                  <a:gd name="T102" fmla="*/ 2147483647 w 870"/>
                  <a:gd name="T103" fmla="*/ 2147483647 h 1344"/>
                  <a:gd name="T104" fmla="*/ 2147483647 w 870"/>
                  <a:gd name="T105" fmla="*/ 2147483647 h 1344"/>
                  <a:gd name="T106" fmla="*/ 2147483647 w 870"/>
                  <a:gd name="T107" fmla="*/ 2147483647 h 134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870"/>
                  <a:gd name="T163" fmla="*/ 0 h 1344"/>
                  <a:gd name="T164" fmla="*/ 870 w 870"/>
                  <a:gd name="T165" fmla="*/ 1344 h 1344"/>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870" h="1344">
                    <a:moveTo>
                      <a:pt x="36" y="912"/>
                    </a:moveTo>
                    <a:lnTo>
                      <a:pt x="60" y="924"/>
                    </a:lnTo>
                    <a:lnTo>
                      <a:pt x="66" y="936"/>
                    </a:lnTo>
                    <a:lnTo>
                      <a:pt x="84" y="936"/>
                    </a:lnTo>
                    <a:lnTo>
                      <a:pt x="96" y="942"/>
                    </a:lnTo>
                    <a:lnTo>
                      <a:pt x="102" y="948"/>
                    </a:lnTo>
                    <a:lnTo>
                      <a:pt x="108" y="960"/>
                    </a:lnTo>
                    <a:lnTo>
                      <a:pt x="108" y="966"/>
                    </a:lnTo>
                    <a:lnTo>
                      <a:pt x="114" y="972"/>
                    </a:lnTo>
                    <a:lnTo>
                      <a:pt x="126" y="978"/>
                    </a:lnTo>
                    <a:lnTo>
                      <a:pt x="138" y="978"/>
                    </a:lnTo>
                    <a:lnTo>
                      <a:pt x="144" y="972"/>
                    </a:lnTo>
                    <a:lnTo>
                      <a:pt x="156" y="978"/>
                    </a:lnTo>
                    <a:lnTo>
                      <a:pt x="162" y="984"/>
                    </a:lnTo>
                    <a:lnTo>
                      <a:pt x="186" y="984"/>
                    </a:lnTo>
                    <a:lnTo>
                      <a:pt x="186" y="972"/>
                    </a:lnTo>
                    <a:lnTo>
                      <a:pt x="192" y="966"/>
                    </a:lnTo>
                    <a:lnTo>
                      <a:pt x="198" y="966"/>
                    </a:lnTo>
                    <a:lnTo>
                      <a:pt x="210" y="972"/>
                    </a:lnTo>
                    <a:lnTo>
                      <a:pt x="210" y="978"/>
                    </a:lnTo>
                    <a:lnTo>
                      <a:pt x="216" y="984"/>
                    </a:lnTo>
                    <a:lnTo>
                      <a:pt x="216" y="990"/>
                    </a:lnTo>
                    <a:lnTo>
                      <a:pt x="228" y="1002"/>
                    </a:lnTo>
                    <a:lnTo>
                      <a:pt x="264" y="1002"/>
                    </a:lnTo>
                    <a:lnTo>
                      <a:pt x="276" y="1008"/>
                    </a:lnTo>
                    <a:lnTo>
                      <a:pt x="282" y="1014"/>
                    </a:lnTo>
                    <a:lnTo>
                      <a:pt x="294" y="1020"/>
                    </a:lnTo>
                    <a:lnTo>
                      <a:pt x="312" y="1038"/>
                    </a:lnTo>
                    <a:lnTo>
                      <a:pt x="324" y="1044"/>
                    </a:lnTo>
                    <a:lnTo>
                      <a:pt x="330" y="1050"/>
                    </a:lnTo>
                    <a:lnTo>
                      <a:pt x="342" y="1086"/>
                    </a:lnTo>
                    <a:lnTo>
                      <a:pt x="360" y="1086"/>
                    </a:lnTo>
                    <a:lnTo>
                      <a:pt x="372" y="1104"/>
                    </a:lnTo>
                    <a:lnTo>
                      <a:pt x="384" y="1104"/>
                    </a:lnTo>
                    <a:lnTo>
                      <a:pt x="390" y="1110"/>
                    </a:lnTo>
                    <a:lnTo>
                      <a:pt x="390" y="1134"/>
                    </a:lnTo>
                    <a:lnTo>
                      <a:pt x="396" y="1140"/>
                    </a:lnTo>
                    <a:lnTo>
                      <a:pt x="396" y="1146"/>
                    </a:lnTo>
                    <a:lnTo>
                      <a:pt x="408" y="1146"/>
                    </a:lnTo>
                    <a:lnTo>
                      <a:pt x="420" y="1152"/>
                    </a:lnTo>
                    <a:lnTo>
                      <a:pt x="426" y="1158"/>
                    </a:lnTo>
                    <a:lnTo>
                      <a:pt x="426" y="1164"/>
                    </a:lnTo>
                    <a:lnTo>
                      <a:pt x="420" y="1170"/>
                    </a:lnTo>
                    <a:lnTo>
                      <a:pt x="420" y="1194"/>
                    </a:lnTo>
                    <a:lnTo>
                      <a:pt x="432" y="1200"/>
                    </a:lnTo>
                    <a:lnTo>
                      <a:pt x="456" y="1206"/>
                    </a:lnTo>
                    <a:lnTo>
                      <a:pt x="492" y="1206"/>
                    </a:lnTo>
                    <a:lnTo>
                      <a:pt x="492" y="1194"/>
                    </a:lnTo>
                    <a:lnTo>
                      <a:pt x="504" y="1182"/>
                    </a:lnTo>
                    <a:lnTo>
                      <a:pt x="528" y="1182"/>
                    </a:lnTo>
                    <a:lnTo>
                      <a:pt x="534" y="1188"/>
                    </a:lnTo>
                    <a:lnTo>
                      <a:pt x="540" y="1188"/>
                    </a:lnTo>
                    <a:lnTo>
                      <a:pt x="546" y="1194"/>
                    </a:lnTo>
                    <a:lnTo>
                      <a:pt x="558" y="1194"/>
                    </a:lnTo>
                    <a:lnTo>
                      <a:pt x="570" y="1188"/>
                    </a:lnTo>
                    <a:lnTo>
                      <a:pt x="576" y="1182"/>
                    </a:lnTo>
                    <a:lnTo>
                      <a:pt x="588" y="1182"/>
                    </a:lnTo>
                    <a:lnTo>
                      <a:pt x="588" y="1188"/>
                    </a:lnTo>
                    <a:lnTo>
                      <a:pt x="594" y="1200"/>
                    </a:lnTo>
                    <a:lnTo>
                      <a:pt x="600" y="1206"/>
                    </a:lnTo>
                    <a:lnTo>
                      <a:pt x="624" y="1206"/>
                    </a:lnTo>
                    <a:lnTo>
                      <a:pt x="636" y="1212"/>
                    </a:lnTo>
                    <a:lnTo>
                      <a:pt x="642" y="1218"/>
                    </a:lnTo>
                    <a:lnTo>
                      <a:pt x="642" y="1236"/>
                    </a:lnTo>
                    <a:lnTo>
                      <a:pt x="636" y="1248"/>
                    </a:lnTo>
                    <a:lnTo>
                      <a:pt x="630" y="1254"/>
                    </a:lnTo>
                    <a:lnTo>
                      <a:pt x="624" y="1254"/>
                    </a:lnTo>
                    <a:lnTo>
                      <a:pt x="618" y="1260"/>
                    </a:lnTo>
                    <a:lnTo>
                      <a:pt x="618" y="1266"/>
                    </a:lnTo>
                    <a:lnTo>
                      <a:pt x="606" y="1290"/>
                    </a:lnTo>
                    <a:lnTo>
                      <a:pt x="606" y="1308"/>
                    </a:lnTo>
                    <a:lnTo>
                      <a:pt x="612" y="1314"/>
                    </a:lnTo>
                    <a:lnTo>
                      <a:pt x="630" y="1314"/>
                    </a:lnTo>
                    <a:lnTo>
                      <a:pt x="642" y="1332"/>
                    </a:lnTo>
                    <a:lnTo>
                      <a:pt x="660" y="1344"/>
                    </a:lnTo>
                    <a:lnTo>
                      <a:pt x="660" y="1308"/>
                    </a:lnTo>
                    <a:lnTo>
                      <a:pt x="666" y="1236"/>
                    </a:lnTo>
                    <a:lnTo>
                      <a:pt x="684" y="1188"/>
                    </a:lnTo>
                    <a:lnTo>
                      <a:pt x="678" y="1140"/>
                    </a:lnTo>
                    <a:lnTo>
                      <a:pt x="690" y="1128"/>
                    </a:lnTo>
                    <a:lnTo>
                      <a:pt x="696" y="1116"/>
                    </a:lnTo>
                    <a:lnTo>
                      <a:pt x="696" y="1104"/>
                    </a:lnTo>
                    <a:lnTo>
                      <a:pt x="690" y="1092"/>
                    </a:lnTo>
                    <a:lnTo>
                      <a:pt x="678" y="1080"/>
                    </a:lnTo>
                    <a:lnTo>
                      <a:pt x="678" y="1074"/>
                    </a:lnTo>
                    <a:lnTo>
                      <a:pt x="672" y="1068"/>
                    </a:lnTo>
                    <a:lnTo>
                      <a:pt x="672" y="1044"/>
                    </a:lnTo>
                    <a:lnTo>
                      <a:pt x="666" y="1038"/>
                    </a:lnTo>
                    <a:lnTo>
                      <a:pt x="654" y="1032"/>
                    </a:lnTo>
                    <a:lnTo>
                      <a:pt x="642" y="1020"/>
                    </a:lnTo>
                    <a:lnTo>
                      <a:pt x="636" y="1020"/>
                    </a:lnTo>
                    <a:lnTo>
                      <a:pt x="642" y="954"/>
                    </a:lnTo>
                    <a:lnTo>
                      <a:pt x="672" y="948"/>
                    </a:lnTo>
                    <a:lnTo>
                      <a:pt x="678" y="954"/>
                    </a:lnTo>
                    <a:lnTo>
                      <a:pt x="708" y="954"/>
                    </a:lnTo>
                    <a:lnTo>
                      <a:pt x="714" y="948"/>
                    </a:lnTo>
                    <a:lnTo>
                      <a:pt x="714" y="942"/>
                    </a:lnTo>
                    <a:lnTo>
                      <a:pt x="708" y="936"/>
                    </a:lnTo>
                    <a:lnTo>
                      <a:pt x="708" y="930"/>
                    </a:lnTo>
                    <a:lnTo>
                      <a:pt x="696" y="918"/>
                    </a:lnTo>
                    <a:lnTo>
                      <a:pt x="684" y="924"/>
                    </a:lnTo>
                    <a:lnTo>
                      <a:pt x="660" y="912"/>
                    </a:lnTo>
                    <a:lnTo>
                      <a:pt x="660" y="900"/>
                    </a:lnTo>
                    <a:lnTo>
                      <a:pt x="654" y="888"/>
                    </a:lnTo>
                    <a:lnTo>
                      <a:pt x="654" y="876"/>
                    </a:lnTo>
                    <a:lnTo>
                      <a:pt x="660" y="864"/>
                    </a:lnTo>
                    <a:lnTo>
                      <a:pt x="666" y="858"/>
                    </a:lnTo>
                    <a:lnTo>
                      <a:pt x="684" y="858"/>
                    </a:lnTo>
                    <a:lnTo>
                      <a:pt x="696" y="870"/>
                    </a:lnTo>
                    <a:lnTo>
                      <a:pt x="762" y="864"/>
                    </a:lnTo>
                    <a:lnTo>
                      <a:pt x="762" y="846"/>
                    </a:lnTo>
                    <a:lnTo>
                      <a:pt x="768" y="840"/>
                    </a:lnTo>
                    <a:lnTo>
                      <a:pt x="774" y="840"/>
                    </a:lnTo>
                    <a:lnTo>
                      <a:pt x="798" y="864"/>
                    </a:lnTo>
                    <a:lnTo>
                      <a:pt x="828" y="834"/>
                    </a:lnTo>
                    <a:lnTo>
                      <a:pt x="834" y="834"/>
                    </a:lnTo>
                    <a:lnTo>
                      <a:pt x="834" y="846"/>
                    </a:lnTo>
                    <a:lnTo>
                      <a:pt x="840" y="852"/>
                    </a:lnTo>
                    <a:lnTo>
                      <a:pt x="840" y="864"/>
                    </a:lnTo>
                    <a:lnTo>
                      <a:pt x="846" y="876"/>
                    </a:lnTo>
                    <a:lnTo>
                      <a:pt x="846" y="906"/>
                    </a:lnTo>
                    <a:lnTo>
                      <a:pt x="870" y="906"/>
                    </a:lnTo>
                    <a:lnTo>
                      <a:pt x="864" y="900"/>
                    </a:lnTo>
                    <a:lnTo>
                      <a:pt x="864" y="882"/>
                    </a:lnTo>
                    <a:lnTo>
                      <a:pt x="858" y="870"/>
                    </a:lnTo>
                    <a:lnTo>
                      <a:pt x="858" y="852"/>
                    </a:lnTo>
                    <a:lnTo>
                      <a:pt x="852" y="846"/>
                    </a:lnTo>
                    <a:lnTo>
                      <a:pt x="852" y="828"/>
                    </a:lnTo>
                    <a:lnTo>
                      <a:pt x="846" y="822"/>
                    </a:lnTo>
                    <a:lnTo>
                      <a:pt x="846" y="798"/>
                    </a:lnTo>
                    <a:lnTo>
                      <a:pt x="834" y="798"/>
                    </a:lnTo>
                    <a:lnTo>
                      <a:pt x="822" y="786"/>
                    </a:lnTo>
                    <a:lnTo>
                      <a:pt x="798" y="774"/>
                    </a:lnTo>
                    <a:lnTo>
                      <a:pt x="804" y="774"/>
                    </a:lnTo>
                    <a:lnTo>
                      <a:pt x="834" y="744"/>
                    </a:lnTo>
                    <a:lnTo>
                      <a:pt x="840" y="732"/>
                    </a:lnTo>
                    <a:lnTo>
                      <a:pt x="840" y="726"/>
                    </a:lnTo>
                    <a:lnTo>
                      <a:pt x="834" y="714"/>
                    </a:lnTo>
                    <a:lnTo>
                      <a:pt x="822" y="708"/>
                    </a:lnTo>
                    <a:lnTo>
                      <a:pt x="816" y="696"/>
                    </a:lnTo>
                    <a:lnTo>
                      <a:pt x="816" y="672"/>
                    </a:lnTo>
                    <a:lnTo>
                      <a:pt x="804" y="672"/>
                    </a:lnTo>
                    <a:lnTo>
                      <a:pt x="798" y="666"/>
                    </a:lnTo>
                    <a:lnTo>
                      <a:pt x="798" y="654"/>
                    </a:lnTo>
                    <a:lnTo>
                      <a:pt x="804" y="642"/>
                    </a:lnTo>
                    <a:lnTo>
                      <a:pt x="804" y="612"/>
                    </a:lnTo>
                    <a:lnTo>
                      <a:pt x="798" y="600"/>
                    </a:lnTo>
                    <a:lnTo>
                      <a:pt x="798" y="576"/>
                    </a:lnTo>
                    <a:lnTo>
                      <a:pt x="810" y="564"/>
                    </a:lnTo>
                    <a:lnTo>
                      <a:pt x="816" y="564"/>
                    </a:lnTo>
                    <a:lnTo>
                      <a:pt x="822" y="558"/>
                    </a:lnTo>
                    <a:lnTo>
                      <a:pt x="822" y="534"/>
                    </a:lnTo>
                    <a:lnTo>
                      <a:pt x="840" y="516"/>
                    </a:lnTo>
                    <a:lnTo>
                      <a:pt x="840" y="504"/>
                    </a:lnTo>
                    <a:lnTo>
                      <a:pt x="834" y="498"/>
                    </a:lnTo>
                    <a:lnTo>
                      <a:pt x="816" y="498"/>
                    </a:lnTo>
                    <a:lnTo>
                      <a:pt x="804" y="504"/>
                    </a:lnTo>
                    <a:lnTo>
                      <a:pt x="798" y="510"/>
                    </a:lnTo>
                    <a:lnTo>
                      <a:pt x="774" y="504"/>
                    </a:lnTo>
                    <a:lnTo>
                      <a:pt x="768" y="510"/>
                    </a:lnTo>
                    <a:lnTo>
                      <a:pt x="744" y="510"/>
                    </a:lnTo>
                    <a:lnTo>
                      <a:pt x="738" y="504"/>
                    </a:lnTo>
                    <a:lnTo>
                      <a:pt x="720" y="504"/>
                    </a:lnTo>
                    <a:lnTo>
                      <a:pt x="720" y="510"/>
                    </a:lnTo>
                    <a:lnTo>
                      <a:pt x="696" y="510"/>
                    </a:lnTo>
                    <a:lnTo>
                      <a:pt x="672" y="486"/>
                    </a:lnTo>
                    <a:lnTo>
                      <a:pt x="666" y="468"/>
                    </a:lnTo>
                    <a:lnTo>
                      <a:pt x="660" y="456"/>
                    </a:lnTo>
                    <a:lnTo>
                      <a:pt x="654" y="450"/>
                    </a:lnTo>
                    <a:lnTo>
                      <a:pt x="654" y="444"/>
                    </a:lnTo>
                    <a:lnTo>
                      <a:pt x="630" y="444"/>
                    </a:lnTo>
                    <a:lnTo>
                      <a:pt x="618" y="438"/>
                    </a:lnTo>
                    <a:lnTo>
                      <a:pt x="612" y="432"/>
                    </a:lnTo>
                    <a:lnTo>
                      <a:pt x="600" y="432"/>
                    </a:lnTo>
                    <a:lnTo>
                      <a:pt x="600" y="438"/>
                    </a:lnTo>
                    <a:lnTo>
                      <a:pt x="594" y="444"/>
                    </a:lnTo>
                    <a:lnTo>
                      <a:pt x="582" y="444"/>
                    </a:lnTo>
                    <a:lnTo>
                      <a:pt x="570" y="438"/>
                    </a:lnTo>
                    <a:lnTo>
                      <a:pt x="564" y="438"/>
                    </a:lnTo>
                    <a:lnTo>
                      <a:pt x="552" y="432"/>
                    </a:lnTo>
                    <a:lnTo>
                      <a:pt x="540" y="432"/>
                    </a:lnTo>
                    <a:lnTo>
                      <a:pt x="534" y="438"/>
                    </a:lnTo>
                    <a:lnTo>
                      <a:pt x="510" y="438"/>
                    </a:lnTo>
                    <a:lnTo>
                      <a:pt x="504" y="432"/>
                    </a:lnTo>
                    <a:lnTo>
                      <a:pt x="498" y="420"/>
                    </a:lnTo>
                    <a:lnTo>
                      <a:pt x="498" y="408"/>
                    </a:lnTo>
                    <a:lnTo>
                      <a:pt x="486" y="408"/>
                    </a:lnTo>
                    <a:lnTo>
                      <a:pt x="486" y="366"/>
                    </a:lnTo>
                    <a:lnTo>
                      <a:pt x="498" y="342"/>
                    </a:lnTo>
                    <a:lnTo>
                      <a:pt x="498" y="330"/>
                    </a:lnTo>
                    <a:lnTo>
                      <a:pt x="492" y="324"/>
                    </a:lnTo>
                    <a:lnTo>
                      <a:pt x="480" y="318"/>
                    </a:lnTo>
                    <a:lnTo>
                      <a:pt x="474" y="312"/>
                    </a:lnTo>
                    <a:lnTo>
                      <a:pt x="474" y="276"/>
                    </a:lnTo>
                    <a:lnTo>
                      <a:pt x="468" y="264"/>
                    </a:lnTo>
                    <a:lnTo>
                      <a:pt x="456" y="252"/>
                    </a:lnTo>
                    <a:lnTo>
                      <a:pt x="450" y="252"/>
                    </a:lnTo>
                    <a:lnTo>
                      <a:pt x="438" y="264"/>
                    </a:lnTo>
                    <a:lnTo>
                      <a:pt x="438" y="270"/>
                    </a:lnTo>
                    <a:lnTo>
                      <a:pt x="432" y="264"/>
                    </a:lnTo>
                    <a:lnTo>
                      <a:pt x="432" y="252"/>
                    </a:lnTo>
                    <a:lnTo>
                      <a:pt x="438" y="240"/>
                    </a:lnTo>
                    <a:lnTo>
                      <a:pt x="462" y="216"/>
                    </a:lnTo>
                    <a:lnTo>
                      <a:pt x="462" y="192"/>
                    </a:lnTo>
                    <a:lnTo>
                      <a:pt x="468" y="186"/>
                    </a:lnTo>
                    <a:lnTo>
                      <a:pt x="468" y="168"/>
                    </a:lnTo>
                    <a:lnTo>
                      <a:pt x="480" y="132"/>
                    </a:lnTo>
                    <a:lnTo>
                      <a:pt x="504" y="108"/>
                    </a:lnTo>
                    <a:lnTo>
                      <a:pt x="522" y="102"/>
                    </a:lnTo>
                    <a:lnTo>
                      <a:pt x="534" y="90"/>
                    </a:lnTo>
                    <a:lnTo>
                      <a:pt x="540" y="78"/>
                    </a:lnTo>
                    <a:lnTo>
                      <a:pt x="540" y="72"/>
                    </a:lnTo>
                    <a:lnTo>
                      <a:pt x="546" y="66"/>
                    </a:lnTo>
                    <a:lnTo>
                      <a:pt x="558" y="66"/>
                    </a:lnTo>
                    <a:lnTo>
                      <a:pt x="564" y="60"/>
                    </a:lnTo>
                    <a:lnTo>
                      <a:pt x="570" y="60"/>
                    </a:lnTo>
                    <a:lnTo>
                      <a:pt x="576" y="54"/>
                    </a:lnTo>
                    <a:lnTo>
                      <a:pt x="582" y="54"/>
                    </a:lnTo>
                    <a:lnTo>
                      <a:pt x="600" y="36"/>
                    </a:lnTo>
                    <a:lnTo>
                      <a:pt x="600" y="12"/>
                    </a:lnTo>
                    <a:lnTo>
                      <a:pt x="594" y="6"/>
                    </a:lnTo>
                    <a:lnTo>
                      <a:pt x="582" y="0"/>
                    </a:lnTo>
                    <a:lnTo>
                      <a:pt x="570" y="6"/>
                    </a:lnTo>
                    <a:lnTo>
                      <a:pt x="546" y="6"/>
                    </a:lnTo>
                    <a:lnTo>
                      <a:pt x="540" y="12"/>
                    </a:lnTo>
                    <a:lnTo>
                      <a:pt x="534" y="12"/>
                    </a:lnTo>
                    <a:lnTo>
                      <a:pt x="522" y="24"/>
                    </a:lnTo>
                    <a:lnTo>
                      <a:pt x="522" y="36"/>
                    </a:lnTo>
                    <a:lnTo>
                      <a:pt x="516" y="48"/>
                    </a:lnTo>
                    <a:lnTo>
                      <a:pt x="504" y="60"/>
                    </a:lnTo>
                    <a:lnTo>
                      <a:pt x="492" y="60"/>
                    </a:lnTo>
                    <a:lnTo>
                      <a:pt x="480" y="54"/>
                    </a:lnTo>
                    <a:lnTo>
                      <a:pt x="474" y="54"/>
                    </a:lnTo>
                    <a:lnTo>
                      <a:pt x="444" y="84"/>
                    </a:lnTo>
                    <a:lnTo>
                      <a:pt x="444" y="90"/>
                    </a:lnTo>
                    <a:lnTo>
                      <a:pt x="408" y="102"/>
                    </a:lnTo>
                    <a:lnTo>
                      <a:pt x="402" y="96"/>
                    </a:lnTo>
                    <a:lnTo>
                      <a:pt x="390" y="90"/>
                    </a:lnTo>
                    <a:lnTo>
                      <a:pt x="384" y="90"/>
                    </a:lnTo>
                    <a:lnTo>
                      <a:pt x="378" y="102"/>
                    </a:lnTo>
                    <a:lnTo>
                      <a:pt x="378" y="120"/>
                    </a:lnTo>
                    <a:lnTo>
                      <a:pt x="372" y="132"/>
                    </a:lnTo>
                    <a:lnTo>
                      <a:pt x="366" y="138"/>
                    </a:lnTo>
                    <a:lnTo>
                      <a:pt x="354" y="138"/>
                    </a:lnTo>
                    <a:lnTo>
                      <a:pt x="354" y="132"/>
                    </a:lnTo>
                    <a:lnTo>
                      <a:pt x="360" y="126"/>
                    </a:lnTo>
                    <a:lnTo>
                      <a:pt x="354" y="120"/>
                    </a:lnTo>
                    <a:lnTo>
                      <a:pt x="342" y="120"/>
                    </a:lnTo>
                    <a:lnTo>
                      <a:pt x="330" y="126"/>
                    </a:lnTo>
                    <a:lnTo>
                      <a:pt x="318" y="126"/>
                    </a:lnTo>
                    <a:lnTo>
                      <a:pt x="312" y="132"/>
                    </a:lnTo>
                    <a:lnTo>
                      <a:pt x="306" y="132"/>
                    </a:lnTo>
                    <a:lnTo>
                      <a:pt x="300" y="144"/>
                    </a:lnTo>
                    <a:lnTo>
                      <a:pt x="288" y="150"/>
                    </a:lnTo>
                    <a:lnTo>
                      <a:pt x="282" y="162"/>
                    </a:lnTo>
                    <a:lnTo>
                      <a:pt x="276" y="168"/>
                    </a:lnTo>
                    <a:lnTo>
                      <a:pt x="276" y="186"/>
                    </a:lnTo>
                    <a:lnTo>
                      <a:pt x="282" y="192"/>
                    </a:lnTo>
                    <a:lnTo>
                      <a:pt x="264" y="222"/>
                    </a:lnTo>
                    <a:lnTo>
                      <a:pt x="276" y="246"/>
                    </a:lnTo>
                    <a:lnTo>
                      <a:pt x="252" y="246"/>
                    </a:lnTo>
                    <a:lnTo>
                      <a:pt x="240" y="252"/>
                    </a:lnTo>
                    <a:lnTo>
                      <a:pt x="228" y="264"/>
                    </a:lnTo>
                    <a:lnTo>
                      <a:pt x="228" y="276"/>
                    </a:lnTo>
                    <a:lnTo>
                      <a:pt x="222" y="288"/>
                    </a:lnTo>
                    <a:lnTo>
                      <a:pt x="216" y="294"/>
                    </a:lnTo>
                    <a:lnTo>
                      <a:pt x="204" y="294"/>
                    </a:lnTo>
                    <a:lnTo>
                      <a:pt x="198" y="300"/>
                    </a:lnTo>
                    <a:lnTo>
                      <a:pt x="192" y="300"/>
                    </a:lnTo>
                    <a:lnTo>
                      <a:pt x="174" y="306"/>
                    </a:lnTo>
                    <a:lnTo>
                      <a:pt x="186" y="330"/>
                    </a:lnTo>
                    <a:lnTo>
                      <a:pt x="186" y="366"/>
                    </a:lnTo>
                    <a:lnTo>
                      <a:pt x="168" y="366"/>
                    </a:lnTo>
                    <a:lnTo>
                      <a:pt x="168" y="360"/>
                    </a:lnTo>
                    <a:lnTo>
                      <a:pt x="174" y="354"/>
                    </a:lnTo>
                    <a:lnTo>
                      <a:pt x="174" y="342"/>
                    </a:lnTo>
                    <a:lnTo>
                      <a:pt x="144" y="312"/>
                    </a:lnTo>
                    <a:lnTo>
                      <a:pt x="138" y="312"/>
                    </a:lnTo>
                    <a:lnTo>
                      <a:pt x="132" y="318"/>
                    </a:lnTo>
                    <a:lnTo>
                      <a:pt x="132" y="336"/>
                    </a:lnTo>
                    <a:lnTo>
                      <a:pt x="138" y="348"/>
                    </a:lnTo>
                    <a:lnTo>
                      <a:pt x="150" y="354"/>
                    </a:lnTo>
                    <a:lnTo>
                      <a:pt x="150" y="366"/>
                    </a:lnTo>
                    <a:lnTo>
                      <a:pt x="138" y="390"/>
                    </a:lnTo>
                    <a:lnTo>
                      <a:pt x="132" y="396"/>
                    </a:lnTo>
                    <a:lnTo>
                      <a:pt x="120" y="390"/>
                    </a:lnTo>
                    <a:lnTo>
                      <a:pt x="114" y="384"/>
                    </a:lnTo>
                    <a:lnTo>
                      <a:pt x="102" y="414"/>
                    </a:lnTo>
                    <a:lnTo>
                      <a:pt x="114" y="438"/>
                    </a:lnTo>
                    <a:lnTo>
                      <a:pt x="114" y="450"/>
                    </a:lnTo>
                    <a:lnTo>
                      <a:pt x="126" y="462"/>
                    </a:lnTo>
                    <a:lnTo>
                      <a:pt x="132" y="474"/>
                    </a:lnTo>
                    <a:lnTo>
                      <a:pt x="132" y="480"/>
                    </a:lnTo>
                    <a:lnTo>
                      <a:pt x="120" y="492"/>
                    </a:lnTo>
                    <a:lnTo>
                      <a:pt x="114" y="492"/>
                    </a:lnTo>
                    <a:lnTo>
                      <a:pt x="132" y="516"/>
                    </a:lnTo>
                    <a:lnTo>
                      <a:pt x="138" y="552"/>
                    </a:lnTo>
                    <a:lnTo>
                      <a:pt x="114" y="558"/>
                    </a:lnTo>
                    <a:lnTo>
                      <a:pt x="132" y="576"/>
                    </a:lnTo>
                    <a:lnTo>
                      <a:pt x="132" y="636"/>
                    </a:lnTo>
                    <a:lnTo>
                      <a:pt x="120" y="642"/>
                    </a:lnTo>
                    <a:lnTo>
                      <a:pt x="114" y="654"/>
                    </a:lnTo>
                    <a:lnTo>
                      <a:pt x="114" y="678"/>
                    </a:lnTo>
                    <a:lnTo>
                      <a:pt x="138" y="702"/>
                    </a:lnTo>
                    <a:lnTo>
                      <a:pt x="138" y="720"/>
                    </a:lnTo>
                    <a:lnTo>
                      <a:pt x="132" y="732"/>
                    </a:lnTo>
                    <a:lnTo>
                      <a:pt x="120" y="738"/>
                    </a:lnTo>
                    <a:lnTo>
                      <a:pt x="114" y="750"/>
                    </a:lnTo>
                    <a:lnTo>
                      <a:pt x="102" y="756"/>
                    </a:lnTo>
                    <a:lnTo>
                      <a:pt x="96" y="762"/>
                    </a:lnTo>
                    <a:lnTo>
                      <a:pt x="114" y="774"/>
                    </a:lnTo>
                    <a:lnTo>
                      <a:pt x="84" y="798"/>
                    </a:lnTo>
                    <a:lnTo>
                      <a:pt x="66" y="798"/>
                    </a:lnTo>
                    <a:lnTo>
                      <a:pt x="54" y="804"/>
                    </a:lnTo>
                    <a:lnTo>
                      <a:pt x="36" y="810"/>
                    </a:lnTo>
                    <a:lnTo>
                      <a:pt x="30" y="822"/>
                    </a:lnTo>
                    <a:lnTo>
                      <a:pt x="30" y="846"/>
                    </a:lnTo>
                    <a:lnTo>
                      <a:pt x="36" y="852"/>
                    </a:lnTo>
                    <a:lnTo>
                      <a:pt x="36" y="858"/>
                    </a:lnTo>
                    <a:lnTo>
                      <a:pt x="6" y="858"/>
                    </a:lnTo>
                    <a:lnTo>
                      <a:pt x="0" y="864"/>
                    </a:lnTo>
                    <a:lnTo>
                      <a:pt x="0" y="876"/>
                    </a:lnTo>
                    <a:lnTo>
                      <a:pt x="6" y="888"/>
                    </a:lnTo>
                    <a:lnTo>
                      <a:pt x="18" y="894"/>
                    </a:lnTo>
                    <a:lnTo>
                      <a:pt x="24" y="906"/>
                    </a:lnTo>
                    <a:lnTo>
                      <a:pt x="36" y="912"/>
                    </a:lnTo>
                    <a:close/>
                  </a:path>
                </a:pathLst>
              </a:custGeom>
              <a:solidFill>
                <a:srgbClr val="9D90A0">
                  <a:lumMod val="40000"/>
                  <a:lumOff val="60000"/>
                </a:srgbClr>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53" name="Chile" descr="© INSCALE GmbH, 05.05.2010&#10;http://www.presentationload.com/">
                <a:extLst>
                  <a:ext uri="{FF2B5EF4-FFF2-40B4-BE49-F238E27FC236}">
                    <a16:creationId xmlns:a16="http://schemas.microsoft.com/office/drawing/2014/main" id="{634ADF2D-3A90-4C69-A8A2-62EE3CA04C98}"/>
                  </a:ext>
                </a:extLst>
              </p:cNvPr>
              <p:cNvSpPr>
                <a:spLocks noEditPoints="1"/>
              </p:cNvSpPr>
              <p:nvPr/>
            </p:nvSpPr>
            <p:spPr bwMode="gray">
              <a:xfrm>
                <a:off x="2264814" y="5176074"/>
                <a:ext cx="458614" cy="1332446"/>
              </a:xfrm>
              <a:custGeom>
                <a:avLst/>
                <a:gdLst>
                  <a:gd name="T0" fmla="*/ 2147483647 w 1158"/>
                  <a:gd name="T1" fmla="*/ 2147483647 h 3030"/>
                  <a:gd name="T2" fmla="*/ 2147483647 w 1158"/>
                  <a:gd name="T3" fmla="*/ 2147483647 h 3030"/>
                  <a:gd name="T4" fmla="*/ 2147483647 w 1158"/>
                  <a:gd name="T5" fmla="*/ 2147483647 h 3030"/>
                  <a:gd name="T6" fmla="*/ 2147483647 w 1158"/>
                  <a:gd name="T7" fmla="*/ 2147483647 h 3030"/>
                  <a:gd name="T8" fmla="*/ 2147483647 w 1158"/>
                  <a:gd name="T9" fmla="*/ 2147483647 h 3030"/>
                  <a:gd name="T10" fmla="*/ 2147483647 w 1158"/>
                  <a:gd name="T11" fmla="*/ 2147483647 h 3030"/>
                  <a:gd name="T12" fmla="*/ 2147483647 w 1158"/>
                  <a:gd name="T13" fmla="*/ 2147483647 h 3030"/>
                  <a:gd name="T14" fmla="*/ 2147483647 w 1158"/>
                  <a:gd name="T15" fmla="*/ 2147483647 h 3030"/>
                  <a:gd name="T16" fmla="*/ 2147483647 w 1158"/>
                  <a:gd name="T17" fmla="*/ 2147483647 h 3030"/>
                  <a:gd name="T18" fmla="*/ 2147483647 w 1158"/>
                  <a:gd name="T19" fmla="*/ 2147483647 h 3030"/>
                  <a:gd name="T20" fmla="*/ 2147483647 w 1158"/>
                  <a:gd name="T21" fmla="*/ 2147483647 h 3030"/>
                  <a:gd name="T22" fmla="*/ 2147483647 w 1158"/>
                  <a:gd name="T23" fmla="*/ 2147483647 h 3030"/>
                  <a:gd name="T24" fmla="*/ 2147483647 w 1158"/>
                  <a:gd name="T25" fmla="*/ 2147483647 h 3030"/>
                  <a:gd name="T26" fmla="*/ 2147483647 w 1158"/>
                  <a:gd name="T27" fmla="*/ 2147483647 h 3030"/>
                  <a:gd name="T28" fmla="*/ 2147483647 w 1158"/>
                  <a:gd name="T29" fmla="*/ 2147483647 h 3030"/>
                  <a:gd name="T30" fmla="*/ 2147483647 w 1158"/>
                  <a:gd name="T31" fmla="*/ 2147483647 h 3030"/>
                  <a:gd name="T32" fmla="*/ 2147483647 w 1158"/>
                  <a:gd name="T33" fmla="*/ 2147483647 h 3030"/>
                  <a:gd name="T34" fmla="*/ 2147483647 w 1158"/>
                  <a:gd name="T35" fmla="*/ 2147483647 h 3030"/>
                  <a:gd name="T36" fmla="*/ 2147483647 w 1158"/>
                  <a:gd name="T37" fmla="*/ 2147483647 h 3030"/>
                  <a:gd name="T38" fmla="*/ 2147483647 w 1158"/>
                  <a:gd name="T39" fmla="*/ 2147483647 h 3030"/>
                  <a:gd name="T40" fmla="*/ 2147483647 w 1158"/>
                  <a:gd name="T41" fmla="*/ 2147483647 h 3030"/>
                  <a:gd name="T42" fmla="*/ 2147483647 w 1158"/>
                  <a:gd name="T43" fmla="*/ 2147483647 h 3030"/>
                  <a:gd name="T44" fmla="*/ 2147483647 w 1158"/>
                  <a:gd name="T45" fmla="*/ 2147483647 h 3030"/>
                  <a:gd name="T46" fmla="*/ 2147483647 w 1158"/>
                  <a:gd name="T47" fmla="*/ 2147483647 h 3030"/>
                  <a:gd name="T48" fmla="*/ 2147483647 w 1158"/>
                  <a:gd name="T49" fmla="*/ 2147483647 h 3030"/>
                  <a:gd name="T50" fmla="*/ 2147483647 w 1158"/>
                  <a:gd name="T51" fmla="*/ 2147483647 h 3030"/>
                  <a:gd name="T52" fmla="*/ 2147483647 w 1158"/>
                  <a:gd name="T53" fmla="*/ 2147483647 h 3030"/>
                  <a:gd name="T54" fmla="*/ 2147483647 w 1158"/>
                  <a:gd name="T55" fmla="*/ 2147483647 h 3030"/>
                  <a:gd name="T56" fmla="*/ 2147483647 w 1158"/>
                  <a:gd name="T57" fmla="*/ 2147483647 h 3030"/>
                  <a:gd name="T58" fmla="*/ 2147483647 w 1158"/>
                  <a:gd name="T59" fmla="*/ 2147483647 h 3030"/>
                  <a:gd name="T60" fmla="*/ 2147483647 w 1158"/>
                  <a:gd name="T61" fmla="*/ 2147483647 h 3030"/>
                  <a:gd name="T62" fmla="*/ 2147483647 w 1158"/>
                  <a:gd name="T63" fmla="*/ 2147483647 h 3030"/>
                  <a:gd name="T64" fmla="*/ 2147483647 w 1158"/>
                  <a:gd name="T65" fmla="*/ 2147483647 h 3030"/>
                  <a:gd name="T66" fmla="*/ 2147483647 w 1158"/>
                  <a:gd name="T67" fmla="*/ 2147483647 h 3030"/>
                  <a:gd name="T68" fmla="*/ 2147483647 w 1158"/>
                  <a:gd name="T69" fmla="*/ 2147483647 h 3030"/>
                  <a:gd name="T70" fmla="*/ 2147483647 w 1158"/>
                  <a:gd name="T71" fmla="*/ 2147483647 h 3030"/>
                  <a:gd name="T72" fmla="*/ 2147483647 w 1158"/>
                  <a:gd name="T73" fmla="*/ 2147483647 h 3030"/>
                  <a:gd name="T74" fmla="*/ 2147483647 w 1158"/>
                  <a:gd name="T75" fmla="*/ 2147483647 h 3030"/>
                  <a:gd name="T76" fmla="*/ 2147483647 w 1158"/>
                  <a:gd name="T77" fmla="*/ 2147483647 h 3030"/>
                  <a:gd name="T78" fmla="*/ 0 w 1158"/>
                  <a:gd name="T79" fmla="*/ 2147483647 h 3030"/>
                  <a:gd name="T80" fmla="*/ 2147483647 w 1158"/>
                  <a:gd name="T81" fmla="*/ 2147483647 h 3030"/>
                  <a:gd name="T82" fmla="*/ 2147483647 w 1158"/>
                  <a:gd name="T83" fmla="*/ 2147483647 h 3030"/>
                  <a:gd name="T84" fmla="*/ 2147483647 w 1158"/>
                  <a:gd name="T85" fmla="*/ 2147483647 h 3030"/>
                  <a:gd name="T86" fmla="*/ 2147483647 w 1158"/>
                  <a:gd name="T87" fmla="*/ 2147483647 h 3030"/>
                  <a:gd name="T88" fmla="*/ 2147483647 w 1158"/>
                  <a:gd name="T89" fmla="*/ 2147483647 h 3030"/>
                  <a:gd name="T90" fmla="*/ 2147483647 w 1158"/>
                  <a:gd name="T91" fmla="*/ 2147483647 h 3030"/>
                  <a:gd name="T92" fmla="*/ 2147483647 w 1158"/>
                  <a:gd name="T93" fmla="*/ 2147483647 h 3030"/>
                  <a:gd name="T94" fmla="*/ 2147483647 w 1158"/>
                  <a:gd name="T95" fmla="*/ 2147483647 h 3030"/>
                  <a:gd name="T96" fmla="*/ 2147483647 w 1158"/>
                  <a:gd name="T97" fmla="*/ 2147483647 h 3030"/>
                  <a:gd name="T98" fmla="*/ 2147483647 w 1158"/>
                  <a:gd name="T99" fmla="*/ 2147483647 h 3030"/>
                  <a:gd name="T100" fmla="*/ 2147483647 w 1158"/>
                  <a:gd name="T101" fmla="*/ 2147483647 h 3030"/>
                  <a:gd name="T102" fmla="*/ 2147483647 w 1158"/>
                  <a:gd name="T103" fmla="*/ 2147483647 h 3030"/>
                  <a:gd name="T104" fmla="*/ 2147483647 w 1158"/>
                  <a:gd name="T105" fmla="*/ 2147483647 h 3030"/>
                  <a:gd name="T106" fmla="*/ 2147483647 w 1158"/>
                  <a:gd name="T107" fmla="*/ 2147483647 h 3030"/>
                  <a:gd name="T108" fmla="*/ 2147483647 w 1158"/>
                  <a:gd name="T109" fmla="*/ 2147483647 h 3030"/>
                  <a:gd name="T110" fmla="*/ 2147483647 w 1158"/>
                  <a:gd name="T111" fmla="*/ 2147483647 h 3030"/>
                  <a:gd name="T112" fmla="*/ 2147483647 w 1158"/>
                  <a:gd name="T113" fmla="*/ 2147483647 h 3030"/>
                  <a:gd name="T114" fmla="*/ 2147483647 w 1158"/>
                  <a:gd name="T115" fmla="*/ 2147483647 h 3030"/>
                  <a:gd name="T116" fmla="*/ 2147483647 w 1158"/>
                  <a:gd name="T117" fmla="*/ 2147483647 h 3030"/>
                  <a:gd name="T118" fmla="*/ 2147483647 w 1158"/>
                  <a:gd name="T119" fmla="*/ 2147483647 h 3030"/>
                  <a:gd name="T120" fmla="*/ 2147483647 w 1158"/>
                  <a:gd name="T121" fmla="*/ 2147483647 h 3030"/>
                  <a:gd name="T122" fmla="*/ 2147483647 w 1158"/>
                  <a:gd name="T123" fmla="*/ 2147483647 h 303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158"/>
                  <a:gd name="T187" fmla="*/ 0 h 3030"/>
                  <a:gd name="T188" fmla="*/ 1158 w 1158"/>
                  <a:gd name="T189" fmla="*/ 3030 h 303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158" h="3030">
                    <a:moveTo>
                      <a:pt x="1014" y="2910"/>
                    </a:moveTo>
                    <a:lnTo>
                      <a:pt x="984" y="2898"/>
                    </a:lnTo>
                    <a:lnTo>
                      <a:pt x="966" y="2880"/>
                    </a:lnTo>
                    <a:lnTo>
                      <a:pt x="948" y="2874"/>
                    </a:lnTo>
                    <a:lnTo>
                      <a:pt x="942" y="2862"/>
                    </a:lnTo>
                    <a:lnTo>
                      <a:pt x="936" y="2856"/>
                    </a:lnTo>
                    <a:lnTo>
                      <a:pt x="936" y="2850"/>
                    </a:lnTo>
                    <a:lnTo>
                      <a:pt x="906" y="2850"/>
                    </a:lnTo>
                    <a:lnTo>
                      <a:pt x="912" y="2832"/>
                    </a:lnTo>
                    <a:lnTo>
                      <a:pt x="870" y="2796"/>
                    </a:lnTo>
                    <a:lnTo>
                      <a:pt x="840" y="2802"/>
                    </a:lnTo>
                    <a:lnTo>
                      <a:pt x="828" y="2796"/>
                    </a:lnTo>
                    <a:lnTo>
                      <a:pt x="816" y="2808"/>
                    </a:lnTo>
                    <a:lnTo>
                      <a:pt x="792" y="2814"/>
                    </a:lnTo>
                    <a:lnTo>
                      <a:pt x="798" y="2832"/>
                    </a:lnTo>
                    <a:lnTo>
                      <a:pt x="780" y="2832"/>
                    </a:lnTo>
                    <a:lnTo>
                      <a:pt x="780" y="2862"/>
                    </a:lnTo>
                    <a:lnTo>
                      <a:pt x="786" y="2868"/>
                    </a:lnTo>
                    <a:lnTo>
                      <a:pt x="798" y="2868"/>
                    </a:lnTo>
                    <a:lnTo>
                      <a:pt x="810" y="2862"/>
                    </a:lnTo>
                    <a:lnTo>
                      <a:pt x="816" y="2856"/>
                    </a:lnTo>
                    <a:lnTo>
                      <a:pt x="828" y="2850"/>
                    </a:lnTo>
                    <a:lnTo>
                      <a:pt x="834" y="2844"/>
                    </a:lnTo>
                    <a:lnTo>
                      <a:pt x="858" y="2856"/>
                    </a:lnTo>
                    <a:lnTo>
                      <a:pt x="858" y="2874"/>
                    </a:lnTo>
                    <a:lnTo>
                      <a:pt x="846" y="2880"/>
                    </a:lnTo>
                    <a:lnTo>
                      <a:pt x="828" y="2898"/>
                    </a:lnTo>
                    <a:lnTo>
                      <a:pt x="822" y="2898"/>
                    </a:lnTo>
                    <a:lnTo>
                      <a:pt x="828" y="2904"/>
                    </a:lnTo>
                    <a:lnTo>
                      <a:pt x="882" y="2922"/>
                    </a:lnTo>
                    <a:lnTo>
                      <a:pt x="912" y="2928"/>
                    </a:lnTo>
                    <a:lnTo>
                      <a:pt x="924" y="2934"/>
                    </a:lnTo>
                    <a:lnTo>
                      <a:pt x="906" y="2958"/>
                    </a:lnTo>
                    <a:lnTo>
                      <a:pt x="906" y="2952"/>
                    </a:lnTo>
                    <a:lnTo>
                      <a:pt x="894" y="2940"/>
                    </a:lnTo>
                    <a:lnTo>
                      <a:pt x="876" y="2940"/>
                    </a:lnTo>
                    <a:lnTo>
                      <a:pt x="870" y="2946"/>
                    </a:lnTo>
                    <a:lnTo>
                      <a:pt x="870" y="2952"/>
                    </a:lnTo>
                    <a:lnTo>
                      <a:pt x="852" y="2928"/>
                    </a:lnTo>
                    <a:lnTo>
                      <a:pt x="834" y="2934"/>
                    </a:lnTo>
                    <a:lnTo>
                      <a:pt x="846" y="2946"/>
                    </a:lnTo>
                    <a:lnTo>
                      <a:pt x="816" y="2940"/>
                    </a:lnTo>
                    <a:lnTo>
                      <a:pt x="822" y="2946"/>
                    </a:lnTo>
                    <a:lnTo>
                      <a:pt x="828" y="2958"/>
                    </a:lnTo>
                    <a:lnTo>
                      <a:pt x="834" y="2964"/>
                    </a:lnTo>
                    <a:lnTo>
                      <a:pt x="894" y="2964"/>
                    </a:lnTo>
                    <a:lnTo>
                      <a:pt x="906" y="2970"/>
                    </a:lnTo>
                    <a:lnTo>
                      <a:pt x="1050" y="2970"/>
                    </a:lnTo>
                    <a:lnTo>
                      <a:pt x="1074" y="2982"/>
                    </a:lnTo>
                    <a:lnTo>
                      <a:pt x="1080" y="2988"/>
                    </a:lnTo>
                    <a:lnTo>
                      <a:pt x="1086" y="2988"/>
                    </a:lnTo>
                    <a:lnTo>
                      <a:pt x="1122" y="2970"/>
                    </a:lnTo>
                    <a:lnTo>
                      <a:pt x="1140" y="2976"/>
                    </a:lnTo>
                    <a:lnTo>
                      <a:pt x="1152" y="2976"/>
                    </a:lnTo>
                    <a:lnTo>
                      <a:pt x="1158" y="2952"/>
                    </a:lnTo>
                    <a:lnTo>
                      <a:pt x="1140" y="2952"/>
                    </a:lnTo>
                    <a:lnTo>
                      <a:pt x="1086" y="2940"/>
                    </a:lnTo>
                    <a:lnTo>
                      <a:pt x="1014" y="2910"/>
                    </a:lnTo>
                    <a:close/>
                    <a:moveTo>
                      <a:pt x="990" y="2988"/>
                    </a:moveTo>
                    <a:lnTo>
                      <a:pt x="1014" y="3000"/>
                    </a:lnTo>
                    <a:lnTo>
                      <a:pt x="1068" y="3006"/>
                    </a:lnTo>
                    <a:lnTo>
                      <a:pt x="1038" y="2982"/>
                    </a:lnTo>
                    <a:lnTo>
                      <a:pt x="990" y="2988"/>
                    </a:lnTo>
                    <a:close/>
                    <a:moveTo>
                      <a:pt x="960" y="2994"/>
                    </a:moveTo>
                    <a:lnTo>
                      <a:pt x="966" y="2982"/>
                    </a:lnTo>
                    <a:lnTo>
                      <a:pt x="888" y="2982"/>
                    </a:lnTo>
                    <a:lnTo>
                      <a:pt x="906" y="3012"/>
                    </a:lnTo>
                    <a:lnTo>
                      <a:pt x="936" y="3018"/>
                    </a:lnTo>
                    <a:lnTo>
                      <a:pt x="930" y="3006"/>
                    </a:lnTo>
                    <a:lnTo>
                      <a:pt x="936" y="3000"/>
                    </a:lnTo>
                    <a:lnTo>
                      <a:pt x="948" y="3012"/>
                    </a:lnTo>
                    <a:lnTo>
                      <a:pt x="996" y="3012"/>
                    </a:lnTo>
                    <a:lnTo>
                      <a:pt x="1008" y="3030"/>
                    </a:lnTo>
                    <a:lnTo>
                      <a:pt x="1026" y="3030"/>
                    </a:lnTo>
                    <a:lnTo>
                      <a:pt x="996" y="3000"/>
                    </a:lnTo>
                    <a:lnTo>
                      <a:pt x="960" y="2994"/>
                    </a:lnTo>
                    <a:close/>
                    <a:moveTo>
                      <a:pt x="804" y="2946"/>
                    </a:moveTo>
                    <a:lnTo>
                      <a:pt x="744" y="2940"/>
                    </a:lnTo>
                    <a:lnTo>
                      <a:pt x="750" y="2958"/>
                    </a:lnTo>
                    <a:lnTo>
                      <a:pt x="792" y="2958"/>
                    </a:lnTo>
                    <a:lnTo>
                      <a:pt x="804" y="2976"/>
                    </a:lnTo>
                    <a:lnTo>
                      <a:pt x="864" y="3000"/>
                    </a:lnTo>
                    <a:lnTo>
                      <a:pt x="828" y="2970"/>
                    </a:lnTo>
                    <a:lnTo>
                      <a:pt x="804" y="2946"/>
                    </a:lnTo>
                    <a:close/>
                    <a:moveTo>
                      <a:pt x="804" y="2880"/>
                    </a:moveTo>
                    <a:lnTo>
                      <a:pt x="786" y="2898"/>
                    </a:lnTo>
                    <a:lnTo>
                      <a:pt x="792" y="2928"/>
                    </a:lnTo>
                    <a:lnTo>
                      <a:pt x="816" y="2922"/>
                    </a:lnTo>
                    <a:lnTo>
                      <a:pt x="804" y="2880"/>
                    </a:lnTo>
                    <a:close/>
                    <a:moveTo>
                      <a:pt x="774" y="2928"/>
                    </a:moveTo>
                    <a:lnTo>
                      <a:pt x="768" y="2910"/>
                    </a:lnTo>
                    <a:lnTo>
                      <a:pt x="720" y="2898"/>
                    </a:lnTo>
                    <a:lnTo>
                      <a:pt x="708" y="2916"/>
                    </a:lnTo>
                    <a:lnTo>
                      <a:pt x="708" y="2934"/>
                    </a:lnTo>
                    <a:lnTo>
                      <a:pt x="744" y="2922"/>
                    </a:lnTo>
                    <a:lnTo>
                      <a:pt x="774" y="2928"/>
                    </a:lnTo>
                    <a:close/>
                    <a:moveTo>
                      <a:pt x="612" y="2772"/>
                    </a:moveTo>
                    <a:lnTo>
                      <a:pt x="606" y="2766"/>
                    </a:lnTo>
                    <a:lnTo>
                      <a:pt x="594" y="2766"/>
                    </a:lnTo>
                    <a:lnTo>
                      <a:pt x="588" y="2760"/>
                    </a:lnTo>
                    <a:lnTo>
                      <a:pt x="570" y="2760"/>
                    </a:lnTo>
                    <a:lnTo>
                      <a:pt x="570" y="2766"/>
                    </a:lnTo>
                    <a:lnTo>
                      <a:pt x="564" y="2778"/>
                    </a:lnTo>
                    <a:lnTo>
                      <a:pt x="564" y="2808"/>
                    </a:lnTo>
                    <a:lnTo>
                      <a:pt x="570" y="2808"/>
                    </a:lnTo>
                    <a:lnTo>
                      <a:pt x="576" y="2802"/>
                    </a:lnTo>
                    <a:lnTo>
                      <a:pt x="588" y="2802"/>
                    </a:lnTo>
                    <a:lnTo>
                      <a:pt x="594" y="2796"/>
                    </a:lnTo>
                    <a:lnTo>
                      <a:pt x="600" y="2820"/>
                    </a:lnTo>
                    <a:lnTo>
                      <a:pt x="630" y="2808"/>
                    </a:lnTo>
                    <a:lnTo>
                      <a:pt x="612" y="2790"/>
                    </a:lnTo>
                    <a:lnTo>
                      <a:pt x="618" y="2772"/>
                    </a:lnTo>
                    <a:lnTo>
                      <a:pt x="612" y="2772"/>
                    </a:lnTo>
                    <a:close/>
                    <a:moveTo>
                      <a:pt x="552" y="2826"/>
                    </a:moveTo>
                    <a:lnTo>
                      <a:pt x="516" y="2808"/>
                    </a:lnTo>
                    <a:lnTo>
                      <a:pt x="546" y="2832"/>
                    </a:lnTo>
                    <a:lnTo>
                      <a:pt x="588" y="2844"/>
                    </a:lnTo>
                    <a:lnTo>
                      <a:pt x="606" y="2850"/>
                    </a:lnTo>
                    <a:lnTo>
                      <a:pt x="588" y="2832"/>
                    </a:lnTo>
                    <a:lnTo>
                      <a:pt x="552" y="2826"/>
                    </a:lnTo>
                    <a:close/>
                    <a:moveTo>
                      <a:pt x="552" y="2748"/>
                    </a:moveTo>
                    <a:lnTo>
                      <a:pt x="534" y="2730"/>
                    </a:lnTo>
                    <a:lnTo>
                      <a:pt x="528" y="2766"/>
                    </a:lnTo>
                    <a:lnTo>
                      <a:pt x="504" y="2772"/>
                    </a:lnTo>
                    <a:lnTo>
                      <a:pt x="546" y="2784"/>
                    </a:lnTo>
                    <a:lnTo>
                      <a:pt x="552" y="2748"/>
                    </a:lnTo>
                    <a:close/>
                    <a:moveTo>
                      <a:pt x="444" y="2736"/>
                    </a:moveTo>
                    <a:lnTo>
                      <a:pt x="480" y="2772"/>
                    </a:lnTo>
                    <a:lnTo>
                      <a:pt x="492" y="2760"/>
                    </a:lnTo>
                    <a:lnTo>
                      <a:pt x="462" y="2724"/>
                    </a:lnTo>
                    <a:lnTo>
                      <a:pt x="444" y="2736"/>
                    </a:lnTo>
                    <a:close/>
                    <a:moveTo>
                      <a:pt x="516" y="2724"/>
                    </a:moveTo>
                    <a:lnTo>
                      <a:pt x="504" y="2718"/>
                    </a:lnTo>
                    <a:lnTo>
                      <a:pt x="492" y="2730"/>
                    </a:lnTo>
                    <a:lnTo>
                      <a:pt x="504" y="2748"/>
                    </a:lnTo>
                    <a:lnTo>
                      <a:pt x="516" y="2724"/>
                    </a:lnTo>
                    <a:close/>
                    <a:moveTo>
                      <a:pt x="456" y="2706"/>
                    </a:moveTo>
                    <a:lnTo>
                      <a:pt x="462" y="2676"/>
                    </a:lnTo>
                    <a:lnTo>
                      <a:pt x="456" y="2640"/>
                    </a:lnTo>
                    <a:lnTo>
                      <a:pt x="438" y="2634"/>
                    </a:lnTo>
                    <a:lnTo>
                      <a:pt x="438" y="2652"/>
                    </a:lnTo>
                    <a:lnTo>
                      <a:pt x="408" y="2646"/>
                    </a:lnTo>
                    <a:lnTo>
                      <a:pt x="432" y="2682"/>
                    </a:lnTo>
                    <a:lnTo>
                      <a:pt x="426" y="2724"/>
                    </a:lnTo>
                    <a:lnTo>
                      <a:pt x="456" y="2706"/>
                    </a:lnTo>
                    <a:close/>
                    <a:moveTo>
                      <a:pt x="366" y="2622"/>
                    </a:moveTo>
                    <a:lnTo>
                      <a:pt x="384" y="2628"/>
                    </a:lnTo>
                    <a:lnTo>
                      <a:pt x="390" y="2658"/>
                    </a:lnTo>
                    <a:lnTo>
                      <a:pt x="396" y="2628"/>
                    </a:lnTo>
                    <a:lnTo>
                      <a:pt x="402" y="2604"/>
                    </a:lnTo>
                    <a:lnTo>
                      <a:pt x="372" y="2598"/>
                    </a:lnTo>
                    <a:lnTo>
                      <a:pt x="366" y="2622"/>
                    </a:lnTo>
                    <a:close/>
                    <a:moveTo>
                      <a:pt x="372" y="2586"/>
                    </a:moveTo>
                    <a:lnTo>
                      <a:pt x="378" y="2586"/>
                    </a:lnTo>
                    <a:lnTo>
                      <a:pt x="378" y="2580"/>
                    </a:lnTo>
                    <a:lnTo>
                      <a:pt x="384" y="2574"/>
                    </a:lnTo>
                    <a:lnTo>
                      <a:pt x="414" y="2598"/>
                    </a:lnTo>
                    <a:lnTo>
                      <a:pt x="414" y="2574"/>
                    </a:lnTo>
                    <a:lnTo>
                      <a:pt x="384" y="2544"/>
                    </a:lnTo>
                    <a:lnTo>
                      <a:pt x="378" y="2532"/>
                    </a:lnTo>
                    <a:lnTo>
                      <a:pt x="372" y="2526"/>
                    </a:lnTo>
                    <a:lnTo>
                      <a:pt x="360" y="2502"/>
                    </a:lnTo>
                    <a:lnTo>
                      <a:pt x="360" y="2490"/>
                    </a:lnTo>
                    <a:lnTo>
                      <a:pt x="342" y="2454"/>
                    </a:lnTo>
                    <a:lnTo>
                      <a:pt x="330" y="2448"/>
                    </a:lnTo>
                    <a:lnTo>
                      <a:pt x="324" y="2442"/>
                    </a:lnTo>
                    <a:lnTo>
                      <a:pt x="318" y="2442"/>
                    </a:lnTo>
                    <a:lnTo>
                      <a:pt x="312" y="2448"/>
                    </a:lnTo>
                    <a:lnTo>
                      <a:pt x="312" y="2454"/>
                    </a:lnTo>
                    <a:lnTo>
                      <a:pt x="294" y="2448"/>
                    </a:lnTo>
                    <a:lnTo>
                      <a:pt x="288" y="2454"/>
                    </a:lnTo>
                    <a:lnTo>
                      <a:pt x="288" y="2466"/>
                    </a:lnTo>
                    <a:lnTo>
                      <a:pt x="282" y="2472"/>
                    </a:lnTo>
                    <a:lnTo>
                      <a:pt x="282" y="2490"/>
                    </a:lnTo>
                    <a:lnTo>
                      <a:pt x="330" y="2490"/>
                    </a:lnTo>
                    <a:lnTo>
                      <a:pt x="312" y="2532"/>
                    </a:lnTo>
                    <a:lnTo>
                      <a:pt x="324" y="2532"/>
                    </a:lnTo>
                    <a:lnTo>
                      <a:pt x="348" y="2508"/>
                    </a:lnTo>
                    <a:lnTo>
                      <a:pt x="342" y="2532"/>
                    </a:lnTo>
                    <a:lnTo>
                      <a:pt x="342" y="2538"/>
                    </a:lnTo>
                    <a:lnTo>
                      <a:pt x="348" y="2544"/>
                    </a:lnTo>
                    <a:lnTo>
                      <a:pt x="366" y="2580"/>
                    </a:lnTo>
                    <a:lnTo>
                      <a:pt x="366" y="2586"/>
                    </a:lnTo>
                    <a:lnTo>
                      <a:pt x="372" y="2586"/>
                    </a:lnTo>
                    <a:close/>
                    <a:moveTo>
                      <a:pt x="246" y="2082"/>
                    </a:moveTo>
                    <a:lnTo>
                      <a:pt x="246" y="2034"/>
                    </a:lnTo>
                    <a:lnTo>
                      <a:pt x="216" y="2004"/>
                    </a:lnTo>
                    <a:lnTo>
                      <a:pt x="234" y="1992"/>
                    </a:lnTo>
                    <a:lnTo>
                      <a:pt x="210" y="1968"/>
                    </a:lnTo>
                    <a:lnTo>
                      <a:pt x="174" y="1956"/>
                    </a:lnTo>
                    <a:lnTo>
                      <a:pt x="174" y="1986"/>
                    </a:lnTo>
                    <a:lnTo>
                      <a:pt x="180" y="1998"/>
                    </a:lnTo>
                    <a:lnTo>
                      <a:pt x="180" y="2004"/>
                    </a:lnTo>
                    <a:lnTo>
                      <a:pt x="192" y="2016"/>
                    </a:lnTo>
                    <a:lnTo>
                      <a:pt x="198" y="2028"/>
                    </a:lnTo>
                    <a:lnTo>
                      <a:pt x="204" y="2034"/>
                    </a:lnTo>
                    <a:lnTo>
                      <a:pt x="204" y="2046"/>
                    </a:lnTo>
                    <a:lnTo>
                      <a:pt x="198" y="2064"/>
                    </a:lnTo>
                    <a:lnTo>
                      <a:pt x="246" y="2082"/>
                    </a:lnTo>
                    <a:close/>
                    <a:moveTo>
                      <a:pt x="246" y="2178"/>
                    </a:moveTo>
                    <a:lnTo>
                      <a:pt x="258" y="2190"/>
                    </a:lnTo>
                    <a:lnTo>
                      <a:pt x="282" y="2190"/>
                    </a:lnTo>
                    <a:lnTo>
                      <a:pt x="294" y="2172"/>
                    </a:lnTo>
                    <a:lnTo>
                      <a:pt x="264" y="2178"/>
                    </a:lnTo>
                    <a:lnTo>
                      <a:pt x="246" y="2178"/>
                    </a:lnTo>
                    <a:close/>
                    <a:moveTo>
                      <a:pt x="282" y="2220"/>
                    </a:moveTo>
                    <a:lnTo>
                      <a:pt x="282" y="2238"/>
                    </a:lnTo>
                    <a:lnTo>
                      <a:pt x="306" y="2256"/>
                    </a:lnTo>
                    <a:lnTo>
                      <a:pt x="306" y="2232"/>
                    </a:lnTo>
                    <a:lnTo>
                      <a:pt x="294" y="2208"/>
                    </a:lnTo>
                    <a:lnTo>
                      <a:pt x="258" y="2208"/>
                    </a:lnTo>
                    <a:lnTo>
                      <a:pt x="282" y="2220"/>
                    </a:lnTo>
                    <a:close/>
                    <a:moveTo>
                      <a:pt x="318" y="2190"/>
                    </a:moveTo>
                    <a:lnTo>
                      <a:pt x="324" y="2184"/>
                    </a:lnTo>
                    <a:lnTo>
                      <a:pt x="336" y="2178"/>
                    </a:lnTo>
                    <a:lnTo>
                      <a:pt x="348" y="2166"/>
                    </a:lnTo>
                    <a:lnTo>
                      <a:pt x="336" y="2154"/>
                    </a:lnTo>
                    <a:lnTo>
                      <a:pt x="324" y="2154"/>
                    </a:lnTo>
                    <a:lnTo>
                      <a:pt x="312" y="2160"/>
                    </a:lnTo>
                    <a:lnTo>
                      <a:pt x="306" y="2166"/>
                    </a:lnTo>
                    <a:lnTo>
                      <a:pt x="306" y="2184"/>
                    </a:lnTo>
                    <a:lnTo>
                      <a:pt x="312" y="2190"/>
                    </a:lnTo>
                    <a:lnTo>
                      <a:pt x="318" y="2190"/>
                    </a:lnTo>
                    <a:close/>
                    <a:moveTo>
                      <a:pt x="252" y="2112"/>
                    </a:moveTo>
                    <a:lnTo>
                      <a:pt x="240" y="2118"/>
                    </a:lnTo>
                    <a:lnTo>
                      <a:pt x="240" y="2136"/>
                    </a:lnTo>
                    <a:lnTo>
                      <a:pt x="252" y="2136"/>
                    </a:lnTo>
                    <a:lnTo>
                      <a:pt x="264" y="2124"/>
                    </a:lnTo>
                    <a:lnTo>
                      <a:pt x="264" y="2106"/>
                    </a:lnTo>
                    <a:lnTo>
                      <a:pt x="258" y="2106"/>
                    </a:lnTo>
                    <a:lnTo>
                      <a:pt x="252" y="2112"/>
                    </a:lnTo>
                    <a:close/>
                    <a:moveTo>
                      <a:pt x="234" y="2154"/>
                    </a:moveTo>
                    <a:lnTo>
                      <a:pt x="216" y="2154"/>
                    </a:lnTo>
                    <a:lnTo>
                      <a:pt x="228" y="2178"/>
                    </a:lnTo>
                    <a:lnTo>
                      <a:pt x="234" y="2154"/>
                    </a:lnTo>
                    <a:close/>
                    <a:moveTo>
                      <a:pt x="714" y="2874"/>
                    </a:moveTo>
                    <a:lnTo>
                      <a:pt x="726" y="2874"/>
                    </a:lnTo>
                    <a:lnTo>
                      <a:pt x="726" y="2886"/>
                    </a:lnTo>
                    <a:lnTo>
                      <a:pt x="768" y="2886"/>
                    </a:lnTo>
                    <a:lnTo>
                      <a:pt x="774" y="2880"/>
                    </a:lnTo>
                    <a:lnTo>
                      <a:pt x="774" y="2874"/>
                    </a:lnTo>
                    <a:lnTo>
                      <a:pt x="744" y="2844"/>
                    </a:lnTo>
                    <a:lnTo>
                      <a:pt x="744" y="2808"/>
                    </a:lnTo>
                    <a:lnTo>
                      <a:pt x="786" y="2802"/>
                    </a:lnTo>
                    <a:lnTo>
                      <a:pt x="780" y="2790"/>
                    </a:lnTo>
                    <a:lnTo>
                      <a:pt x="804" y="2790"/>
                    </a:lnTo>
                    <a:lnTo>
                      <a:pt x="816" y="2772"/>
                    </a:lnTo>
                    <a:lnTo>
                      <a:pt x="792" y="2754"/>
                    </a:lnTo>
                    <a:lnTo>
                      <a:pt x="696" y="2754"/>
                    </a:lnTo>
                    <a:lnTo>
                      <a:pt x="684" y="2760"/>
                    </a:lnTo>
                    <a:lnTo>
                      <a:pt x="672" y="2760"/>
                    </a:lnTo>
                    <a:lnTo>
                      <a:pt x="654" y="2742"/>
                    </a:lnTo>
                    <a:lnTo>
                      <a:pt x="618" y="2724"/>
                    </a:lnTo>
                    <a:lnTo>
                      <a:pt x="606" y="2706"/>
                    </a:lnTo>
                    <a:lnTo>
                      <a:pt x="588" y="2682"/>
                    </a:lnTo>
                    <a:lnTo>
                      <a:pt x="588" y="2658"/>
                    </a:lnTo>
                    <a:lnTo>
                      <a:pt x="576" y="2646"/>
                    </a:lnTo>
                    <a:lnTo>
                      <a:pt x="564" y="2640"/>
                    </a:lnTo>
                    <a:lnTo>
                      <a:pt x="546" y="2640"/>
                    </a:lnTo>
                    <a:lnTo>
                      <a:pt x="534" y="2652"/>
                    </a:lnTo>
                    <a:lnTo>
                      <a:pt x="528" y="2652"/>
                    </a:lnTo>
                    <a:lnTo>
                      <a:pt x="516" y="2646"/>
                    </a:lnTo>
                    <a:lnTo>
                      <a:pt x="510" y="2640"/>
                    </a:lnTo>
                    <a:lnTo>
                      <a:pt x="510" y="2628"/>
                    </a:lnTo>
                    <a:lnTo>
                      <a:pt x="504" y="2622"/>
                    </a:lnTo>
                    <a:lnTo>
                      <a:pt x="504" y="2616"/>
                    </a:lnTo>
                    <a:lnTo>
                      <a:pt x="474" y="2610"/>
                    </a:lnTo>
                    <a:lnTo>
                      <a:pt x="474" y="2574"/>
                    </a:lnTo>
                    <a:lnTo>
                      <a:pt x="468" y="2568"/>
                    </a:lnTo>
                    <a:lnTo>
                      <a:pt x="462" y="2556"/>
                    </a:lnTo>
                    <a:lnTo>
                      <a:pt x="462" y="2544"/>
                    </a:lnTo>
                    <a:lnTo>
                      <a:pt x="474" y="2538"/>
                    </a:lnTo>
                    <a:lnTo>
                      <a:pt x="474" y="2514"/>
                    </a:lnTo>
                    <a:lnTo>
                      <a:pt x="480" y="2514"/>
                    </a:lnTo>
                    <a:lnTo>
                      <a:pt x="486" y="2508"/>
                    </a:lnTo>
                    <a:lnTo>
                      <a:pt x="492" y="2508"/>
                    </a:lnTo>
                    <a:lnTo>
                      <a:pt x="498" y="2502"/>
                    </a:lnTo>
                    <a:lnTo>
                      <a:pt x="498" y="2496"/>
                    </a:lnTo>
                    <a:lnTo>
                      <a:pt x="474" y="2472"/>
                    </a:lnTo>
                    <a:lnTo>
                      <a:pt x="480" y="2466"/>
                    </a:lnTo>
                    <a:lnTo>
                      <a:pt x="492" y="2460"/>
                    </a:lnTo>
                    <a:lnTo>
                      <a:pt x="498" y="2460"/>
                    </a:lnTo>
                    <a:lnTo>
                      <a:pt x="498" y="2454"/>
                    </a:lnTo>
                    <a:lnTo>
                      <a:pt x="474" y="2430"/>
                    </a:lnTo>
                    <a:lnTo>
                      <a:pt x="468" y="2430"/>
                    </a:lnTo>
                    <a:lnTo>
                      <a:pt x="474" y="2388"/>
                    </a:lnTo>
                    <a:lnTo>
                      <a:pt x="486" y="2382"/>
                    </a:lnTo>
                    <a:lnTo>
                      <a:pt x="474" y="2358"/>
                    </a:lnTo>
                    <a:lnTo>
                      <a:pt x="480" y="2322"/>
                    </a:lnTo>
                    <a:lnTo>
                      <a:pt x="456" y="2298"/>
                    </a:lnTo>
                    <a:lnTo>
                      <a:pt x="462" y="2274"/>
                    </a:lnTo>
                    <a:lnTo>
                      <a:pt x="438" y="2256"/>
                    </a:lnTo>
                    <a:lnTo>
                      <a:pt x="450" y="2244"/>
                    </a:lnTo>
                    <a:lnTo>
                      <a:pt x="456" y="2232"/>
                    </a:lnTo>
                    <a:lnTo>
                      <a:pt x="462" y="2226"/>
                    </a:lnTo>
                    <a:lnTo>
                      <a:pt x="438" y="2202"/>
                    </a:lnTo>
                    <a:lnTo>
                      <a:pt x="426" y="2202"/>
                    </a:lnTo>
                    <a:lnTo>
                      <a:pt x="420" y="2196"/>
                    </a:lnTo>
                    <a:lnTo>
                      <a:pt x="408" y="2190"/>
                    </a:lnTo>
                    <a:lnTo>
                      <a:pt x="402" y="2190"/>
                    </a:lnTo>
                    <a:lnTo>
                      <a:pt x="396" y="2184"/>
                    </a:lnTo>
                    <a:lnTo>
                      <a:pt x="414" y="2184"/>
                    </a:lnTo>
                    <a:lnTo>
                      <a:pt x="426" y="2178"/>
                    </a:lnTo>
                    <a:lnTo>
                      <a:pt x="438" y="2178"/>
                    </a:lnTo>
                    <a:lnTo>
                      <a:pt x="444" y="2172"/>
                    </a:lnTo>
                    <a:lnTo>
                      <a:pt x="444" y="2166"/>
                    </a:lnTo>
                    <a:lnTo>
                      <a:pt x="432" y="2160"/>
                    </a:lnTo>
                    <a:lnTo>
                      <a:pt x="402" y="2160"/>
                    </a:lnTo>
                    <a:lnTo>
                      <a:pt x="390" y="2148"/>
                    </a:lnTo>
                    <a:lnTo>
                      <a:pt x="390" y="2118"/>
                    </a:lnTo>
                    <a:lnTo>
                      <a:pt x="384" y="2106"/>
                    </a:lnTo>
                    <a:lnTo>
                      <a:pt x="384" y="2100"/>
                    </a:lnTo>
                    <a:lnTo>
                      <a:pt x="378" y="2094"/>
                    </a:lnTo>
                    <a:lnTo>
                      <a:pt x="366" y="2088"/>
                    </a:lnTo>
                    <a:lnTo>
                      <a:pt x="360" y="2088"/>
                    </a:lnTo>
                    <a:lnTo>
                      <a:pt x="366" y="2058"/>
                    </a:lnTo>
                    <a:lnTo>
                      <a:pt x="342" y="2046"/>
                    </a:lnTo>
                    <a:lnTo>
                      <a:pt x="336" y="2040"/>
                    </a:lnTo>
                    <a:lnTo>
                      <a:pt x="336" y="2028"/>
                    </a:lnTo>
                    <a:lnTo>
                      <a:pt x="330" y="2016"/>
                    </a:lnTo>
                    <a:lnTo>
                      <a:pt x="330" y="1998"/>
                    </a:lnTo>
                    <a:lnTo>
                      <a:pt x="324" y="1986"/>
                    </a:lnTo>
                    <a:lnTo>
                      <a:pt x="324" y="1974"/>
                    </a:lnTo>
                    <a:lnTo>
                      <a:pt x="330" y="1968"/>
                    </a:lnTo>
                    <a:lnTo>
                      <a:pt x="342" y="1962"/>
                    </a:lnTo>
                    <a:lnTo>
                      <a:pt x="348" y="1962"/>
                    </a:lnTo>
                    <a:lnTo>
                      <a:pt x="336" y="1950"/>
                    </a:lnTo>
                    <a:lnTo>
                      <a:pt x="324" y="1944"/>
                    </a:lnTo>
                    <a:lnTo>
                      <a:pt x="306" y="1926"/>
                    </a:lnTo>
                    <a:lnTo>
                      <a:pt x="300" y="1914"/>
                    </a:lnTo>
                    <a:lnTo>
                      <a:pt x="300" y="1890"/>
                    </a:lnTo>
                    <a:lnTo>
                      <a:pt x="294" y="1878"/>
                    </a:lnTo>
                    <a:lnTo>
                      <a:pt x="288" y="1872"/>
                    </a:lnTo>
                    <a:lnTo>
                      <a:pt x="288" y="1842"/>
                    </a:lnTo>
                    <a:lnTo>
                      <a:pt x="294" y="1836"/>
                    </a:lnTo>
                    <a:lnTo>
                      <a:pt x="294" y="1824"/>
                    </a:lnTo>
                    <a:lnTo>
                      <a:pt x="276" y="1812"/>
                    </a:lnTo>
                    <a:lnTo>
                      <a:pt x="276" y="1806"/>
                    </a:lnTo>
                    <a:lnTo>
                      <a:pt x="282" y="1794"/>
                    </a:lnTo>
                    <a:lnTo>
                      <a:pt x="282" y="1788"/>
                    </a:lnTo>
                    <a:lnTo>
                      <a:pt x="264" y="1770"/>
                    </a:lnTo>
                    <a:lnTo>
                      <a:pt x="282" y="1758"/>
                    </a:lnTo>
                    <a:lnTo>
                      <a:pt x="270" y="1716"/>
                    </a:lnTo>
                    <a:lnTo>
                      <a:pt x="276" y="1716"/>
                    </a:lnTo>
                    <a:lnTo>
                      <a:pt x="282" y="1710"/>
                    </a:lnTo>
                    <a:lnTo>
                      <a:pt x="294" y="1704"/>
                    </a:lnTo>
                    <a:lnTo>
                      <a:pt x="300" y="1692"/>
                    </a:lnTo>
                    <a:lnTo>
                      <a:pt x="300" y="1686"/>
                    </a:lnTo>
                    <a:lnTo>
                      <a:pt x="282" y="1668"/>
                    </a:lnTo>
                    <a:lnTo>
                      <a:pt x="276" y="1668"/>
                    </a:lnTo>
                    <a:lnTo>
                      <a:pt x="276" y="1650"/>
                    </a:lnTo>
                    <a:lnTo>
                      <a:pt x="246" y="1626"/>
                    </a:lnTo>
                    <a:lnTo>
                      <a:pt x="246" y="1578"/>
                    </a:lnTo>
                    <a:lnTo>
                      <a:pt x="240" y="1566"/>
                    </a:lnTo>
                    <a:lnTo>
                      <a:pt x="234" y="1548"/>
                    </a:lnTo>
                    <a:lnTo>
                      <a:pt x="234" y="1536"/>
                    </a:lnTo>
                    <a:lnTo>
                      <a:pt x="228" y="1530"/>
                    </a:lnTo>
                    <a:lnTo>
                      <a:pt x="228" y="1524"/>
                    </a:lnTo>
                    <a:lnTo>
                      <a:pt x="252" y="1518"/>
                    </a:lnTo>
                    <a:lnTo>
                      <a:pt x="258" y="1500"/>
                    </a:lnTo>
                    <a:lnTo>
                      <a:pt x="258" y="1494"/>
                    </a:lnTo>
                    <a:lnTo>
                      <a:pt x="264" y="1482"/>
                    </a:lnTo>
                    <a:lnTo>
                      <a:pt x="264" y="1470"/>
                    </a:lnTo>
                    <a:lnTo>
                      <a:pt x="258" y="1464"/>
                    </a:lnTo>
                    <a:lnTo>
                      <a:pt x="252" y="1452"/>
                    </a:lnTo>
                    <a:lnTo>
                      <a:pt x="246" y="1446"/>
                    </a:lnTo>
                    <a:lnTo>
                      <a:pt x="240" y="1434"/>
                    </a:lnTo>
                    <a:lnTo>
                      <a:pt x="234" y="1428"/>
                    </a:lnTo>
                    <a:lnTo>
                      <a:pt x="246" y="1428"/>
                    </a:lnTo>
                    <a:lnTo>
                      <a:pt x="246" y="1398"/>
                    </a:lnTo>
                    <a:lnTo>
                      <a:pt x="252" y="1380"/>
                    </a:lnTo>
                    <a:lnTo>
                      <a:pt x="252" y="1356"/>
                    </a:lnTo>
                    <a:lnTo>
                      <a:pt x="270" y="1338"/>
                    </a:lnTo>
                    <a:lnTo>
                      <a:pt x="270" y="1332"/>
                    </a:lnTo>
                    <a:lnTo>
                      <a:pt x="264" y="1320"/>
                    </a:lnTo>
                    <a:lnTo>
                      <a:pt x="258" y="1314"/>
                    </a:lnTo>
                    <a:lnTo>
                      <a:pt x="252" y="1302"/>
                    </a:lnTo>
                    <a:lnTo>
                      <a:pt x="246" y="1260"/>
                    </a:lnTo>
                    <a:lnTo>
                      <a:pt x="222" y="1260"/>
                    </a:lnTo>
                    <a:lnTo>
                      <a:pt x="210" y="1248"/>
                    </a:lnTo>
                    <a:lnTo>
                      <a:pt x="210" y="1236"/>
                    </a:lnTo>
                    <a:lnTo>
                      <a:pt x="216" y="1230"/>
                    </a:lnTo>
                    <a:lnTo>
                      <a:pt x="210" y="1218"/>
                    </a:lnTo>
                    <a:lnTo>
                      <a:pt x="198" y="1188"/>
                    </a:lnTo>
                    <a:lnTo>
                      <a:pt x="180" y="1170"/>
                    </a:lnTo>
                    <a:lnTo>
                      <a:pt x="180" y="1164"/>
                    </a:lnTo>
                    <a:lnTo>
                      <a:pt x="186" y="1158"/>
                    </a:lnTo>
                    <a:lnTo>
                      <a:pt x="186" y="1146"/>
                    </a:lnTo>
                    <a:lnTo>
                      <a:pt x="168" y="1128"/>
                    </a:lnTo>
                    <a:lnTo>
                      <a:pt x="156" y="1122"/>
                    </a:lnTo>
                    <a:lnTo>
                      <a:pt x="156" y="1116"/>
                    </a:lnTo>
                    <a:lnTo>
                      <a:pt x="150" y="1110"/>
                    </a:lnTo>
                    <a:lnTo>
                      <a:pt x="150" y="1086"/>
                    </a:lnTo>
                    <a:lnTo>
                      <a:pt x="156" y="1086"/>
                    </a:lnTo>
                    <a:lnTo>
                      <a:pt x="168" y="1080"/>
                    </a:lnTo>
                    <a:lnTo>
                      <a:pt x="162" y="1026"/>
                    </a:lnTo>
                    <a:lnTo>
                      <a:pt x="186" y="1026"/>
                    </a:lnTo>
                    <a:lnTo>
                      <a:pt x="186" y="1020"/>
                    </a:lnTo>
                    <a:lnTo>
                      <a:pt x="180" y="1008"/>
                    </a:lnTo>
                    <a:lnTo>
                      <a:pt x="168" y="972"/>
                    </a:lnTo>
                    <a:lnTo>
                      <a:pt x="156" y="948"/>
                    </a:lnTo>
                    <a:lnTo>
                      <a:pt x="156" y="936"/>
                    </a:lnTo>
                    <a:lnTo>
                      <a:pt x="168" y="924"/>
                    </a:lnTo>
                    <a:lnTo>
                      <a:pt x="168" y="858"/>
                    </a:lnTo>
                    <a:lnTo>
                      <a:pt x="174" y="852"/>
                    </a:lnTo>
                    <a:lnTo>
                      <a:pt x="180" y="840"/>
                    </a:lnTo>
                    <a:lnTo>
                      <a:pt x="192" y="828"/>
                    </a:lnTo>
                    <a:lnTo>
                      <a:pt x="192" y="816"/>
                    </a:lnTo>
                    <a:lnTo>
                      <a:pt x="198" y="804"/>
                    </a:lnTo>
                    <a:lnTo>
                      <a:pt x="198" y="792"/>
                    </a:lnTo>
                    <a:lnTo>
                      <a:pt x="204" y="774"/>
                    </a:lnTo>
                    <a:lnTo>
                      <a:pt x="204" y="762"/>
                    </a:lnTo>
                    <a:lnTo>
                      <a:pt x="222" y="762"/>
                    </a:lnTo>
                    <a:lnTo>
                      <a:pt x="228" y="756"/>
                    </a:lnTo>
                    <a:lnTo>
                      <a:pt x="240" y="750"/>
                    </a:lnTo>
                    <a:lnTo>
                      <a:pt x="240" y="738"/>
                    </a:lnTo>
                    <a:lnTo>
                      <a:pt x="234" y="726"/>
                    </a:lnTo>
                    <a:lnTo>
                      <a:pt x="210" y="714"/>
                    </a:lnTo>
                    <a:lnTo>
                      <a:pt x="204" y="708"/>
                    </a:lnTo>
                    <a:lnTo>
                      <a:pt x="198" y="708"/>
                    </a:lnTo>
                    <a:lnTo>
                      <a:pt x="204" y="708"/>
                    </a:lnTo>
                    <a:lnTo>
                      <a:pt x="216" y="696"/>
                    </a:lnTo>
                    <a:lnTo>
                      <a:pt x="222" y="684"/>
                    </a:lnTo>
                    <a:lnTo>
                      <a:pt x="228" y="678"/>
                    </a:lnTo>
                    <a:lnTo>
                      <a:pt x="222" y="666"/>
                    </a:lnTo>
                    <a:lnTo>
                      <a:pt x="210" y="654"/>
                    </a:lnTo>
                    <a:lnTo>
                      <a:pt x="198" y="648"/>
                    </a:lnTo>
                    <a:lnTo>
                      <a:pt x="192" y="642"/>
                    </a:lnTo>
                    <a:lnTo>
                      <a:pt x="192" y="624"/>
                    </a:lnTo>
                    <a:lnTo>
                      <a:pt x="216" y="600"/>
                    </a:lnTo>
                    <a:lnTo>
                      <a:pt x="216" y="594"/>
                    </a:lnTo>
                    <a:lnTo>
                      <a:pt x="204" y="594"/>
                    </a:lnTo>
                    <a:lnTo>
                      <a:pt x="192" y="588"/>
                    </a:lnTo>
                    <a:lnTo>
                      <a:pt x="186" y="582"/>
                    </a:lnTo>
                    <a:lnTo>
                      <a:pt x="186" y="576"/>
                    </a:lnTo>
                    <a:lnTo>
                      <a:pt x="192" y="570"/>
                    </a:lnTo>
                    <a:lnTo>
                      <a:pt x="198" y="558"/>
                    </a:lnTo>
                    <a:lnTo>
                      <a:pt x="210" y="552"/>
                    </a:lnTo>
                    <a:lnTo>
                      <a:pt x="222" y="540"/>
                    </a:lnTo>
                    <a:lnTo>
                      <a:pt x="240" y="534"/>
                    </a:lnTo>
                    <a:lnTo>
                      <a:pt x="252" y="528"/>
                    </a:lnTo>
                    <a:lnTo>
                      <a:pt x="258" y="522"/>
                    </a:lnTo>
                    <a:lnTo>
                      <a:pt x="264" y="522"/>
                    </a:lnTo>
                    <a:lnTo>
                      <a:pt x="276" y="438"/>
                    </a:lnTo>
                    <a:lnTo>
                      <a:pt x="264" y="420"/>
                    </a:lnTo>
                    <a:lnTo>
                      <a:pt x="222" y="420"/>
                    </a:lnTo>
                    <a:lnTo>
                      <a:pt x="216" y="408"/>
                    </a:lnTo>
                    <a:lnTo>
                      <a:pt x="216" y="384"/>
                    </a:lnTo>
                    <a:lnTo>
                      <a:pt x="192" y="360"/>
                    </a:lnTo>
                    <a:lnTo>
                      <a:pt x="192" y="294"/>
                    </a:lnTo>
                    <a:lnTo>
                      <a:pt x="186" y="288"/>
                    </a:lnTo>
                    <a:lnTo>
                      <a:pt x="174" y="282"/>
                    </a:lnTo>
                    <a:lnTo>
                      <a:pt x="168" y="276"/>
                    </a:lnTo>
                    <a:lnTo>
                      <a:pt x="156" y="270"/>
                    </a:lnTo>
                    <a:lnTo>
                      <a:pt x="150" y="264"/>
                    </a:lnTo>
                    <a:lnTo>
                      <a:pt x="144" y="264"/>
                    </a:lnTo>
                    <a:lnTo>
                      <a:pt x="144" y="240"/>
                    </a:lnTo>
                    <a:lnTo>
                      <a:pt x="138" y="234"/>
                    </a:lnTo>
                    <a:lnTo>
                      <a:pt x="132" y="222"/>
                    </a:lnTo>
                    <a:lnTo>
                      <a:pt x="132" y="210"/>
                    </a:lnTo>
                    <a:lnTo>
                      <a:pt x="138" y="204"/>
                    </a:lnTo>
                    <a:lnTo>
                      <a:pt x="144" y="192"/>
                    </a:lnTo>
                    <a:lnTo>
                      <a:pt x="150" y="186"/>
                    </a:lnTo>
                    <a:lnTo>
                      <a:pt x="132" y="168"/>
                    </a:lnTo>
                    <a:lnTo>
                      <a:pt x="144" y="156"/>
                    </a:lnTo>
                    <a:lnTo>
                      <a:pt x="150" y="144"/>
                    </a:lnTo>
                    <a:lnTo>
                      <a:pt x="150" y="138"/>
                    </a:lnTo>
                    <a:lnTo>
                      <a:pt x="144" y="126"/>
                    </a:lnTo>
                    <a:lnTo>
                      <a:pt x="120" y="114"/>
                    </a:lnTo>
                    <a:lnTo>
                      <a:pt x="114" y="114"/>
                    </a:lnTo>
                    <a:lnTo>
                      <a:pt x="102" y="108"/>
                    </a:lnTo>
                    <a:lnTo>
                      <a:pt x="90" y="30"/>
                    </a:lnTo>
                    <a:lnTo>
                      <a:pt x="66" y="30"/>
                    </a:lnTo>
                    <a:lnTo>
                      <a:pt x="48" y="0"/>
                    </a:lnTo>
                    <a:lnTo>
                      <a:pt x="36" y="6"/>
                    </a:lnTo>
                    <a:lnTo>
                      <a:pt x="42" y="18"/>
                    </a:lnTo>
                    <a:lnTo>
                      <a:pt x="42" y="36"/>
                    </a:lnTo>
                    <a:lnTo>
                      <a:pt x="36" y="42"/>
                    </a:lnTo>
                    <a:lnTo>
                      <a:pt x="0" y="66"/>
                    </a:lnTo>
                    <a:lnTo>
                      <a:pt x="0" y="108"/>
                    </a:lnTo>
                    <a:lnTo>
                      <a:pt x="24" y="156"/>
                    </a:lnTo>
                    <a:lnTo>
                      <a:pt x="30" y="174"/>
                    </a:lnTo>
                    <a:lnTo>
                      <a:pt x="36" y="228"/>
                    </a:lnTo>
                    <a:lnTo>
                      <a:pt x="36" y="282"/>
                    </a:lnTo>
                    <a:lnTo>
                      <a:pt x="48" y="318"/>
                    </a:lnTo>
                    <a:lnTo>
                      <a:pt x="48" y="360"/>
                    </a:lnTo>
                    <a:lnTo>
                      <a:pt x="54" y="384"/>
                    </a:lnTo>
                    <a:lnTo>
                      <a:pt x="54" y="432"/>
                    </a:lnTo>
                    <a:lnTo>
                      <a:pt x="30" y="444"/>
                    </a:lnTo>
                    <a:lnTo>
                      <a:pt x="36" y="474"/>
                    </a:lnTo>
                    <a:lnTo>
                      <a:pt x="54" y="486"/>
                    </a:lnTo>
                    <a:lnTo>
                      <a:pt x="48" y="582"/>
                    </a:lnTo>
                    <a:lnTo>
                      <a:pt x="72" y="624"/>
                    </a:lnTo>
                    <a:lnTo>
                      <a:pt x="54" y="642"/>
                    </a:lnTo>
                    <a:lnTo>
                      <a:pt x="60" y="702"/>
                    </a:lnTo>
                    <a:lnTo>
                      <a:pt x="66" y="708"/>
                    </a:lnTo>
                    <a:lnTo>
                      <a:pt x="78" y="732"/>
                    </a:lnTo>
                    <a:lnTo>
                      <a:pt x="78" y="744"/>
                    </a:lnTo>
                    <a:lnTo>
                      <a:pt x="72" y="756"/>
                    </a:lnTo>
                    <a:lnTo>
                      <a:pt x="66" y="762"/>
                    </a:lnTo>
                    <a:lnTo>
                      <a:pt x="60" y="762"/>
                    </a:lnTo>
                    <a:lnTo>
                      <a:pt x="60" y="792"/>
                    </a:lnTo>
                    <a:lnTo>
                      <a:pt x="72" y="810"/>
                    </a:lnTo>
                    <a:lnTo>
                      <a:pt x="60" y="822"/>
                    </a:lnTo>
                    <a:lnTo>
                      <a:pt x="48" y="846"/>
                    </a:lnTo>
                    <a:lnTo>
                      <a:pt x="48" y="852"/>
                    </a:lnTo>
                    <a:lnTo>
                      <a:pt x="60" y="852"/>
                    </a:lnTo>
                    <a:lnTo>
                      <a:pt x="60" y="864"/>
                    </a:lnTo>
                    <a:lnTo>
                      <a:pt x="66" y="870"/>
                    </a:lnTo>
                    <a:lnTo>
                      <a:pt x="66" y="888"/>
                    </a:lnTo>
                    <a:lnTo>
                      <a:pt x="54" y="900"/>
                    </a:lnTo>
                    <a:lnTo>
                      <a:pt x="54" y="906"/>
                    </a:lnTo>
                    <a:lnTo>
                      <a:pt x="48" y="912"/>
                    </a:lnTo>
                    <a:lnTo>
                      <a:pt x="48" y="936"/>
                    </a:lnTo>
                    <a:lnTo>
                      <a:pt x="54" y="948"/>
                    </a:lnTo>
                    <a:lnTo>
                      <a:pt x="60" y="954"/>
                    </a:lnTo>
                    <a:lnTo>
                      <a:pt x="66" y="954"/>
                    </a:lnTo>
                    <a:lnTo>
                      <a:pt x="78" y="966"/>
                    </a:lnTo>
                    <a:lnTo>
                      <a:pt x="78" y="1020"/>
                    </a:lnTo>
                    <a:lnTo>
                      <a:pt x="60" y="1020"/>
                    </a:lnTo>
                    <a:lnTo>
                      <a:pt x="60" y="1044"/>
                    </a:lnTo>
                    <a:lnTo>
                      <a:pt x="66" y="1056"/>
                    </a:lnTo>
                    <a:lnTo>
                      <a:pt x="90" y="1128"/>
                    </a:lnTo>
                    <a:lnTo>
                      <a:pt x="96" y="1140"/>
                    </a:lnTo>
                    <a:lnTo>
                      <a:pt x="102" y="1146"/>
                    </a:lnTo>
                    <a:lnTo>
                      <a:pt x="102" y="1164"/>
                    </a:lnTo>
                    <a:lnTo>
                      <a:pt x="108" y="1170"/>
                    </a:lnTo>
                    <a:lnTo>
                      <a:pt x="114" y="1182"/>
                    </a:lnTo>
                    <a:lnTo>
                      <a:pt x="120" y="1188"/>
                    </a:lnTo>
                    <a:lnTo>
                      <a:pt x="120" y="1236"/>
                    </a:lnTo>
                    <a:lnTo>
                      <a:pt x="114" y="1266"/>
                    </a:lnTo>
                    <a:lnTo>
                      <a:pt x="138" y="1290"/>
                    </a:lnTo>
                    <a:lnTo>
                      <a:pt x="138" y="1296"/>
                    </a:lnTo>
                    <a:lnTo>
                      <a:pt x="132" y="1302"/>
                    </a:lnTo>
                    <a:lnTo>
                      <a:pt x="126" y="1314"/>
                    </a:lnTo>
                    <a:lnTo>
                      <a:pt x="126" y="1326"/>
                    </a:lnTo>
                    <a:lnTo>
                      <a:pt x="120" y="1338"/>
                    </a:lnTo>
                    <a:lnTo>
                      <a:pt x="120" y="1416"/>
                    </a:lnTo>
                    <a:lnTo>
                      <a:pt x="102" y="1452"/>
                    </a:lnTo>
                    <a:lnTo>
                      <a:pt x="114" y="1464"/>
                    </a:lnTo>
                    <a:lnTo>
                      <a:pt x="114" y="1470"/>
                    </a:lnTo>
                    <a:lnTo>
                      <a:pt x="108" y="1476"/>
                    </a:lnTo>
                    <a:lnTo>
                      <a:pt x="108" y="1536"/>
                    </a:lnTo>
                    <a:lnTo>
                      <a:pt x="102" y="1554"/>
                    </a:lnTo>
                    <a:lnTo>
                      <a:pt x="102" y="1578"/>
                    </a:lnTo>
                    <a:lnTo>
                      <a:pt x="84" y="1584"/>
                    </a:lnTo>
                    <a:lnTo>
                      <a:pt x="84" y="1608"/>
                    </a:lnTo>
                    <a:lnTo>
                      <a:pt x="108" y="1650"/>
                    </a:lnTo>
                    <a:lnTo>
                      <a:pt x="108" y="1692"/>
                    </a:lnTo>
                    <a:lnTo>
                      <a:pt x="114" y="1704"/>
                    </a:lnTo>
                    <a:lnTo>
                      <a:pt x="144" y="1734"/>
                    </a:lnTo>
                    <a:lnTo>
                      <a:pt x="156" y="1758"/>
                    </a:lnTo>
                    <a:lnTo>
                      <a:pt x="156" y="1800"/>
                    </a:lnTo>
                    <a:lnTo>
                      <a:pt x="150" y="1812"/>
                    </a:lnTo>
                    <a:lnTo>
                      <a:pt x="150" y="1824"/>
                    </a:lnTo>
                    <a:lnTo>
                      <a:pt x="162" y="1836"/>
                    </a:lnTo>
                    <a:lnTo>
                      <a:pt x="162" y="1896"/>
                    </a:lnTo>
                    <a:lnTo>
                      <a:pt x="168" y="1908"/>
                    </a:lnTo>
                    <a:lnTo>
                      <a:pt x="174" y="1914"/>
                    </a:lnTo>
                    <a:lnTo>
                      <a:pt x="186" y="1920"/>
                    </a:lnTo>
                    <a:lnTo>
                      <a:pt x="192" y="1926"/>
                    </a:lnTo>
                    <a:lnTo>
                      <a:pt x="198" y="1926"/>
                    </a:lnTo>
                    <a:lnTo>
                      <a:pt x="192" y="1944"/>
                    </a:lnTo>
                    <a:lnTo>
                      <a:pt x="234" y="1944"/>
                    </a:lnTo>
                    <a:lnTo>
                      <a:pt x="234" y="1914"/>
                    </a:lnTo>
                    <a:lnTo>
                      <a:pt x="246" y="1926"/>
                    </a:lnTo>
                    <a:lnTo>
                      <a:pt x="258" y="1932"/>
                    </a:lnTo>
                    <a:lnTo>
                      <a:pt x="270" y="1932"/>
                    </a:lnTo>
                    <a:lnTo>
                      <a:pt x="276" y="1926"/>
                    </a:lnTo>
                    <a:lnTo>
                      <a:pt x="276" y="1914"/>
                    </a:lnTo>
                    <a:lnTo>
                      <a:pt x="288" y="1932"/>
                    </a:lnTo>
                    <a:lnTo>
                      <a:pt x="282" y="1938"/>
                    </a:lnTo>
                    <a:lnTo>
                      <a:pt x="270" y="1944"/>
                    </a:lnTo>
                    <a:lnTo>
                      <a:pt x="264" y="1956"/>
                    </a:lnTo>
                    <a:lnTo>
                      <a:pt x="258" y="1962"/>
                    </a:lnTo>
                    <a:lnTo>
                      <a:pt x="258" y="1968"/>
                    </a:lnTo>
                    <a:lnTo>
                      <a:pt x="288" y="1968"/>
                    </a:lnTo>
                    <a:lnTo>
                      <a:pt x="294" y="1974"/>
                    </a:lnTo>
                    <a:lnTo>
                      <a:pt x="294" y="1992"/>
                    </a:lnTo>
                    <a:lnTo>
                      <a:pt x="270" y="1986"/>
                    </a:lnTo>
                    <a:lnTo>
                      <a:pt x="288" y="2010"/>
                    </a:lnTo>
                    <a:lnTo>
                      <a:pt x="276" y="2022"/>
                    </a:lnTo>
                    <a:lnTo>
                      <a:pt x="294" y="2046"/>
                    </a:lnTo>
                    <a:lnTo>
                      <a:pt x="276" y="2064"/>
                    </a:lnTo>
                    <a:lnTo>
                      <a:pt x="270" y="2076"/>
                    </a:lnTo>
                    <a:lnTo>
                      <a:pt x="270" y="2082"/>
                    </a:lnTo>
                    <a:lnTo>
                      <a:pt x="276" y="2088"/>
                    </a:lnTo>
                    <a:lnTo>
                      <a:pt x="282" y="2088"/>
                    </a:lnTo>
                    <a:lnTo>
                      <a:pt x="306" y="2100"/>
                    </a:lnTo>
                    <a:lnTo>
                      <a:pt x="318" y="2100"/>
                    </a:lnTo>
                    <a:lnTo>
                      <a:pt x="300" y="2118"/>
                    </a:lnTo>
                    <a:lnTo>
                      <a:pt x="300" y="2130"/>
                    </a:lnTo>
                    <a:lnTo>
                      <a:pt x="312" y="2136"/>
                    </a:lnTo>
                    <a:lnTo>
                      <a:pt x="318" y="2142"/>
                    </a:lnTo>
                    <a:lnTo>
                      <a:pt x="330" y="2148"/>
                    </a:lnTo>
                    <a:lnTo>
                      <a:pt x="354" y="2148"/>
                    </a:lnTo>
                    <a:lnTo>
                      <a:pt x="360" y="2184"/>
                    </a:lnTo>
                    <a:lnTo>
                      <a:pt x="354" y="2184"/>
                    </a:lnTo>
                    <a:lnTo>
                      <a:pt x="324" y="2214"/>
                    </a:lnTo>
                    <a:lnTo>
                      <a:pt x="324" y="2220"/>
                    </a:lnTo>
                    <a:lnTo>
                      <a:pt x="330" y="2226"/>
                    </a:lnTo>
                    <a:lnTo>
                      <a:pt x="354" y="2226"/>
                    </a:lnTo>
                    <a:lnTo>
                      <a:pt x="366" y="2232"/>
                    </a:lnTo>
                    <a:lnTo>
                      <a:pt x="378" y="2244"/>
                    </a:lnTo>
                    <a:lnTo>
                      <a:pt x="348" y="2244"/>
                    </a:lnTo>
                    <a:lnTo>
                      <a:pt x="342" y="2238"/>
                    </a:lnTo>
                    <a:lnTo>
                      <a:pt x="330" y="2238"/>
                    </a:lnTo>
                    <a:lnTo>
                      <a:pt x="324" y="2244"/>
                    </a:lnTo>
                    <a:lnTo>
                      <a:pt x="324" y="2250"/>
                    </a:lnTo>
                    <a:lnTo>
                      <a:pt x="354" y="2256"/>
                    </a:lnTo>
                    <a:lnTo>
                      <a:pt x="330" y="2268"/>
                    </a:lnTo>
                    <a:lnTo>
                      <a:pt x="336" y="2292"/>
                    </a:lnTo>
                    <a:lnTo>
                      <a:pt x="348" y="2292"/>
                    </a:lnTo>
                    <a:lnTo>
                      <a:pt x="348" y="2316"/>
                    </a:lnTo>
                    <a:lnTo>
                      <a:pt x="336" y="2328"/>
                    </a:lnTo>
                    <a:lnTo>
                      <a:pt x="336" y="2322"/>
                    </a:lnTo>
                    <a:lnTo>
                      <a:pt x="330" y="2316"/>
                    </a:lnTo>
                    <a:lnTo>
                      <a:pt x="324" y="2304"/>
                    </a:lnTo>
                    <a:lnTo>
                      <a:pt x="324" y="2298"/>
                    </a:lnTo>
                    <a:lnTo>
                      <a:pt x="288" y="2298"/>
                    </a:lnTo>
                    <a:lnTo>
                      <a:pt x="306" y="2292"/>
                    </a:lnTo>
                    <a:lnTo>
                      <a:pt x="282" y="2268"/>
                    </a:lnTo>
                    <a:lnTo>
                      <a:pt x="276" y="2268"/>
                    </a:lnTo>
                    <a:lnTo>
                      <a:pt x="276" y="2280"/>
                    </a:lnTo>
                    <a:lnTo>
                      <a:pt x="270" y="2268"/>
                    </a:lnTo>
                    <a:lnTo>
                      <a:pt x="228" y="2280"/>
                    </a:lnTo>
                    <a:lnTo>
                      <a:pt x="264" y="2286"/>
                    </a:lnTo>
                    <a:lnTo>
                      <a:pt x="258" y="2292"/>
                    </a:lnTo>
                    <a:lnTo>
                      <a:pt x="252" y="2304"/>
                    </a:lnTo>
                    <a:lnTo>
                      <a:pt x="246" y="2310"/>
                    </a:lnTo>
                    <a:lnTo>
                      <a:pt x="234" y="2316"/>
                    </a:lnTo>
                    <a:lnTo>
                      <a:pt x="228" y="2328"/>
                    </a:lnTo>
                    <a:lnTo>
                      <a:pt x="222" y="2334"/>
                    </a:lnTo>
                    <a:lnTo>
                      <a:pt x="222" y="2340"/>
                    </a:lnTo>
                    <a:lnTo>
                      <a:pt x="228" y="2346"/>
                    </a:lnTo>
                    <a:lnTo>
                      <a:pt x="240" y="2352"/>
                    </a:lnTo>
                    <a:lnTo>
                      <a:pt x="252" y="2352"/>
                    </a:lnTo>
                    <a:lnTo>
                      <a:pt x="252" y="2346"/>
                    </a:lnTo>
                    <a:lnTo>
                      <a:pt x="240" y="2334"/>
                    </a:lnTo>
                    <a:lnTo>
                      <a:pt x="264" y="2328"/>
                    </a:lnTo>
                    <a:lnTo>
                      <a:pt x="282" y="2346"/>
                    </a:lnTo>
                    <a:lnTo>
                      <a:pt x="324" y="2346"/>
                    </a:lnTo>
                    <a:lnTo>
                      <a:pt x="336" y="2352"/>
                    </a:lnTo>
                    <a:lnTo>
                      <a:pt x="342" y="2364"/>
                    </a:lnTo>
                    <a:lnTo>
                      <a:pt x="354" y="2370"/>
                    </a:lnTo>
                    <a:lnTo>
                      <a:pt x="354" y="2376"/>
                    </a:lnTo>
                    <a:lnTo>
                      <a:pt x="336" y="2394"/>
                    </a:lnTo>
                    <a:lnTo>
                      <a:pt x="342" y="2406"/>
                    </a:lnTo>
                    <a:lnTo>
                      <a:pt x="360" y="2406"/>
                    </a:lnTo>
                    <a:lnTo>
                      <a:pt x="360" y="2418"/>
                    </a:lnTo>
                    <a:lnTo>
                      <a:pt x="378" y="2424"/>
                    </a:lnTo>
                    <a:lnTo>
                      <a:pt x="384" y="2406"/>
                    </a:lnTo>
                    <a:lnTo>
                      <a:pt x="402" y="2424"/>
                    </a:lnTo>
                    <a:lnTo>
                      <a:pt x="408" y="2424"/>
                    </a:lnTo>
                    <a:lnTo>
                      <a:pt x="420" y="2430"/>
                    </a:lnTo>
                    <a:lnTo>
                      <a:pt x="426" y="2436"/>
                    </a:lnTo>
                    <a:lnTo>
                      <a:pt x="426" y="2448"/>
                    </a:lnTo>
                    <a:lnTo>
                      <a:pt x="414" y="2460"/>
                    </a:lnTo>
                    <a:lnTo>
                      <a:pt x="408" y="2454"/>
                    </a:lnTo>
                    <a:lnTo>
                      <a:pt x="396" y="2454"/>
                    </a:lnTo>
                    <a:lnTo>
                      <a:pt x="384" y="2448"/>
                    </a:lnTo>
                    <a:lnTo>
                      <a:pt x="378" y="2442"/>
                    </a:lnTo>
                    <a:lnTo>
                      <a:pt x="366" y="2442"/>
                    </a:lnTo>
                    <a:lnTo>
                      <a:pt x="366" y="2454"/>
                    </a:lnTo>
                    <a:lnTo>
                      <a:pt x="372" y="2460"/>
                    </a:lnTo>
                    <a:lnTo>
                      <a:pt x="378" y="2460"/>
                    </a:lnTo>
                    <a:lnTo>
                      <a:pt x="390" y="2472"/>
                    </a:lnTo>
                    <a:lnTo>
                      <a:pt x="402" y="2496"/>
                    </a:lnTo>
                    <a:lnTo>
                      <a:pt x="402" y="2508"/>
                    </a:lnTo>
                    <a:lnTo>
                      <a:pt x="384" y="2508"/>
                    </a:lnTo>
                    <a:lnTo>
                      <a:pt x="396" y="2526"/>
                    </a:lnTo>
                    <a:lnTo>
                      <a:pt x="414" y="2562"/>
                    </a:lnTo>
                    <a:lnTo>
                      <a:pt x="426" y="2520"/>
                    </a:lnTo>
                    <a:lnTo>
                      <a:pt x="426" y="2550"/>
                    </a:lnTo>
                    <a:lnTo>
                      <a:pt x="444" y="2574"/>
                    </a:lnTo>
                    <a:lnTo>
                      <a:pt x="420" y="2574"/>
                    </a:lnTo>
                    <a:lnTo>
                      <a:pt x="426" y="2592"/>
                    </a:lnTo>
                    <a:lnTo>
                      <a:pt x="450" y="2592"/>
                    </a:lnTo>
                    <a:lnTo>
                      <a:pt x="432" y="2604"/>
                    </a:lnTo>
                    <a:lnTo>
                      <a:pt x="462" y="2616"/>
                    </a:lnTo>
                    <a:lnTo>
                      <a:pt x="444" y="2628"/>
                    </a:lnTo>
                    <a:lnTo>
                      <a:pt x="474" y="2640"/>
                    </a:lnTo>
                    <a:lnTo>
                      <a:pt x="462" y="2652"/>
                    </a:lnTo>
                    <a:lnTo>
                      <a:pt x="480" y="2658"/>
                    </a:lnTo>
                    <a:lnTo>
                      <a:pt x="480" y="2652"/>
                    </a:lnTo>
                    <a:lnTo>
                      <a:pt x="486" y="2640"/>
                    </a:lnTo>
                    <a:lnTo>
                      <a:pt x="486" y="2634"/>
                    </a:lnTo>
                    <a:lnTo>
                      <a:pt x="492" y="2634"/>
                    </a:lnTo>
                    <a:lnTo>
                      <a:pt x="498" y="2640"/>
                    </a:lnTo>
                    <a:lnTo>
                      <a:pt x="504" y="2652"/>
                    </a:lnTo>
                    <a:lnTo>
                      <a:pt x="498" y="2658"/>
                    </a:lnTo>
                    <a:lnTo>
                      <a:pt x="498" y="2664"/>
                    </a:lnTo>
                    <a:lnTo>
                      <a:pt x="492" y="2664"/>
                    </a:lnTo>
                    <a:lnTo>
                      <a:pt x="480" y="2676"/>
                    </a:lnTo>
                    <a:lnTo>
                      <a:pt x="480" y="2682"/>
                    </a:lnTo>
                    <a:lnTo>
                      <a:pt x="486" y="2688"/>
                    </a:lnTo>
                    <a:lnTo>
                      <a:pt x="516" y="2688"/>
                    </a:lnTo>
                    <a:lnTo>
                      <a:pt x="516" y="2700"/>
                    </a:lnTo>
                    <a:lnTo>
                      <a:pt x="540" y="2724"/>
                    </a:lnTo>
                    <a:lnTo>
                      <a:pt x="552" y="2730"/>
                    </a:lnTo>
                    <a:lnTo>
                      <a:pt x="558" y="2736"/>
                    </a:lnTo>
                    <a:lnTo>
                      <a:pt x="558" y="2700"/>
                    </a:lnTo>
                    <a:lnTo>
                      <a:pt x="564" y="2700"/>
                    </a:lnTo>
                    <a:lnTo>
                      <a:pt x="570" y="2706"/>
                    </a:lnTo>
                    <a:lnTo>
                      <a:pt x="582" y="2712"/>
                    </a:lnTo>
                    <a:lnTo>
                      <a:pt x="600" y="2718"/>
                    </a:lnTo>
                    <a:lnTo>
                      <a:pt x="624" y="2742"/>
                    </a:lnTo>
                    <a:lnTo>
                      <a:pt x="618" y="2748"/>
                    </a:lnTo>
                    <a:lnTo>
                      <a:pt x="618" y="2754"/>
                    </a:lnTo>
                    <a:lnTo>
                      <a:pt x="612" y="2760"/>
                    </a:lnTo>
                    <a:lnTo>
                      <a:pt x="630" y="2766"/>
                    </a:lnTo>
                    <a:lnTo>
                      <a:pt x="630" y="2790"/>
                    </a:lnTo>
                    <a:lnTo>
                      <a:pt x="684" y="2790"/>
                    </a:lnTo>
                    <a:lnTo>
                      <a:pt x="696" y="2802"/>
                    </a:lnTo>
                    <a:lnTo>
                      <a:pt x="666" y="2802"/>
                    </a:lnTo>
                    <a:lnTo>
                      <a:pt x="654" y="2814"/>
                    </a:lnTo>
                    <a:lnTo>
                      <a:pt x="630" y="2814"/>
                    </a:lnTo>
                    <a:lnTo>
                      <a:pt x="618" y="2832"/>
                    </a:lnTo>
                    <a:lnTo>
                      <a:pt x="648" y="2832"/>
                    </a:lnTo>
                    <a:lnTo>
                      <a:pt x="636" y="2850"/>
                    </a:lnTo>
                    <a:lnTo>
                      <a:pt x="666" y="2844"/>
                    </a:lnTo>
                    <a:lnTo>
                      <a:pt x="666" y="2826"/>
                    </a:lnTo>
                    <a:lnTo>
                      <a:pt x="690" y="2838"/>
                    </a:lnTo>
                    <a:lnTo>
                      <a:pt x="696" y="2826"/>
                    </a:lnTo>
                    <a:lnTo>
                      <a:pt x="702" y="2820"/>
                    </a:lnTo>
                    <a:lnTo>
                      <a:pt x="714" y="2814"/>
                    </a:lnTo>
                    <a:lnTo>
                      <a:pt x="720" y="2808"/>
                    </a:lnTo>
                    <a:lnTo>
                      <a:pt x="732" y="2808"/>
                    </a:lnTo>
                    <a:lnTo>
                      <a:pt x="732" y="2820"/>
                    </a:lnTo>
                    <a:lnTo>
                      <a:pt x="726" y="2832"/>
                    </a:lnTo>
                    <a:lnTo>
                      <a:pt x="702" y="2856"/>
                    </a:lnTo>
                    <a:lnTo>
                      <a:pt x="696" y="2850"/>
                    </a:lnTo>
                    <a:lnTo>
                      <a:pt x="678" y="2850"/>
                    </a:lnTo>
                    <a:lnTo>
                      <a:pt x="678" y="2868"/>
                    </a:lnTo>
                    <a:lnTo>
                      <a:pt x="642" y="2868"/>
                    </a:lnTo>
                    <a:lnTo>
                      <a:pt x="630" y="2880"/>
                    </a:lnTo>
                    <a:lnTo>
                      <a:pt x="642" y="2886"/>
                    </a:lnTo>
                    <a:lnTo>
                      <a:pt x="648" y="2916"/>
                    </a:lnTo>
                    <a:lnTo>
                      <a:pt x="678" y="2898"/>
                    </a:lnTo>
                    <a:lnTo>
                      <a:pt x="684" y="2910"/>
                    </a:lnTo>
                    <a:lnTo>
                      <a:pt x="684" y="2916"/>
                    </a:lnTo>
                    <a:lnTo>
                      <a:pt x="690" y="2916"/>
                    </a:lnTo>
                    <a:lnTo>
                      <a:pt x="696" y="2910"/>
                    </a:lnTo>
                    <a:lnTo>
                      <a:pt x="702" y="2898"/>
                    </a:lnTo>
                    <a:lnTo>
                      <a:pt x="702" y="2892"/>
                    </a:lnTo>
                    <a:lnTo>
                      <a:pt x="708" y="2880"/>
                    </a:lnTo>
                    <a:lnTo>
                      <a:pt x="714" y="2874"/>
                    </a:lnTo>
                    <a:close/>
                  </a:path>
                </a:pathLst>
              </a:custGeom>
              <a:solidFill>
                <a:srgbClr val="9D90A0">
                  <a:lumMod val="40000"/>
                  <a:lumOff val="60000"/>
                </a:srgbClr>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54" name="Canada" descr="© INSCALE GmbH, 05.05.2010&#10;http://www.presentationload.com/">
                <a:extLst>
                  <a:ext uri="{FF2B5EF4-FFF2-40B4-BE49-F238E27FC236}">
                    <a16:creationId xmlns:a16="http://schemas.microsoft.com/office/drawing/2014/main" id="{3BD7C75F-699D-4B91-B0B1-A780DFC5B930}"/>
                  </a:ext>
                </a:extLst>
              </p:cNvPr>
              <p:cNvSpPr>
                <a:spLocks noEditPoints="1"/>
              </p:cNvSpPr>
              <p:nvPr/>
            </p:nvSpPr>
            <p:spPr bwMode="gray">
              <a:xfrm>
                <a:off x="1091760" y="1800775"/>
                <a:ext cx="2204155" cy="1268336"/>
              </a:xfrm>
              <a:custGeom>
                <a:avLst/>
                <a:gdLst>
                  <a:gd name="T0" fmla="*/ 2147483647 w 5574"/>
                  <a:gd name="T1" fmla="*/ 2147483647 h 2886"/>
                  <a:gd name="T2" fmla="*/ 2147483647 w 5574"/>
                  <a:gd name="T3" fmla="*/ 2147483647 h 2886"/>
                  <a:gd name="T4" fmla="*/ 2147483647 w 5574"/>
                  <a:gd name="T5" fmla="*/ 2147483647 h 2886"/>
                  <a:gd name="T6" fmla="*/ 2147483647 w 5574"/>
                  <a:gd name="T7" fmla="*/ 2147483647 h 2886"/>
                  <a:gd name="T8" fmla="*/ 2147483647 w 5574"/>
                  <a:gd name="T9" fmla="*/ 2147483647 h 2886"/>
                  <a:gd name="T10" fmla="*/ 2147483647 w 5574"/>
                  <a:gd name="T11" fmla="*/ 2147483647 h 2886"/>
                  <a:gd name="T12" fmla="*/ 2147483647 w 5574"/>
                  <a:gd name="T13" fmla="*/ 2147483647 h 2886"/>
                  <a:gd name="T14" fmla="*/ 2147483647 w 5574"/>
                  <a:gd name="T15" fmla="*/ 2147483647 h 2886"/>
                  <a:gd name="T16" fmla="*/ 2147483647 w 5574"/>
                  <a:gd name="T17" fmla="*/ 2147483647 h 2886"/>
                  <a:gd name="T18" fmla="*/ 2147483647 w 5574"/>
                  <a:gd name="T19" fmla="*/ 2147483647 h 2886"/>
                  <a:gd name="T20" fmla="*/ 2147483647 w 5574"/>
                  <a:gd name="T21" fmla="*/ 2147483647 h 2886"/>
                  <a:gd name="T22" fmla="*/ 2147483647 w 5574"/>
                  <a:gd name="T23" fmla="*/ 2147483647 h 2886"/>
                  <a:gd name="T24" fmla="*/ 2147483647 w 5574"/>
                  <a:gd name="T25" fmla="*/ 2147483647 h 2886"/>
                  <a:gd name="T26" fmla="*/ 2147483647 w 5574"/>
                  <a:gd name="T27" fmla="*/ 2147483647 h 2886"/>
                  <a:gd name="T28" fmla="*/ 2147483647 w 5574"/>
                  <a:gd name="T29" fmla="*/ 2147483647 h 2886"/>
                  <a:gd name="T30" fmla="*/ 2147483647 w 5574"/>
                  <a:gd name="T31" fmla="*/ 2147483647 h 2886"/>
                  <a:gd name="T32" fmla="*/ 2147483647 w 5574"/>
                  <a:gd name="T33" fmla="*/ 2147483647 h 2886"/>
                  <a:gd name="T34" fmla="*/ 2147483647 w 5574"/>
                  <a:gd name="T35" fmla="*/ 2147483647 h 2886"/>
                  <a:gd name="T36" fmla="*/ 2147483647 w 5574"/>
                  <a:gd name="T37" fmla="*/ 2147483647 h 2886"/>
                  <a:gd name="T38" fmla="*/ 2147483647 w 5574"/>
                  <a:gd name="T39" fmla="*/ 2147483647 h 2886"/>
                  <a:gd name="T40" fmla="*/ 2147483647 w 5574"/>
                  <a:gd name="T41" fmla="*/ 2147483647 h 2886"/>
                  <a:gd name="T42" fmla="*/ 2147483647 w 5574"/>
                  <a:gd name="T43" fmla="*/ 2147483647 h 2886"/>
                  <a:gd name="T44" fmla="*/ 2147483647 w 5574"/>
                  <a:gd name="T45" fmla="*/ 2147483647 h 2886"/>
                  <a:gd name="T46" fmla="*/ 2147483647 w 5574"/>
                  <a:gd name="T47" fmla="*/ 2147483647 h 2886"/>
                  <a:gd name="T48" fmla="*/ 2147483647 w 5574"/>
                  <a:gd name="T49" fmla="*/ 2147483647 h 2886"/>
                  <a:gd name="T50" fmla="*/ 2147483647 w 5574"/>
                  <a:gd name="T51" fmla="*/ 2147483647 h 2886"/>
                  <a:gd name="T52" fmla="*/ 2147483647 w 5574"/>
                  <a:gd name="T53" fmla="*/ 2147483647 h 2886"/>
                  <a:gd name="T54" fmla="*/ 2147483647 w 5574"/>
                  <a:gd name="T55" fmla="*/ 2147483647 h 2886"/>
                  <a:gd name="T56" fmla="*/ 2147483647 w 5574"/>
                  <a:gd name="T57" fmla="*/ 2147483647 h 2886"/>
                  <a:gd name="T58" fmla="*/ 2147483647 w 5574"/>
                  <a:gd name="T59" fmla="*/ 2147483647 h 2886"/>
                  <a:gd name="T60" fmla="*/ 2147483647 w 5574"/>
                  <a:gd name="T61" fmla="*/ 2147483647 h 2886"/>
                  <a:gd name="T62" fmla="*/ 2147483647 w 5574"/>
                  <a:gd name="T63" fmla="*/ 2147483647 h 2886"/>
                  <a:gd name="T64" fmla="*/ 2147483647 w 5574"/>
                  <a:gd name="T65" fmla="*/ 2147483647 h 2886"/>
                  <a:gd name="T66" fmla="*/ 2147483647 w 5574"/>
                  <a:gd name="T67" fmla="*/ 2147483647 h 2886"/>
                  <a:gd name="T68" fmla="*/ 2147483647 w 5574"/>
                  <a:gd name="T69" fmla="*/ 2147483647 h 2886"/>
                  <a:gd name="T70" fmla="*/ 2147483647 w 5574"/>
                  <a:gd name="T71" fmla="*/ 2147483647 h 2886"/>
                  <a:gd name="T72" fmla="*/ 2147483647 w 5574"/>
                  <a:gd name="T73" fmla="*/ 2147483647 h 2886"/>
                  <a:gd name="T74" fmla="*/ 2147483647 w 5574"/>
                  <a:gd name="T75" fmla="*/ 2147483647 h 2886"/>
                  <a:gd name="T76" fmla="*/ 2147483647 w 5574"/>
                  <a:gd name="T77" fmla="*/ 2147483647 h 2886"/>
                  <a:gd name="T78" fmla="*/ 2147483647 w 5574"/>
                  <a:gd name="T79" fmla="*/ 2147483647 h 2886"/>
                  <a:gd name="T80" fmla="*/ 2147483647 w 5574"/>
                  <a:gd name="T81" fmla="*/ 2147483647 h 2886"/>
                  <a:gd name="T82" fmla="*/ 2147483647 w 5574"/>
                  <a:gd name="T83" fmla="*/ 2147483647 h 2886"/>
                  <a:gd name="T84" fmla="*/ 2147483647 w 5574"/>
                  <a:gd name="T85" fmla="*/ 2147483647 h 2886"/>
                  <a:gd name="T86" fmla="*/ 2147483647 w 5574"/>
                  <a:gd name="T87" fmla="*/ 2147483647 h 2886"/>
                  <a:gd name="T88" fmla="*/ 2147483647 w 5574"/>
                  <a:gd name="T89" fmla="*/ 2147483647 h 2886"/>
                  <a:gd name="T90" fmla="*/ 2147483647 w 5574"/>
                  <a:gd name="T91" fmla="*/ 2147483647 h 2886"/>
                  <a:gd name="T92" fmla="*/ 2147483647 w 5574"/>
                  <a:gd name="T93" fmla="*/ 2147483647 h 2886"/>
                  <a:gd name="T94" fmla="*/ 2147483647 w 5574"/>
                  <a:gd name="T95" fmla="*/ 2147483647 h 2886"/>
                  <a:gd name="T96" fmla="*/ 2147483647 w 5574"/>
                  <a:gd name="T97" fmla="*/ 2147483647 h 2886"/>
                  <a:gd name="T98" fmla="*/ 2147483647 w 5574"/>
                  <a:gd name="T99" fmla="*/ 2147483647 h 2886"/>
                  <a:gd name="T100" fmla="*/ 2147483647 w 5574"/>
                  <a:gd name="T101" fmla="*/ 2147483647 h 2886"/>
                  <a:gd name="T102" fmla="*/ 2147483647 w 5574"/>
                  <a:gd name="T103" fmla="*/ 2147483647 h 2886"/>
                  <a:gd name="T104" fmla="*/ 2147483647 w 5574"/>
                  <a:gd name="T105" fmla="*/ 2147483647 h 2886"/>
                  <a:gd name="T106" fmla="*/ 2147483647 w 5574"/>
                  <a:gd name="T107" fmla="*/ 2147483647 h 2886"/>
                  <a:gd name="T108" fmla="*/ 2147483647 w 5574"/>
                  <a:gd name="T109" fmla="*/ 2147483647 h 2886"/>
                  <a:gd name="T110" fmla="*/ 2147483647 w 5574"/>
                  <a:gd name="T111" fmla="*/ 2147483647 h 2886"/>
                  <a:gd name="T112" fmla="*/ 2147483647 w 5574"/>
                  <a:gd name="T113" fmla="*/ 2147483647 h 2886"/>
                  <a:gd name="T114" fmla="*/ 2147483647 w 5574"/>
                  <a:gd name="T115" fmla="*/ 2147483647 h 2886"/>
                  <a:gd name="T116" fmla="*/ 2147483647 w 5574"/>
                  <a:gd name="T117" fmla="*/ 2147483647 h 2886"/>
                  <a:gd name="T118" fmla="*/ 2147483647 w 5574"/>
                  <a:gd name="T119" fmla="*/ 2147483647 h 2886"/>
                  <a:gd name="T120" fmla="*/ 2147483647 w 5574"/>
                  <a:gd name="T121" fmla="*/ 2147483647 h 2886"/>
                  <a:gd name="T122" fmla="*/ 2147483647 w 5574"/>
                  <a:gd name="T123" fmla="*/ 2147483647 h 2886"/>
                  <a:gd name="T124" fmla="*/ 2147483647 w 5574"/>
                  <a:gd name="T125" fmla="*/ 2147483647 h 288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5574"/>
                  <a:gd name="T190" fmla="*/ 0 h 2886"/>
                  <a:gd name="T191" fmla="*/ 5574 w 5574"/>
                  <a:gd name="T192" fmla="*/ 2886 h 288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5574" h="2886">
                    <a:moveTo>
                      <a:pt x="3114" y="252"/>
                    </a:moveTo>
                    <a:lnTo>
                      <a:pt x="3138" y="252"/>
                    </a:lnTo>
                    <a:lnTo>
                      <a:pt x="3150" y="258"/>
                    </a:lnTo>
                    <a:lnTo>
                      <a:pt x="3168" y="258"/>
                    </a:lnTo>
                    <a:lnTo>
                      <a:pt x="3174" y="252"/>
                    </a:lnTo>
                    <a:lnTo>
                      <a:pt x="3174" y="246"/>
                    </a:lnTo>
                    <a:lnTo>
                      <a:pt x="3168" y="234"/>
                    </a:lnTo>
                    <a:lnTo>
                      <a:pt x="3156" y="228"/>
                    </a:lnTo>
                    <a:lnTo>
                      <a:pt x="3108" y="228"/>
                    </a:lnTo>
                    <a:lnTo>
                      <a:pt x="3066" y="234"/>
                    </a:lnTo>
                    <a:lnTo>
                      <a:pt x="3036" y="246"/>
                    </a:lnTo>
                    <a:lnTo>
                      <a:pt x="3018" y="246"/>
                    </a:lnTo>
                    <a:lnTo>
                      <a:pt x="3060" y="246"/>
                    </a:lnTo>
                    <a:lnTo>
                      <a:pt x="3096" y="252"/>
                    </a:lnTo>
                    <a:lnTo>
                      <a:pt x="3114" y="252"/>
                    </a:lnTo>
                    <a:close/>
                    <a:moveTo>
                      <a:pt x="2988" y="318"/>
                    </a:moveTo>
                    <a:lnTo>
                      <a:pt x="3036" y="318"/>
                    </a:lnTo>
                    <a:lnTo>
                      <a:pt x="3048" y="312"/>
                    </a:lnTo>
                    <a:lnTo>
                      <a:pt x="3060" y="312"/>
                    </a:lnTo>
                    <a:lnTo>
                      <a:pt x="3072" y="300"/>
                    </a:lnTo>
                    <a:lnTo>
                      <a:pt x="3072" y="294"/>
                    </a:lnTo>
                    <a:lnTo>
                      <a:pt x="3066" y="282"/>
                    </a:lnTo>
                    <a:lnTo>
                      <a:pt x="3138" y="270"/>
                    </a:lnTo>
                    <a:lnTo>
                      <a:pt x="3120" y="264"/>
                    </a:lnTo>
                    <a:lnTo>
                      <a:pt x="3054" y="264"/>
                    </a:lnTo>
                    <a:lnTo>
                      <a:pt x="3042" y="276"/>
                    </a:lnTo>
                    <a:lnTo>
                      <a:pt x="3030" y="276"/>
                    </a:lnTo>
                    <a:lnTo>
                      <a:pt x="2994" y="270"/>
                    </a:lnTo>
                    <a:lnTo>
                      <a:pt x="2958" y="270"/>
                    </a:lnTo>
                    <a:lnTo>
                      <a:pt x="2940" y="282"/>
                    </a:lnTo>
                    <a:lnTo>
                      <a:pt x="2940" y="294"/>
                    </a:lnTo>
                    <a:lnTo>
                      <a:pt x="2946" y="300"/>
                    </a:lnTo>
                    <a:lnTo>
                      <a:pt x="2970" y="312"/>
                    </a:lnTo>
                    <a:lnTo>
                      <a:pt x="2976" y="318"/>
                    </a:lnTo>
                    <a:lnTo>
                      <a:pt x="2988" y="318"/>
                    </a:lnTo>
                    <a:close/>
                    <a:moveTo>
                      <a:pt x="2682" y="384"/>
                    </a:moveTo>
                    <a:lnTo>
                      <a:pt x="2628" y="408"/>
                    </a:lnTo>
                    <a:lnTo>
                      <a:pt x="2634" y="408"/>
                    </a:lnTo>
                    <a:lnTo>
                      <a:pt x="2646" y="414"/>
                    </a:lnTo>
                    <a:lnTo>
                      <a:pt x="2652" y="414"/>
                    </a:lnTo>
                    <a:lnTo>
                      <a:pt x="2658" y="420"/>
                    </a:lnTo>
                    <a:lnTo>
                      <a:pt x="2658" y="426"/>
                    </a:lnTo>
                    <a:lnTo>
                      <a:pt x="2622" y="426"/>
                    </a:lnTo>
                    <a:lnTo>
                      <a:pt x="2586" y="432"/>
                    </a:lnTo>
                    <a:lnTo>
                      <a:pt x="2556" y="438"/>
                    </a:lnTo>
                    <a:lnTo>
                      <a:pt x="2544" y="438"/>
                    </a:lnTo>
                    <a:lnTo>
                      <a:pt x="2520" y="456"/>
                    </a:lnTo>
                    <a:lnTo>
                      <a:pt x="2580" y="450"/>
                    </a:lnTo>
                    <a:lnTo>
                      <a:pt x="2586" y="450"/>
                    </a:lnTo>
                    <a:lnTo>
                      <a:pt x="2592" y="456"/>
                    </a:lnTo>
                    <a:lnTo>
                      <a:pt x="2610" y="456"/>
                    </a:lnTo>
                    <a:lnTo>
                      <a:pt x="2628" y="462"/>
                    </a:lnTo>
                    <a:lnTo>
                      <a:pt x="2658" y="462"/>
                    </a:lnTo>
                    <a:lnTo>
                      <a:pt x="2694" y="450"/>
                    </a:lnTo>
                    <a:lnTo>
                      <a:pt x="2730" y="444"/>
                    </a:lnTo>
                    <a:lnTo>
                      <a:pt x="2742" y="438"/>
                    </a:lnTo>
                    <a:lnTo>
                      <a:pt x="2742" y="450"/>
                    </a:lnTo>
                    <a:lnTo>
                      <a:pt x="2760" y="450"/>
                    </a:lnTo>
                    <a:lnTo>
                      <a:pt x="2796" y="444"/>
                    </a:lnTo>
                    <a:lnTo>
                      <a:pt x="2856" y="444"/>
                    </a:lnTo>
                    <a:lnTo>
                      <a:pt x="2850" y="444"/>
                    </a:lnTo>
                    <a:lnTo>
                      <a:pt x="2844" y="450"/>
                    </a:lnTo>
                    <a:lnTo>
                      <a:pt x="2832" y="450"/>
                    </a:lnTo>
                    <a:lnTo>
                      <a:pt x="2790" y="456"/>
                    </a:lnTo>
                    <a:lnTo>
                      <a:pt x="2730" y="468"/>
                    </a:lnTo>
                    <a:lnTo>
                      <a:pt x="2706" y="468"/>
                    </a:lnTo>
                    <a:lnTo>
                      <a:pt x="2688" y="474"/>
                    </a:lnTo>
                    <a:lnTo>
                      <a:pt x="2670" y="474"/>
                    </a:lnTo>
                    <a:lnTo>
                      <a:pt x="2652" y="480"/>
                    </a:lnTo>
                    <a:lnTo>
                      <a:pt x="2646" y="486"/>
                    </a:lnTo>
                    <a:lnTo>
                      <a:pt x="2640" y="486"/>
                    </a:lnTo>
                    <a:lnTo>
                      <a:pt x="2658" y="486"/>
                    </a:lnTo>
                    <a:lnTo>
                      <a:pt x="2694" y="492"/>
                    </a:lnTo>
                    <a:lnTo>
                      <a:pt x="2760" y="498"/>
                    </a:lnTo>
                    <a:lnTo>
                      <a:pt x="2808" y="492"/>
                    </a:lnTo>
                    <a:lnTo>
                      <a:pt x="2850" y="480"/>
                    </a:lnTo>
                    <a:lnTo>
                      <a:pt x="2874" y="474"/>
                    </a:lnTo>
                    <a:lnTo>
                      <a:pt x="2886" y="468"/>
                    </a:lnTo>
                    <a:lnTo>
                      <a:pt x="2958" y="450"/>
                    </a:lnTo>
                    <a:lnTo>
                      <a:pt x="3000" y="450"/>
                    </a:lnTo>
                    <a:lnTo>
                      <a:pt x="3054" y="444"/>
                    </a:lnTo>
                    <a:lnTo>
                      <a:pt x="3096" y="438"/>
                    </a:lnTo>
                    <a:lnTo>
                      <a:pt x="3120" y="432"/>
                    </a:lnTo>
                    <a:lnTo>
                      <a:pt x="3138" y="420"/>
                    </a:lnTo>
                    <a:lnTo>
                      <a:pt x="3156" y="414"/>
                    </a:lnTo>
                    <a:lnTo>
                      <a:pt x="3168" y="408"/>
                    </a:lnTo>
                    <a:lnTo>
                      <a:pt x="3168" y="396"/>
                    </a:lnTo>
                    <a:lnTo>
                      <a:pt x="3156" y="384"/>
                    </a:lnTo>
                    <a:lnTo>
                      <a:pt x="3144" y="378"/>
                    </a:lnTo>
                    <a:lnTo>
                      <a:pt x="3120" y="378"/>
                    </a:lnTo>
                    <a:lnTo>
                      <a:pt x="3114" y="384"/>
                    </a:lnTo>
                    <a:lnTo>
                      <a:pt x="3108" y="384"/>
                    </a:lnTo>
                    <a:lnTo>
                      <a:pt x="3108" y="396"/>
                    </a:lnTo>
                    <a:lnTo>
                      <a:pt x="3072" y="396"/>
                    </a:lnTo>
                    <a:lnTo>
                      <a:pt x="3078" y="390"/>
                    </a:lnTo>
                    <a:lnTo>
                      <a:pt x="3078" y="378"/>
                    </a:lnTo>
                    <a:lnTo>
                      <a:pt x="3102" y="354"/>
                    </a:lnTo>
                    <a:lnTo>
                      <a:pt x="3102" y="342"/>
                    </a:lnTo>
                    <a:lnTo>
                      <a:pt x="3096" y="342"/>
                    </a:lnTo>
                    <a:lnTo>
                      <a:pt x="3054" y="348"/>
                    </a:lnTo>
                    <a:lnTo>
                      <a:pt x="2988" y="372"/>
                    </a:lnTo>
                    <a:lnTo>
                      <a:pt x="2976" y="378"/>
                    </a:lnTo>
                    <a:lnTo>
                      <a:pt x="3024" y="378"/>
                    </a:lnTo>
                    <a:lnTo>
                      <a:pt x="3018" y="408"/>
                    </a:lnTo>
                    <a:lnTo>
                      <a:pt x="2898" y="420"/>
                    </a:lnTo>
                    <a:lnTo>
                      <a:pt x="2898" y="414"/>
                    </a:lnTo>
                    <a:lnTo>
                      <a:pt x="2892" y="408"/>
                    </a:lnTo>
                    <a:lnTo>
                      <a:pt x="2892" y="372"/>
                    </a:lnTo>
                    <a:lnTo>
                      <a:pt x="2886" y="366"/>
                    </a:lnTo>
                    <a:lnTo>
                      <a:pt x="2874" y="366"/>
                    </a:lnTo>
                    <a:lnTo>
                      <a:pt x="2856" y="360"/>
                    </a:lnTo>
                    <a:lnTo>
                      <a:pt x="2814" y="360"/>
                    </a:lnTo>
                    <a:lnTo>
                      <a:pt x="2682" y="384"/>
                    </a:lnTo>
                    <a:close/>
                    <a:moveTo>
                      <a:pt x="2832" y="342"/>
                    </a:moveTo>
                    <a:lnTo>
                      <a:pt x="2844" y="330"/>
                    </a:lnTo>
                    <a:lnTo>
                      <a:pt x="2844" y="318"/>
                    </a:lnTo>
                    <a:lnTo>
                      <a:pt x="2838" y="312"/>
                    </a:lnTo>
                    <a:lnTo>
                      <a:pt x="2814" y="312"/>
                    </a:lnTo>
                    <a:lnTo>
                      <a:pt x="2802" y="318"/>
                    </a:lnTo>
                    <a:lnTo>
                      <a:pt x="2796" y="324"/>
                    </a:lnTo>
                    <a:lnTo>
                      <a:pt x="2796" y="330"/>
                    </a:lnTo>
                    <a:lnTo>
                      <a:pt x="2802" y="336"/>
                    </a:lnTo>
                    <a:lnTo>
                      <a:pt x="2814" y="336"/>
                    </a:lnTo>
                    <a:lnTo>
                      <a:pt x="2820" y="342"/>
                    </a:lnTo>
                    <a:lnTo>
                      <a:pt x="2832" y="342"/>
                    </a:lnTo>
                    <a:close/>
                    <a:moveTo>
                      <a:pt x="3012" y="564"/>
                    </a:moveTo>
                    <a:lnTo>
                      <a:pt x="2988" y="540"/>
                    </a:lnTo>
                    <a:lnTo>
                      <a:pt x="2958" y="540"/>
                    </a:lnTo>
                    <a:lnTo>
                      <a:pt x="2952" y="534"/>
                    </a:lnTo>
                    <a:lnTo>
                      <a:pt x="2946" y="534"/>
                    </a:lnTo>
                    <a:lnTo>
                      <a:pt x="2934" y="528"/>
                    </a:lnTo>
                    <a:lnTo>
                      <a:pt x="2916" y="528"/>
                    </a:lnTo>
                    <a:lnTo>
                      <a:pt x="2898" y="534"/>
                    </a:lnTo>
                    <a:lnTo>
                      <a:pt x="2892" y="540"/>
                    </a:lnTo>
                    <a:lnTo>
                      <a:pt x="2892" y="552"/>
                    </a:lnTo>
                    <a:lnTo>
                      <a:pt x="2928" y="570"/>
                    </a:lnTo>
                    <a:lnTo>
                      <a:pt x="2934" y="576"/>
                    </a:lnTo>
                    <a:lnTo>
                      <a:pt x="2946" y="582"/>
                    </a:lnTo>
                    <a:lnTo>
                      <a:pt x="3012" y="564"/>
                    </a:lnTo>
                    <a:close/>
                    <a:moveTo>
                      <a:pt x="2460" y="414"/>
                    </a:moveTo>
                    <a:lnTo>
                      <a:pt x="2442" y="420"/>
                    </a:lnTo>
                    <a:lnTo>
                      <a:pt x="2430" y="426"/>
                    </a:lnTo>
                    <a:lnTo>
                      <a:pt x="2430" y="438"/>
                    </a:lnTo>
                    <a:lnTo>
                      <a:pt x="2442" y="438"/>
                    </a:lnTo>
                    <a:lnTo>
                      <a:pt x="2472" y="432"/>
                    </a:lnTo>
                    <a:lnTo>
                      <a:pt x="2490" y="426"/>
                    </a:lnTo>
                    <a:lnTo>
                      <a:pt x="2502" y="420"/>
                    </a:lnTo>
                    <a:lnTo>
                      <a:pt x="2502" y="414"/>
                    </a:lnTo>
                    <a:lnTo>
                      <a:pt x="2496" y="408"/>
                    </a:lnTo>
                    <a:lnTo>
                      <a:pt x="2484" y="408"/>
                    </a:lnTo>
                    <a:lnTo>
                      <a:pt x="2460" y="414"/>
                    </a:lnTo>
                    <a:close/>
                    <a:moveTo>
                      <a:pt x="2970" y="858"/>
                    </a:moveTo>
                    <a:lnTo>
                      <a:pt x="2988" y="858"/>
                    </a:lnTo>
                    <a:lnTo>
                      <a:pt x="3006" y="864"/>
                    </a:lnTo>
                    <a:lnTo>
                      <a:pt x="3018" y="870"/>
                    </a:lnTo>
                    <a:lnTo>
                      <a:pt x="3036" y="876"/>
                    </a:lnTo>
                    <a:lnTo>
                      <a:pt x="3060" y="882"/>
                    </a:lnTo>
                    <a:lnTo>
                      <a:pt x="3096" y="882"/>
                    </a:lnTo>
                    <a:lnTo>
                      <a:pt x="3126" y="876"/>
                    </a:lnTo>
                    <a:lnTo>
                      <a:pt x="3138" y="876"/>
                    </a:lnTo>
                    <a:lnTo>
                      <a:pt x="3120" y="810"/>
                    </a:lnTo>
                    <a:lnTo>
                      <a:pt x="3018" y="792"/>
                    </a:lnTo>
                    <a:lnTo>
                      <a:pt x="2988" y="828"/>
                    </a:lnTo>
                    <a:lnTo>
                      <a:pt x="2958" y="828"/>
                    </a:lnTo>
                    <a:lnTo>
                      <a:pt x="2952" y="834"/>
                    </a:lnTo>
                    <a:lnTo>
                      <a:pt x="2952" y="846"/>
                    </a:lnTo>
                    <a:lnTo>
                      <a:pt x="2958" y="852"/>
                    </a:lnTo>
                    <a:lnTo>
                      <a:pt x="2970" y="858"/>
                    </a:lnTo>
                    <a:close/>
                    <a:moveTo>
                      <a:pt x="168" y="2034"/>
                    </a:moveTo>
                    <a:lnTo>
                      <a:pt x="168" y="2040"/>
                    </a:lnTo>
                    <a:lnTo>
                      <a:pt x="174" y="2046"/>
                    </a:lnTo>
                    <a:lnTo>
                      <a:pt x="192" y="2046"/>
                    </a:lnTo>
                    <a:lnTo>
                      <a:pt x="186" y="2070"/>
                    </a:lnTo>
                    <a:lnTo>
                      <a:pt x="216" y="2052"/>
                    </a:lnTo>
                    <a:lnTo>
                      <a:pt x="216" y="2028"/>
                    </a:lnTo>
                    <a:lnTo>
                      <a:pt x="174" y="2028"/>
                    </a:lnTo>
                    <a:lnTo>
                      <a:pt x="168" y="2034"/>
                    </a:lnTo>
                    <a:close/>
                    <a:moveTo>
                      <a:pt x="252" y="2298"/>
                    </a:moveTo>
                    <a:lnTo>
                      <a:pt x="252" y="2292"/>
                    </a:lnTo>
                    <a:lnTo>
                      <a:pt x="246" y="2286"/>
                    </a:lnTo>
                    <a:lnTo>
                      <a:pt x="246" y="2268"/>
                    </a:lnTo>
                    <a:lnTo>
                      <a:pt x="252" y="2256"/>
                    </a:lnTo>
                    <a:lnTo>
                      <a:pt x="252" y="2238"/>
                    </a:lnTo>
                    <a:lnTo>
                      <a:pt x="246" y="2226"/>
                    </a:lnTo>
                    <a:lnTo>
                      <a:pt x="228" y="2226"/>
                    </a:lnTo>
                    <a:lnTo>
                      <a:pt x="216" y="2220"/>
                    </a:lnTo>
                    <a:lnTo>
                      <a:pt x="204" y="2220"/>
                    </a:lnTo>
                    <a:lnTo>
                      <a:pt x="192" y="2214"/>
                    </a:lnTo>
                    <a:lnTo>
                      <a:pt x="186" y="2208"/>
                    </a:lnTo>
                    <a:lnTo>
                      <a:pt x="174" y="2202"/>
                    </a:lnTo>
                    <a:lnTo>
                      <a:pt x="150" y="2178"/>
                    </a:lnTo>
                    <a:lnTo>
                      <a:pt x="138" y="2172"/>
                    </a:lnTo>
                    <a:lnTo>
                      <a:pt x="126" y="2172"/>
                    </a:lnTo>
                    <a:lnTo>
                      <a:pt x="102" y="2184"/>
                    </a:lnTo>
                    <a:lnTo>
                      <a:pt x="96" y="2196"/>
                    </a:lnTo>
                    <a:lnTo>
                      <a:pt x="96" y="2202"/>
                    </a:lnTo>
                    <a:lnTo>
                      <a:pt x="108" y="2208"/>
                    </a:lnTo>
                    <a:lnTo>
                      <a:pt x="114" y="2214"/>
                    </a:lnTo>
                    <a:lnTo>
                      <a:pt x="120" y="2214"/>
                    </a:lnTo>
                    <a:lnTo>
                      <a:pt x="132" y="2202"/>
                    </a:lnTo>
                    <a:lnTo>
                      <a:pt x="144" y="2208"/>
                    </a:lnTo>
                    <a:lnTo>
                      <a:pt x="132" y="2220"/>
                    </a:lnTo>
                    <a:lnTo>
                      <a:pt x="120" y="2220"/>
                    </a:lnTo>
                    <a:lnTo>
                      <a:pt x="114" y="2226"/>
                    </a:lnTo>
                    <a:lnTo>
                      <a:pt x="102" y="2232"/>
                    </a:lnTo>
                    <a:lnTo>
                      <a:pt x="102" y="2244"/>
                    </a:lnTo>
                    <a:lnTo>
                      <a:pt x="108" y="2250"/>
                    </a:lnTo>
                    <a:lnTo>
                      <a:pt x="126" y="2250"/>
                    </a:lnTo>
                    <a:lnTo>
                      <a:pt x="138" y="2244"/>
                    </a:lnTo>
                    <a:lnTo>
                      <a:pt x="132" y="2262"/>
                    </a:lnTo>
                    <a:lnTo>
                      <a:pt x="150" y="2262"/>
                    </a:lnTo>
                    <a:lnTo>
                      <a:pt x="132" y="2280"/>
                    </a:lnTo>
                    <a:lnTo>
                      <a:pt x="168" y="2274"/>
                    </a:lnTo>
                    <a:lnTo>
                      <a:pt x="156" y="2280"/>
                    </a:lnTo>
                    <a:lnTo>
                      <a:pt x="144" y="2292"/>
                    </a:lnTo>
                    <a:lnTo>
                      <a:pt x="138" y="2292"/>
                    </a:lnTo>
                    <a:lnTo>
                      <a:pt x="138" y="2298"/>
                    </a:lnTo>
                    <a:lnTo>
                      <a:pt x="150" y="2298"/>
                    </a:lnTo>
                    <a:lnTo>
                      <a:pt x="162" y="2286"/>
                    </a:lnTo>
                    <a:lnTo>
                      <a:pt x="168" y="2286"/>
                    </a:lnTo>
                    <a:lnTo>
                      <a:pt x="174" y="2292"/>
                    </a:lnTo>
                    <a:lnTo>
                      <a:pt x="174" y="2304"/>
                    </a:lnTo>
                    <a:lnTo>
                      <a:pt x="162" y="2316"/>
                    </a:lnTo>
                    <a:lnTo>
                      <a:pt x="162" y="2328"/>
                    </a:lnTo>
                    <a:lnTo>
                      <a:pt x="210" y="2328"/>
                    </a:lnTo>
                    <a:lnTo>
                      <a:pt x="228" y="2316"/>
                    </a:lnTo>
                    <a:lnTo>
                      <a:pt x="210" y="2340"/>
                    </a:lnTo>
                    <a:lnTo>
                      <a:pt x="192" y="2340"/>
                    </a:lnTo>
                    <a:lnTo>
                      <a:pt x="186" y="2346"/>
                    </a:lnTo>
                    <a:lnTo>
                      <a:pt x="186" y="2352"/>
                    </a:lnTo>
                    <a:lnTo>
                      <a:pt x="210" y="2364"/>
                    </a:lnTo>
                    <a:lnTo>
                      <a:pt x="216" y="2364"/>
                    </a:lnTo>
                    <a:lnTo>
                      <a:pt x="228" y="2370"/>
                    </a:lnTo>
                    <a:lnTo>
                      <a:pt x="234" y="2376"/>
                    </a:lnTo>
                    <a:lnTo>
                      <a:pt x="246" y="2376"/>
                    </a:lnTo>
                    <a:lnTo>
                      <a:pt x="258" y="2382"/>
                    </a:lnTo>
                    <a:lnTo>
                      <a:pt x="270" y="2376"/>
                    </a:lnTo>
                    <a:lnTo>
                      <a:pt x="288" y="2358"/>
                    </a:lnTo>
                    <a:lnTo>
                      <a:pt x="294" y="2346"/>
                    </a:lnTo>
                    <a:lnTo>
                      <a:pt x="294" y="2340"/>
                    </a:lnTo>
                    <a:lnTo>
                      <a:pt x="288" y="2334"/>
                    </a:lnTo>
                    <a:lnTo>
                      <a:pt x="282" y="2322"/>
                    </a:lnTo>
                    <a:lnTo>
                      <a:pt x="270" y="2316"/>
                    </a:lnTo>
                    <a:lnTo>
                      <a:pt x="264" y="2304"/>
                    </a:lnTo>
                    <a:lnTo>
                      <a:pt x="252" y="2298"/>
                    </a:lnTo>
                    <a:close/>
                    <a:moveTo>
                      <a:pt x="2304" y="372"/>
                    </a:moveTo>
                    <a:lnTo>
                      <a:pt x="2316" y="372"/>
                    </a:lnTo>
                    <a:lnTo>
                      <a:pt x="2328" y="366"/>
                    </a:lnTo>
                    <a:lnTo>
                      <a:pt x="2376" y="366"/>
                    </a:lnTo>
                    <a:lnTo>
                      <a:pt x="2388" y="378"/>
                    </a:lnTo>
                    <a:lnTo>
                      <a:pt x="2388" y="390"/>
                    </a:lnTo>
                    <a:lnTo>
                      <a:pt x="2424" y="390"/>
                    </a:lnTo>
                    <a:lnTo>
                      <a:pt x="2442" y="384"/>
                    </a:lnTo>
                    <a:lnTo>
                      <a:pt x="2454" y="384"/>
                    </a:lnTo>
                    <a:lnTo>
                      <a:pt x="2466" y="390"/>
                    </a:lnTo>
                    <a:lnTo>
                      <a:pt x="2472" y="396"/>
                    </a:lnTo>
                    <a:lnTo>
                      <a:pt x="2490" y="396"/>
                    </a:lnTo>
                    <a:lnTo>
                      <a:pt x="2514" y="384"/>
                    </a:lnTo>
                    <a:lnTo>
                      <a:pt x="2520" y="372"/>
                    </a:lnTo>
                    <a:lnTo>
                      <a:pt x="2520" y="354"/>
                    </a:lnTo>
                    <a:lnTo>
                      <a:pt x="2550" y="354"/>
                    </a:lnTo>
                    <a:lnTo>
                      <a:pt x="2616" y="336"/>
                    </a:lnTo>
                    <a:lnTo>
                      <a:pt x="2580" y="366"/>
                    </a:lnTo>
                    <a:lnTo>
                      <a:pt x="2634" y="378"/>
                    </a:lnTo>
                    <a:lnTo>
                      <a:pt x="2688" y="354"/>
                    </a:lnTo>
                    <a:lnTo>
                      <a:pt x="2784" y="312"/>
                    </a:lnTo>
                    <a:lnTo>
                      <a:pt x="2778" y="312"/>
                    </a:lnTo>
                    <a:lnTo>
                      <a:pt x="2772" y="306"/>
                    </a:lnTo>
                    <a:lnTo>
                      <a:pt x="2754" y="300"/>
                    </a:lnTo>
                    <a:lnTo>
                      <a:pt x="2736" y="300"/>
                    </a:lnTo>
                    <a:lnTo>
                      <a:pt x="2724" y="294"/>
                    </a:lnTo>
                    <a:lnTo>
                      <a:pt x="2706" y="288"/>
                    </a:lnTo>
                    <a:lnTo>
                      <a:pt x="2676" y="288"/>
                    </a:lnTo>
                    <a:lnTo>
                      <a:pt x="2646" y="282"/>
                    </a:lnTo>
                    <a:lnTo>
                      <a:pt x="2604" y="282"/>
                    </a:lnTo>
                    <a:lnTo>
                      <a:pt x="2526" y="294"/>
                    </a:lnTo>
                    <a:lnTo>
                      <a:pt x="2526" y="318"/>
                    </a:lnTo>
                    <a:lnTo>
                      <a:pt x="2406" y="324"/>
                    </a:lnTo>
                    <a:lnTo>
                      <a:pt x="2400" y="324"/>
                    </a:lnTo>
                    <a:lnTo>
                      <a:pt x="2394" y="318"/>
                    </a:lnTo>
                    <a:lnTo>
                      <a:pt x="2334" y="318"/>
                    </a:lnTo>
                    <a:lnTo>
                      <a:pt x="2322" y="324"/>
                    </a:lnTo>
                    <a:lnTo>
                      <a:pt x="2310" y="324"/>
                    </a:lnTo>
                    <a:lnTo>
                      <a:pt x="2304" y="330"/>
                    </a:lnTo>
                    <a:lnTo>
                      <a:pt x="2304" y="372"/>
                    </a:lnTo>
                    <a:close/>
                    <a:moveTo>
                      <a:pt x="150" y="1980"/>
                    </a:moveTo>
                    <a:lnTo>
                      <a:pt x="162" y="2004"/>
                    </a:lnTo>
                    <a:lnTo>
                      <a:pt x="174" y="2010"/>
                    </a:lnTo>
                    <a:lnTo>
                      <a:pt x="186" y="1980"/>
                    </a:lnTo>
                    <a:lnTo>
                      <a:pt x="180" y="1974"/>
                    </a:lnTo>
                    <a:lnTo>
                      <a:pt x="174" y="1974"/>
                    </a:lnTo>
                    <a:lnTo>
                      <a:pt x="162" y="1968"/>
                    </a:lnTo>
                    <a:lnTo>
                      <a:pt x="156" y="1968"/>
                    </a:lnTo>
                    <a:lnTo>
                      <a:pt x="150" y="1974"/>
                    </a:lnTo>
                    <a:lnTo>
                      <a:pt x="150" y="1980"/>
                    </a:lnTo>
                    <a:close/>
                    <a:moveTo>
                      <a:pt x="126" y="1932"/>
                    </a:moveTo>
                    <a:lnTo>
                      <a:pt x="120" y="1932"/>
                    </a:lnTo>
                    <a:lnTo>
                      <a:pt x="108" y="1938"/>
                    </a:lnTo>
                    <a:lnTo>
                      <a:pt x="96" y="1938"/>
                    </a:lnTo>
                    <a:lnTo>
                      <a:pt x="84" y="1944"/>
                    </a:lnTo>
                    <a:lnTo>
                      <a:pt x="78" y="1944"/>
                    </a:lnTo>
                    <a:lnTo>
                      <a:pt x="78" y="1950"/>
                    </a:lnTo>
                    <a:lnTo>
                      <a:pt x="72" y="1962"/>
                    </a:lnTo>
                    <a:lnTo>
                      <a:pt x="66" y="1968"/>
                    </a:lnTo>
                    <a:lnTo>
                      <a:pt x="48" y="1968"/>
                    </a:lnTo>
                    <a:lnTo>
                      <a:pt x="42" y="1962"/>
                    </a:lnTo>
                    <a:lnTo>
                      <a:pt x="48" y="1956"/>
                    </a:lnTo>
                    <a:lnTo>
                      <a:pt x="60" y="1956"/>
                    </a:lnTo>
                    <a:lnTo>
                      <a:pt x="66" y="1950"/>
                    </a:lnTo>
                    <a:lnTo>
                      <a:pt x="72" y="1950"/>
                    </a:lnTo>
                    <a:lnTo>
                      <a:pt x="78" y="1944"/>
                    </a:lnTo>
                    <a:lnTo>
                      <a:pt x="84" y="1944"/>
                    </a:lnTo>
                    <a:lnTo>
                      <a:pt x="78" y="1938"/>
                    </a:lnTo>
                    <a:lnTo>
                      <a:pt x="54" y="1938"/>
                    </a:lnTo>
                    <a:lnTo>
                      <a:pt x="48" y="1944"/>
                    </a:lnTo>
                    <a:lnTo>
                      <a:pt x="48" y="1932"/>
                    </a:lnTo>
                    <a:lnTo>
                      <a:pt x="36" y="1932"/>
                    </a:lnTo>
                    <a:lnTo>
                      <a:pt x="24" y="1944"/>
                    </a:lnTo>
                    <a:lnTo>
                      <a:pt x="6" y="1980"/>
                    </a:lnTo>
                    <a:lnTo>
                      <a:pt x="6" y="2004"/>
                    </a:lnTo>
                    <a:lnTo>
                      <a:pt x="12" y="2004"/>
                    </a:lnTo>
                    <a:lnTo>
                      <a:pt x="12" y="2010"/>
                    </a:lnTo>
                    <a:lnTo>
                      <a:pt x="18" y="2016"/>
                    </a:lnTo>
                    <a:lnTo>
                      <a:pt x="0" y="2022"/>
                    </a:lnTo>
                    <a:lnTo>
                      <a:pt x="12" y="2076"/>
                    </a:lnTo>
                    <a:lnTo>
                      <a:pt x="12" y="2082"/>
                    </a:lnTo>
                    <a:lnTo>
                      <a:pt x="6" y="2082"/>
                    </a:lnTo>
                    <a:lnTo>
                      <a:pt x="12" y="2088"/>
                    </a:lnTo>
                    <a:lnTo>
                      <a:pt x="12" y="2094"/>
                    </a:lnTo>
                    <a:lnTo>
                      <a:pt x="30" y="2094"/>
                    </a:lnTo>
                    <a:lnTo>
                      <a:pt x="30" y="2070"/>
                    </a:lnTo>
                    <a:lnTo>
                      <a:pt x="24" y="2058"/>
                    </a:lnTo>
                    <a:lnTo>
                      <a:pt x="24" y="2040"/>
                    </a:lnTo>
                    <a:lnTo>
                      <a:pt x="36" y="2028"/>
                    </a:lnTo>
                    <a:lnTo>
                      <a:pt x="42" y="2028"/>
                    </a:lnTo>
                    <a:lnTo>
                      <a:pt x="48" y="2016"/>
                    </a:lnTo>
                    <a:lnTo>
                      <a:pt x="54" y="2010"/>
                    </a:lnTo>
                    <a:lnTo>
                      <a:pt x="54" y="1986"/>
                    </a:lnTo>
                    <a:lnTo>
                      <a:pt x="84" y="1956"/>
                    </a:lnTo>
                    <a:lnTo>
                      <a:pt x="108" y="1944"/>
                    </a:lnTo>
                    <a:lnTo>
                      <a:pt x="114" y="1944"/>
                    </a:lnTo>
                    <a:lnTo>
                      <a:pt x="126" y="1938"/>
                    </a:lnTo>
                    <a:lnTo>
                      <a:pt x="126" y="1932"/>
                    </a:lnTo>
                    <a:close/>
                    <a:moveTo>
                      <a:pt x="1896" y="678"/>
                    </a:moveTo>
                    <a:lnTo>
                      <a:pt x="1896" y="690"/>
                    </a:lnTo>
                    <a:lnTo>
                      <a:pt x="1884" y="702"/>
                    </a:lnTo>
                    <a:lnTo>
                      <a:pt x="1884" y="714"/>
                    </a:lnTo>
                    <a:lnTo>
                      <a:pt x="1902" y="714"/>
                    </a:lnTo>
                    <a:lnTo>
                      <a:pt x="1926" y="708"/>
                    </a:lnTo>
                    <a:lnTo>
                      <a:pt x="1944" y="708"/>
                    </a:lnTo>
                    <a:lnTo>
                      <a:pt x="1980" y="696"/>
                    </a:lnTo>
                    <a:lnTo>
                      <a:pt x="1986" y="690"/>
                    </a:lnTo>
                    <a:lnTo>
                      <a:pt x="1992" y="690"/>
                    </a:lnTo>
                    <a:lnTo>
                      <a:pt x="2034" y="702"/>
                    </a:lnTo>
                    <a:lnTo>
                      <a:pt x="2112" y="642"/>
                    </a:lnTo>
                    <a:lnTo>
                      <a:pt x="2244" y="600"/>
                    </a:lnTo>
                    <a:lnTo>
                      <a:pt x="2370" y="564"/>
                    </a:lnTo>
                    <a:lnTo>
                      <a:pt x="2466" y="546"/>
                    </a:lnTo>
                    <a:lnTo>
                      <a:pt x="2454" y="540"/>
                    </a:lnTo>
                    <a:lnTo>
                      <a:pt x="2448" y="528"/>
                    </a:lnTo>
                    <a:lnTo>
                      <a:pt x="2436" y="522"/>
                    </a:lnTo>
                    <a:lnTo>
                      <a:pt x="2424" y="510"/>
                    </a:lnTo>
                    <a:lnTo>
                      <a:pt x="2412" y="504"/>
                    </a:lnTo>
                    <a:lnTo>
                      <a:pt x="2400" y="492"/>
                    </a:lnTo>
                    <a:lnTo>
                      <a:pt x="2352" y="492"/>
                    </a:lnTo>
                    <a:lnTo>
                      <a:pt x="2340" y="498"/>
                    </a:lnTo>
                    <a:lnTo>
                      <a:pt x="2328" y="498"/>
                    </a:lnTo>
                    <a:lnTo>
                      <a:pt x="2262" y="504"/>
                    </a:lnTo>
                    <a:lnTo>
                      <a:pt x="2226" y="480"/>
                    </a:lnTo>
                    <a:lnTo>
                      <a:pt x="2142" y="486"/>
                    </a:lnTo>
                    <a:lnTo>
                      <a:pt x="2094" y="504"/>
                    </a:lnTo>
                    <a:lnTo>
                      <a:pt x="2076" y="522"/>
                    </a:lnTo>
                    <a:lnTo>
                      <a:pt x="2064" y="552"/>
                    </a:lnTo>
                    <a:lnTo>
                      <a:pt x="2010" y="564"/>
                    </a:lnTo>
                    <a:lnTo>
                      <a:pt x="1944" y="588"/>
                    </a:lnTo>
                    <a:lnTo>
                      <a:pt x="1962" y="600"/>
                    </a:lnTo>
                    <a:lnTo>
                      <a:pt x="1842" y="654"/>
                    </a:lnTo>
                    <a:lnTo>
                      <a:pt x="1854" y="654"/>
                    </a:lnTo>
                    <a:lnTo>
                      <a:pt x="1890" y="672"/>
                    </a:lnTo>
                    <a:lnTo>
                      <a:pt x="1896" y="678"/>
                    </a:lnTo>
                    <a:close/>
                    <a:moveTo>
                      <a:pt x="198" y="1968"/>
                    </a:moveTo>
                    <a:lnTo>
                      <a:pt x="192" y="1992"/>
                    </a:lnTo>
                    <a:lnTo>
                      <a:pt x="192" y="2010"/>
                    </a:lnTo>
                    <a:lnTo>
                      <a:pt x="216" y="1998"/>
                    </a:lnTo>
                    <a:lnTo>
                      <a:pt x="198" y="1968"/>
                    </a:lnTo>
                    <a:close/>
                    <a:moveTo>
                      <a:pt x="4182" y="600"/>
                    </a:moveTo>
                    <a:lnTo>
                      <a:pt x="4194" y="606"/>
                    </a:lnTo>
                    <a:lnTo>
                      <a:pt x="4206" y="600"/>
                    </a:lnTo>
                    <a:lnTo>
                      <a:pt x="4218" y="600"/>
                    </a:lnTo>
                    <a:lnTo>
                      <a:pt x="4242" y="588"/>
                    </a:lnTo>
                    <a:lnTo>
                      <a:pt x="4308" y="588"/>
                    </a:lnTo>
                    <a:lnTo>
                      <a:pt x="4314" y="594"/>
                    </a:lnTo>
                    <a:lnTo>
                      <a:pt x="4350" y="594"/>
                    </a:lnTo>
                    <a:lnTo>
                      <a:pt x="4356" y="588"/>
                    </a:lnTo>
                    <a:lnTo>
                      <a:pt x="4356" y="582"/>
                    </a:lnTo>
                    <a:lnTo>
                      <a:pt x="4344" y="558"/>
                    </a:lnTo>
                    <a:lnTo>
                      <a:pt x="4338" y="552"/>
                    </a:lnTo>
                    <a:lnTo>
                      <a:pt x="4326" y="546"/>
                    </a:lnTo>
                    <a:lnTo>
                      <a:pt x="4230" y="546"/>
                    </a:lnTo>
                    <a:lnTo>
                      <a:pt x="4224" y="540"/>
                    </a:lnTo>
                    <a:lnTo>
                      <a:pt x="4212" y="540"/>
                    </a:lnTo>
                    <a:lnTo>
                      <a:pt x="4200" y="534"/>
                    </a:lnTo>
                    <a:lnTo>
                      <a:pt x="4188" y="534"/>
                    </a:lnTo>
                    <a:lnTo>
                      <a:pt x="4176" y="540"/>
                    </a:lnTo>
                    <a:lnTo>
                      <a:pt x="4158" y="558"/>
                    </a:lnTo>
                    <a:lnTo>
                      <a:pt x="4158" y="564"/>
                    </a:lnTo>
                    <a:lnTo>
                      <a:pt x="4176" y="576"/>
                    </a:lnTo>
                    <a:lnTo>
                      <a:pt x="4170" y="582"/>
                    </a:lnTo>
                    <a:lnTo>
                      <a:pt x="4170" y="594"/>
                    </a:lnTo>
                    <a:lnTo>
                      <a:pt x="4176" y="594"/>
                    </a:lnTo>
                    <a:lnTo>
                      <a:pt x="4182" y="600"/>
                    </a:lnTo>
                    <a:close/>
                    <a:moveTo>
                      <a:pt x="3708" y="516"/>
                    </a:moveTo>
                    <a:lnTo>
                      <a:pt x="3678" y="516"/>
                    </a:lnTo>
                    <a:lnTo>
                      <a:pt x="3624" y="510"/>
                    </a:lnTo>
                    <a:lnTo>
                      <a:pt x="3564" y="504"/>
                    </a:lnTo>
                    <a:lnTo>
                      <a:pt x="3468" y="504"/>
                    </a:lnTo>
                    <a:lnTo>
                      <a:pt x="3468" y="516"/>
                    </a:lnTo>
                    <a:lnTo>
                      <a:pt x="3462" y="522"/>
                    </a:lnTo>
                    <a:lnTo>
                      <a:pt x="3426" y="540"/>
                    </a:lnTo>
                    <a:lnTo>
                      <a:pt x="3396" y="546"/>
                    </a:lnTo>
                    <a:lnTo>
                      <a:pt x="3378" y="552"/>
                    </a:lnTo>
                    <a:lnTo>
                      <a:pt x="3372" y="552"/>
                    </a:lnTo>
                    <a:lnTo>
                      <a:pt x="3372" y="558"/>
                    </a:lnTo>
                    <a:lnTo>
                      <a:pt x="3384" y="570"/>
                    </a:lnTo>
                    <a:lnTo>
                      <a:pt x="3390" y="582"/>
                    </a:lnTo>
                    <a:lnTo>
                      <a:pt x="3390" y="594"/>
                    </a:lnTo>
                    <a:lnTo>
                      <a:pt x="3372" y="618"/>
                    </a:lnTo>
                    <a:lnTo>
                      <a:pt x="3402" y="636"/>
                    </a:lnTo>
                    <a:lnTo>
                      <a:pt x="3480" y="606"/>
                    </a:lnTo>
                    <a:lnTo>
                      <a:pt x="3474" y="600"/>
                    </a:lnTo>
                    <a:lnTo>
                      <a:pt x="3468" y="600"/>
                    </a:lnTo>
                    <a:lnTo>
                      <a:pt x="3468" y="594"/>
                    </a:lnTo>
                    <a:lnTo>
                      <a:pt x="3474" y="588"/>
                    </a:lnTo>
                    <a:lnTo>
                      <a:pt x="3486" y="582"/>
                    </a:lnTo>
                    <a:lnTo>
                      <a:pt x="3522" y="582"/>
                    </a:lnTo>
                    <a:lnTo>
                      <a:pt x="3546" y="594"/>
                    </a:lnTo>
                    <a:lnTo>
                      <a:pt x="3552" y="600"/>
                    </a:lnTo>
                    <a:lnTo>
                      <a:pt x="3606" y="594"/>
                    </a:lnTo>
                    <a:lnTo>
                      <a:pt x="3600" y="570"/>
                    </a:lnTo>
                    <a:lnTo>
                      <a:pt x="3630" y="570"/>
                    </a:lnTo>
                    <a:lnTo>
                      <a:pt x="3648" y="564"/>
                    </a:lnTo>
                    <a:lnTo>
                      <a:pt x="3666" y="564"/>
                    </a:lnTo>
                    <a:lnTo>
                      <a:pt x="3690" y="552"/>
                    </a:lnTo>
                    <a:lnTo>
                      <a:pt x="3696" y="546"/>
                    </a:lnTo>
                    <a:lnTo>
                      <a:pt x="3702" y="534"/>
                    </a:lnTo>
                    <a:lnTo>
                      <a:pt x="3714" y="522"/>
                    </a:lnTo>
                    <a:lnTo>
                      <a:pt x="3720" y="522"/>
                    </a:lnTo>
                    <a:lnTo>
                      <a:pt x="3714" y="516"/>
                    </a:lnTo>
                    <a:lnTo>
                      <a:pt x="3708" y="516"/>
                    </a:lnTo>
                    <a:close/>
                    <a:moveTo>
                      <a:pt x="3792" y="150"/>
                    </a:moveTo>
                    <a:lnTo>
                      <a:pt x="3738" y="156"/>
                    </a:lnTo>
                    <a:lnTo>
                      <a:pt x="3756" y="180"/>
                    </a:lnTo>
                    <a:lnTo>
                      <a:pt x="3792" y="150"/>
                    </a:lnTo>
                    <a:close/>
                    <a:moveTo>
                      <a:pt x="3612" y="480"/>
                    </a:moveTo>
                    <a:lnTo>
                      <a:pt x="3636" y="468"/>
                    </a:lnTo>
                    <a:lnTo>
                      <a:pt x="3642" y="456"/>
                    </a:lnTo>
                    <a:lnTo>
                      <a:pt x="3654" y="450"/>
                    </a:lnTo>
                    <a:lnTo>
                      <a:pt x="3660" y="438"/>
                    </a:lnTo>
                    <a:lnTo>
                      <a:pt x="3660" y="432"/>
                    </a:lnTo>
                    <a:lnTo>
                      <a:pt x="3654" y="426"/>
                    </a:lnTo>
                    <a:lnTo>
                      <a:pt x="3642" y="426"/>
                    </a:lnTo>
                    <a:lnTo>
                      <a:pt x="3630" y="420"/>
                    </a:lnTo>
                    <a:lnTo>
                      <a:pt x="3588" y="420"/>
                    </a:lnTo>
                    <a:lnTo>
                      <a:pt x="3570" y="426"/>
                    </a:lnTo>
                    <a:lnTo>
                      <a:pt x="3552" y="426"/>
                    </a:lnTo>
                    <a:lnTo>
                      <a:pt x="3534" y="438"/>
                    </a:lnTo>
                    <a:lnTo>
                      <a:pt x="3516" y="444"/>
                    </a:lnTo>
                    <a:lnTo>
                      <a:pt x="3504" y="450"/>
                    </a:lnTo>
                    <a:lnTo>
                      <a:pt x="3504" y="462"/>
                    </a:lnTo>
                    <a:lnTo>
                      <a:pt x="3528" y="468"/>
                    </a:lnTo>
                    <a:lnTo>
                      <a:pt x="3600" y="480"/>
                    </a:lnTo>
                    <a:lnTo>
                      <a:pt x="3612" y="480"/>
                    </a:lnTo>
                    <a:close/>
                    <a:moveTo>
                      <a:pt x="3954" y="180"/>
                    </a:moveTo>
                    <a:lnTo>
                      <a:pt x="3900" y="192"/>
                    </a:lnTo>
                    <a:lnTo>
                      <a:pt x="3936" y="210"/>
                    </a:lnTo>
                    <a:lnTo>
                      <a:pt x="3924" y="216"/>
                    </a:lnTo>
                    <a:lnTo>
                      <a:pt x="3918" y="222"/>
                    </a:lnTo>
                    <a:lnTo>
                      <a:pt x="3918" y="228"/>
                    </a:lnTo>
                    <a:lnTo>
                      <a:pt x="3924" y="234"/>
                    </a:lnTo>
                    <a:lnTo>
                      <a:pt x="3936" y="240"/>
                    </a:lnTo>
                    <a:lnTo>
                      <a:pt x="3966" y="240"/>
                    </a:lnTo>
                    <a:lnTo>
                      <a:pt x="3942" y="252"/>
                    </a:lnTo>
                    <a:lnTo>
                      <a:pt x="3954" y="252"/>
                    </a:lnTo>
                    <a:lnTo>
                      <a:pt x="4002" y="276"/>
                    </a:lnTo>
                    <a:lnTo>
                      <a:pt x="4014" y="276"/>
                    </a:lnTo>
                    <a:lnTo>
                      <a:pt x="4026" y="270"/>
                    </a:lnTo>
                    <a:lnTo>
                      <a:pt x="4032" y="264"/>
                    </a:lnTo>
                    <a:lnTo>
                      <a:pt x="4044" y="258"/>
                    </a:lnTo>
                    <a:lnTo>
                      <a:pt x="4050" y="252"/>
                    </a:lnTo>
                    <a:lnTo>
                      <a:pt x="4074" y="246"/>
                    </a:lnTo>
                    <a:lnTo>
                      <a:pt x="4086" y="258"/>
                    </a:lnTo>
                    <a:lnTo>
                      <a:pt x="4092" y="270"/>
                    </a:lnTo>
                    <a:lnTo>
                      <a:pt x="4098" y="276"/>
                    </a:lnTo>
                    <a:lnTo>
                      <a:pt x="4104" y="270"/>
                    </a:lnTo>
                    <a:lnTo>
                      <a:pt x="4116" y="270"/>
                    </a:lnTo>
                    <a:lnTo>
                      <a:pt x="4128" y="264"/>
                    </a:lnTo>
                    <a:lnTo>
                      <a:pt x="4134" y="258"/>
                    </a:lnTo>
                    <a:lnTo>
                      <a:pt x="4146" y="258"/>
                    </a:lnTo>
                    <a:lnTo>
                      <a:pt x="4152" y="252"/>
                    </a:lnTo>
                    <a:lnTo>
                      <a:pt x="4158" y="252"/>
                    </a:lnTo>
                    <a:lnTo>
                      <a:pt x="4170" y="246"/>
                    </a:lnTo>
                    <a:lnTo>
                      <a:pt x="4176" y="234"/>
                    </a:lnTo>
                    <a:lnTo>
                      <a:pt x="4182" y="228"/>
                    </a:lnTo>
                    <a:lnTo>
                      <a:pt x="4194" y="246"/>
                    </a:lnTo>
                    <a:lnTo>
                      <a:pt x="4218" y="222"/>
                    </a:lnTo>
                    <a:lnTo>
                      <a:pt x="4218" y="216"/>
                    </a:lnTo>
                    <a:lnTo>
                      <a:pt x="4236" y="210"/>
                    </a:lnTo>
                    <a:lnTo>
                      <a:pt x="4326" y="210"/>
                    </a:lnTo>
                    <a:lnTo>
                      <a:pt x="4332" y="204"/>
                    </a:lnTo>
                    <a:lnTo>
                      <a:pt x="4332" y="192"/>
                    </a:lnTo>
                    <a:lnTo>
                      <a:pt x="4266" y="186"/>
                    </a:lnTo>
                    <a:lnTo>
                      <a:pt x="4302" y="174"/>
                    </a:lnTo>
                    <a:lnTo>
                      <a:pt x="4302" y="132"/>
                    </a:lnTo>
                    <a:lnTo>
                      <a:pt x="4278" y="132"/>
                    </a:lnTo>
                    <a:lnTo>
                      <a:pt x="4266" y="138"/>
                    </a:lnTo>
                    <a:lnTo>
                      <a:pt x="4260" y="144"/>
                    </a:lnTo>
                    <a:lnTo>
                      <a:pt x="4248" y="150"/>
                    </a:lnTo>
                    <a:lnTo>
                      <a:pt x="4242" y="126"/>
                    </a:lnTo>
                    <a:lnTo>
                      <a:pt x="4194" y="132"/>
                    </a:lnTo>
                    <a:lnTo>
                      <a:pt x="4194" y="120"/>
                    </a:lnTo>
                    <a:lnTo>
                      <a:pt x="4176" y="84"/>
                    </a:lnTo>
                    <a:lnTo>
                      <a:pt x="4140" y="84"/>
                    </a:lnTo>
                    <a:lnTo>
                      <a:pt x="4122" y="90"/>
                    </a:lnTo>
                    <a:lnTo>
                      <a:pt x="4110" y="96"/>
                    </a:lnTo>
                    <a:lnTo>
                      <a:pt x="4104" y="102"/>
                    </a:lnTo>
                    <a:lnTo>
                      <a:pt x="4098" y="102"/>
                    </a:lnTo>
                    <a:lnTo>
                      <a:pt x="4020" y="108"/>
                    </a:lnTo>
                    <a:lnTo>
                      <a:pt x="4044" y="126"/>
                    </a:lnTo>
                    <a:lnTo>
                      <a:pt x="3996" y="126"/>
                    </a:lnTo>
                    <a:lnTo>
                      <a:pt x="3984" y="132"/>
                    </a:lnTo>
                    <a:lnTo>
                      <a:pt x="3972" y="132"/>
                    </a:lnTo>
                    <a:lnTo>
                      <a:pt x="3966" y="138"/>
                    </a:lnTo>
                    <a:lnTo>
                      <a:pt x="3984" y="156"/>
                    </a:lnTo>
                    <a:lnTo>
                      <a:pt x="3972" y="156"/>
                    </a:lnTo>
                    <a:lnTo>
                      <a:pt x="3936" y="150"/>
                    </a:lnTo>
                    <a:lnTo>
                      <a:pt x="3906" y="156"/>
                    </a:lnTo>
                    <a:lnTo>
                      <a:pt x="3888" y="168"/>
                    </a:lnTo>
                    <a:lnTo>
                      <a:pt x="3888" y="174"/>
                    </a:lnTo>
                    <a:lnTo>
                      <a:pt x="3894" y="180"/>
                    </a:lnTo>
                    <a:lnTo>
                      <a:pt x="3954" y="180"/>
                    </a:lnTo>
                    <a:close/>
                    <a:moveTo>
                      <a:pt x="3972" y="294"/>
                    </a:moveTo>
                    <a:lnTo>
                      <a:pt x="3954" y="300"/>
                    </a:lnTo>
                    <a:lnTo>
                      <a:pt x="3942" y="306"/>
                    </a:lnTo>
                    <a:lnTo>
                      <a:pt x="3936" y="312"/>
                    </a:lnTo>
                    <a:lnTo>
                      <a:pt x="3936" y="318"/>
                    </a:lnTo>
                    <a:lnTo>
                      <a:pt x="3966" y="324"/>
                    </a:lnTo>
                    <a:lnTo>
                      <a:pt x="3972" y="324"/>
                    </a:lnTo>
                    <a:lnTo>
                      <a:pt x="3990" y="306"/>
                    </a:lnTo>
                    <a:lnTo>
                      <a:pt x="3990" y="300"/>
                    </a:lnTo>
                    <a:lnTo>
                      <a:pt x="3984" y="294"/>
                    </a:lnTo>
                    <a:lnTo>
                      <a:pt x="3972" y="294"/>
                    </a:lnTo>
                    <a:close/>
                    <a:moveTo>
                      <a:pt x="3738" y="336"/>
                    </a:moveTo>
                    <a:lnTo>
                      <a:pt x="3726" y="336"/>
                    </a:lnTo>
                    <a:lnTo>
                      <a:pt x="3720" y="330"/>
                    </a:lnTo>
                    <a:lnTo>
                      <a:pt x="3672" y="330"/>
                    </a:lnTo>
                    <a:lnTo>
                      <a:pt x="3636" y="336"/>
                    </a:lnTo>
                    <a:lnTo>
                      <a:pt x="3624" y="342"/>
                    </a:lnTo>
                    <a:lnTo>
                      <a:pt x="3642" y="360"/>
                    </a:lnTo>
                    <a:lnTo>
                      <a:pt x="3654" y="360"/>
                    </a:lnTo>
                    <a:lnTo>
                      <a:pt x="3660" y="378"/>
                    </a:lnTo>
                    <a:lnTo>
                      <a:pt x="3768" y="378"/>
                    </a:lnTo>
                    <a:lnTo>
                      <a:pt x="3768" y="390"/>
                    </a:lnTo>
                    <a:lnTo>
                      <a:pt x="3762" y="396"/>
                    </a:lnTo>
                    <a:lnTo>
                      <a:pt x="3762" y="408"/>
                    </a:lnTo>
                    <a:lnTo>
                      <a:pt x="3708" y="450"/>
                    </a:lnTo>
                    <a:lnTo>
                      <a:pt x="3732" y="456"/>
                    </a:lnTo>
                    <a:lnTo>
                      <a:pt x="3720" y="468"/>
                    </a:lnTo>
                    <a:lnTo>
                      <a:pt x="3714" y="468"/>
                    </a:lnTo>
                    <a:lnTo>
                      <a:pt x="3708" y="474"/>
                    </a:lnTo>
                    <a:lnTo>
                      <a:pt x="3708" y="480"/>
                    </a:lnTo>
                    <a:lnTo>
                      <a:pt x="3726" y="480"/>
                    </a:lnTo>
                    <a:lnTo>
                      <a:pt x="3738" y="474"/>
                    </a:lnTo>
                    <a:lnTo>
                      <a:pt x="3744" y="474"/>
                    </a:lnTo>
                    <a:lnTo>
                      <a:pt x="3756" y="468"/>
                    </a:lnTo>
                    <a:lnTo>
                      <a:pt x="3756" y="480"/>
                    </a:lnTo>
                    <a:lnTo>
                      <a:pt x="3792" y="480"/>
                    </a:lnTo>
                    <a:lnTo>
                      <a:pt x="3810" y="474"/>
                    </a:lnTo>
                    <a:lnTo>
                      <a:pt x="3822" y="468"/>
                    </a:lnTo>
                    <a:lnTo>
                      <a:pt x="3840" y="468"/>
                    </a:lnTo>
                    <a:lnTo>
                      <a:pt x="3846" y="462"/>
                    </a:lnTo>
                    <a:lnTo>
                      <a:pt x="3852" y="462"/>
                    </a:lnTo>
                    <a:lnTo>
                      <a:pt x="3858" y="486"/>
                    </a:lnTo>
                    <a:lnTo>
                      <a:pt x="3924" y="480"/>
                    </a:lnTo>
                    <a:lnTo>
                      <a:pt x="4002" y="498"/>
                    </a:lnTo>
                    <a:lnTo>
                      <a:pt x="4098" y="486"/>
                    </a:lnTo>
                    <a:lnTo>
                      <a:pt x="4128" y="468"/>
                    </a:lnTo>
                    <a:lnTo>
                      <a:pt x="4122" y="474"/>
                    </a:lnTo>
                    <a:lnTo>
                      <a:pt x="4122" y="486"/>
                    </a:lnTo>
                    <a:lnTo>
                      <a:pt x="4260" y="486"/>
                    </a:lnTo>
                    <a:lnTo>
                      <a:pt x="4272" y="468"/>
                    </a:lnTo>
                    <a:lnTo>
                      <a:pt x="4338" y="438"/>
                    </a:lnTo>
                    <a:lnTo>
                      <a:pt x="4320" y="432"/>
                    </a:lnTo>
                    <a:lnTo>
                      <a:pt x="4320" y="420"/>
                    </a:lnTo>
                    <a:lnTo>
                      <a:pt x="4314" y="420"/>
                    </a:lnTo>
                    <a:lnTo>
                      <a:pt x="4308" y="414"/>
                    </a:lnTo>
                    <a:lnTo>
                      <a:pt x="4290" y="414"/>
                    </a:lnTo>
                    <a:lnTo>
                      <a:pt x="4278" y="408"/>
                    </a:lnTo>
                    <a:lnTo>
                      <a:pt x="4260" y="408"/>
                    </a:lnTo>
                    <a:lnTo>
                      <a:pt x="4242" y="402"/>
                    </a:lnTo>
                    <a:lnTo>
                      <a:pt x="4206" y="402"/>
                    </a:lnTo>
                    <a:lnTo>
                      <a:pt x="4164" y="414"/>
                    </a:lnTo>
                    <a:lnTo>
                      <a:pt x="4116" y="420"/>
                    </a:lnTo>
                    <a:lnTo>
                      <a:pt x="4074" y="426"/>
                    </a:lnTo>
                    <a:lnTo>
                      <a:pt x="4038" y="438"/>
                    </a:lnTo>
                    <a:lnTo>
                      <a:pt x="4026" y="438"/>
                    </a:lnTo>
                    <a:lnTo>
                      <a:pt x="4014" y="432"/>
                    </a:lnTo>
                    <a:lnTo>
                      <a:pt x="4008" y="426"/>
                    </a:lnTo>
                    <a:lnTo>
                      <a:pt x="3996" y="420"/>
                    </a:lnTo>
                    <a:lnTo>
                      <a:pt x="3984" y="420"/>
                    </a:lnTo>
                    <a:lnTo>
                      <a:pt x="3972" y="426"/>
                    </a:lnTo>
                    <a:lnTo>
                      <a:pt x="3960" y="426"/>
                    </a:lnTo>
                    <a:lnTo>
                      <a:pt x="3948" y="432"/>
                    </a:lnTo>
                    <a:lnTo>
                      <a:pt x="3942" y="438"/>
                    </a:lnTo>
                    <a:lnTo>
                      <a:pt x="3936" y="438"/>
                    </a:lnTo>
                    <a:lnTo>
                      <a:pt x="3912" y="414"/>
                    </a:lnTo>
                    <a:lnTo>
                      <a:pt x="3894" y="426"/>
                    </a:lnTo>
                    <a:lnTo>
                      <a:pt x="3864" y="420"/>
                    </a:lnTo>
                    <a:lnTo>
                      <a:pt x="3894" y="408"/>
                    </a:lnTo>
                    <a:lnTo>
                      <a:pt x="3876" y="396"/>
                    </a:lnTo>
                    <a:lnTo>
                      <a:pt x="3822" y="408"/>
                    </a:lnTo>
                    <a:lnTo>
                      <a:pt x="3858" y="396"/>
                    </a:lnTo>
                    <a:lnTo>
                      <a:pt x="3858" y="390"/>
                    </a:lnTo>
                    <a:lnTo>
                      <a:pt x="3924" y="384"/>
                    </a:lnTo>
                    <a:lnTo>
                      <a:pt x="3888" y="372"/>
                    </a:lnTo>
                    <a:lnTo>
                      <a:pt x="3870" y="372"/>
                    </a:lnTo>
                    <a:lnTo>
                      <a:pt x="3876" y="366"/>
                    </a:lnTo>
                    <a:lnTo>
                      <a:pt x="3876" y="360"/>
                    </a:lnTo>
                    <a:lnTo>
                      <a:pt x="3870" y="354"/>
                    </a:lnTo>
                    <a:lnTo>
                      <a:pt x="3840" y="354"/>
                    </a:lnTo>
                    <a:lnTo>
                      <a:pt x="3822" y="360"/>
                    </a:lnTo>
                    <a:lnTo>
                      <a:pt x="3804" y="360"/>
                    </a:lnTo>
                    <a:lnTo>
                      <a:pt x="3786" y="366"/>
                    </a:lnTo>
                    <a:lnTo>
                      <a:pt x="3774" y="354"/>
                    </a:lnTo>
                    <a:lnTo>
                      <a:pt x="3762" y="348"/>
                    </a:lnTo>
                    <a:lnTo>
                      <a:pt x="3756" y="342"/>
                    </a:lnTo>
                    <a:lnTo>
                      <a:pt x="3744" y="336"/>
                    </a:lnTo>
                    <a:lnTo>
                      <a:pt x="3738" y="336"/>
                    </a:lnTo>
                    <a:close/>
                    <a:moveTo>
                      <a:pt x="3264" y="420"/>
                    </a:moveTo>
                    <a:lnTo>
                      <a:pt x="3282" y="420"/>
                    </a:lnTo>
                    <a:lnTo>
                      <a:pt x="3300" y="426"/>
                    </a:lnTo>
                    <a:lnTo>
                      <a:pt x="3318" y="426"/>
                    </a:lnTo>
                    <a:lnTo>
                      <a:pt x="3330" y="432"/>
                    </a:lnTo>
                    <a:lnTo>
                      <a:pt x="3342" y="432"/>
                    </a:lnTo>
                    <a:lnTo>
                      <a:pt x="3330" y="444"/>
                    </a:lnTo>
                    <a:lnTo>
                      <a:pt x="3324" y="444"/>
                    </a:lnTo>
                    <a:lnTo>
                      <a:pt x="3324" y="456"/>
                    </a:lnTo>
                    <a:lnTo>
                      <a:pt x="3438" y="456"/>
                    </a:lnTo>
                    <a:lnTo>
                      <a:pt x="3462" y="444"/>
                    </a:lnTo>
                    <a:lnTo>
                      <a:pt x="3462" y="432"/>
                    </a:lnTo>
                    <a:lnTo>
                      <a:pt x="3468" y="426"/>
                    </a:lnTo>
                    <a:lnTo>
                      <a:pt x="3480" y="426"/>
                    </a:lnTo>
                    <a:lnTo>
                      <a:pt x="3492" y="420"/>
                    </a:lnTo>
                    <a:lnTo>
                      <a:pt x="3504" y="420"/>
                    </a:lnTo>
                    <a:lnTo>
                      <a:pt x="3510" y="414"/>
                    </a:lnTo>
                    <a:lnTo>
                      <a:pt x="3510" y="408"/>
                    </a:lnTo>
                    <a:lnTo>
                      <a:pt x="3522" y="396"/>
                    </a:lnTo>
                    <a:lnTo>
                      <a:pt x="3534" y="390"/>
                    </a:lnTo>
                    <a:lnTo>
                      <a:pt x="3540" y="384"/>
                    </a:lnTo>
                    <a:lnTo>
                      <a:pt x="3552" y="378"/>
                    </a:lnTo>
                    <a:lnTo>
                      <a:pt x="3552" y="372"/>
                    </a:lnTo>
                    <a:lnTo>
                      <a:pt x="3546" y="366"/>
                    </a:lnTo>
                    <a:lnTo>
                      <a:pt x="3534" y="360"/>
                    </a:lnTo>
                    <a:lnTo>
                      <a:pt x="3510" y="360"/>
                    </a:lnTo>
                    <a:lnTo>
                      <a:pt x="3504" y="366"/>
                    </a:lnTo>
                    <a:lnTo>
                      <a:pt x="3492" y="366"/>
                    </a:lnTo>
                    <a:lnTo>
                      <a:pt x="3486" y="360"/>
                    </a:lnTo>
                    <a:lnTo>
                      <a:pt x="3474" y="360"/>
                    </a:lnTo>
                    <a:lnTo>
                      <a:pt x="3462" y="354"/>
                    </a:lnTo>
                    <a:lnTo>
                      <a:pt x="3450" y="354"/>
                    </a:lnTo>
                    <a:lnTo>
                      <a:pt x="3432" y="348"/>
                    </a:lnTo>
                    <a:lnTo>
                      <a:pt x="3426" y="354"/>
                    </a:lnTo>
                    <a:lnTo>
                      <a:pt x="3420" y="354"/>
                    </a:lnTo>
                    <a:lnTo>
                      <a:pt x="3414" y="366"/>
                    </a:lnTo>
                    <a:lnTo>
                      <a:pt x="3414" y="396"/>
                    </a:lnTo>
                    <a:lnTo>
                      <a:pt x="3396" y="378"/>
                    </a:lnTo>
                    <a:lnTo>
                      <a:pt x="3384" y="372"/>
                    </a:lnTo>
                    <a:lnTo>
                      <a:pt x="3366" y="372"/>
                    </a:lnTo>
                    <a:lnTo>
                      <a:pt x="3354" y="384"/>
                    </a:lnTo>
                    <a:lnTo>
                      <a:pt x="3348" y="396"/>
                    </a:lnTo>
                    <a:lnTo>
                      <a:pt x="3330" y="414"/>
                    </a:lnTo>
                    <a:lnTo>
                      <a:pt x="3324" y="414"/>
                    </a:lnTo>
                    <a:lnTo>
                      <a:pt x="3300" y="366"/>
                    </a:lnTo>
                    <a:lnTo>
                      <a:pt x="3288" y="360"/>
                    </a:lnTo>
                    <a:lnTo>
                      <a:pt x="3258" y="360"/>
                    </a:lnTo>
                    <a:lnTo>
                      <a:pt x="3246" y="366"/>
                    </a:lnTo>
                    <a:lnTo>
                      <a:pt x="3240" y="372"/>
                    </a:lnTo>
                    <a:lnTo>
                      <a:pt x="3240" y="396"/>
                    </a:lnTo>
                    <a:lnTo>
                      <a:pt x="3246" y="408"/>
                    </a:lnTo>
                    <a:lnTo>
                      <a:pt x="3258" y="414"/>
                    </a:lnTo>
                    <a:lnTo>
                      <a:pt x="3264" y="420"/>
                    </a:lnTo>
                    <a:close/>
                    <a:moveTo>
                      <a:pt x="3720" y="288"/>
                    </a:moveTo>
                    <a:lnTo>
                      <a:pt x="3726" y="288"/>
                    </a:lnTo>
                    <a:lnTo>
                      <a:pt x="3732" y="294"/>
                    </a:lnTo>
                    <a:lnTo>
                      <a:pt x="3738" y="306"/>
                    </a:lnTo>
                    <a:lnTo>
                      <a:pt x="3768" y="306"/>
                    </a:lnTo>
                    <a:lnTo>
                      <a:pt x="3780" y="300"/>
                    </a:lnTo>
                    <a:lnTo>
                      <a:pt x="3834" y="300"/>
                    </a:lnTo>
                    <a:lnTo>
                      <a:pt x="3834" y="294"/>
                    </a:lnTo>
                    <a:lnTo>
                      <a:pt x="3828" y="294"/>
                    </a:lnTo>
                    <a:lnTo>
                      <a:pt x="3822" y="288"/>
                    </a:lnTo>
                    <a:lnTo>
                      <a:pt x="3810" y="288"/>
                    </a:lnTo>
                    <a:lnTo>
                      <a:pt x="3804" y="282"/>
                    </a:lnTo>
                    <a:lnTo>
                      <a:pt x="3792" y="282"/>
                    </a:lnTo>
                    <a:lnTo>
                      <a:pt x="3804" y="270"/>
                    </a:lnTo>
                    <a:lnTo>
                      <a:pt x="3816" y="264"/>
                    </a:lnTo>
                    <a:lnTo>
                      <a:pt x="3822" y="264"/>
                    </a:lnTo>
                    <a:lnTo>
                      <a:pt x="3828" y="258"/>
                    </a:lnTo>
                    <a:lnTo>
                      <a:pt x="3822" y="258"/>
                    </a:lnTo>
                    <a:lnTo>
                      <a:pt x="3810" y="252"/>
                    </a:lnTo>
                    <a:lnTo>
                      <a:pt x="3738" y="228"/>
                    </a:lnTo>
                    <a:lnTo>
                      <a:pt x="3732" y="228"/>
                    </a:lnTo>
                    <a:lnTo>
                      <a:pt x="3726" y="234"/>
                    </a:lnTo>
                    <a:lnTo>
                      <a:pt x="3714" y="240"/>
                    </a:lnTo>
                    <a:lnTo>
                      <a:pt x="3702" y="240"/>
                    </a:lnTo>
                    <a:lnTo>
                      <a:pt x="3690" y="252"/>
                    </a:lnTo>
                    <a:lnTo>
                      <a:pt x="3690" y="258"/>
                    </a:lnTo>
                    <a:lnTo>
                      <a:pt x="3696" y="264"/>
                    </a:lnTo>
                    <a:lnTo>
                      <a:pt x="3702" y="276"/>
                    </a:lnTo>
                    <a:lnTo>
                      <a:pt x="3714" y="282"/>
                    </a:lnTo>
                    <a:lnTo>
                      <a:pt x="3720" y="288"/>
                    </a:lnTo>
                    <a:close/>
                    <a:moveTo>
                      <a:pt x="3288" y="504"/>
                    </a:moveTo>
                    <a:lnTo>
                      <a:pt x="3270" y="504"/>
                    </a:lnTo>
                    <a:lnTo>
                      <a:pt x="3234" y="510"/>
                    </a:lnTo>
                    <a:lnTo>
                      <a:pt x="3186" y="516"/>
                    </a:lnTo>
                    <a:lnTo>
                      <a:pt x="3144" y="528"/>
                    </a:lnTo>
                    <a:lnTo>
                      <a:pt x="3132" y="534"/>
                    </a:lnTo>
                    <a:lnTo>
                      <a:pt x="3126" y="540"/>
                    </a:lnTo>
                    <a:lnTo>
                      <a:pt x="3132" y="540"/>
                    </a:lnTo>
                    <a:lnTo>
                      <a:pt x="3150" y="558"/>
                    </a:lnTo>
                    <a:lnTo>
                      <a:pt x="3156" y="570"/>
                    </a:lnTo>
                    <a:lnTo>
                      <a:pt x="3156" y="576"/>
                    </a:lnTo>
                    <a:lnTo>
                      <a:pt x="3138" y="582"/>
                    </a:lnTo>
                    <a:lnTo>
                      <a:pt x="3120" y="570"/>
                    </a:lnTo>
                    <a:lnTo>
                      <a:pt x="3090" y="564"/>
                    </a:lnTo>
                    <a:lnTo>
                      <a:pt x="3048" y="570"/>
                    </a:lnTo>
                    <a:lnTo>
                      <a:pt x="3066" y="606"/>
                    </a:lnTo>
                    <a:lnTo>
                      <a:pt x="3072" y="612"/>
                    </a:lnTo>
                    <a:lnTo>
                      <a:pt x="3084" y="618"/>
                    </a:lnTo>
                    <a:lnTo>
                      <a:pt x="3102" y="624"/>
                    </a:lnTo>
                    <a:lnTo>
                      <a:pt x="3114" y="630"/>
                    </a:lnTo>
                    <a:lnTo>
                      <a:pt x="3120" y="642"/>
                    </a:lnTo>
                    <a:lnTo>
                      <a:pt x="3120" y="654"/>
                    </a:lnTo>
                    <a:lnTo>
                      <a:pt x="3126" y="666"/>
                    </a:lnTo>
                    <a:lnTo>
                      <a:pt x="3126" y="678"/>
                    </a:lnTo>
                    <a:lnTo>
                      <a:pt x="3144" y="678"/>
                    </a:lnTo>
                    <a:lnTo>
                      <a:pt x="3228" y="666"/>
                    </a:lnTo>
                    <a:lnTo>
                      <a:pt x="3264" y="660"/>
                    </a:lnTo>
                    <a:lnTo>
                      <a:pt x="3276" y="654"/>
                    </a:lnTo>
                    <a:lnTo>
                      <a:pt x="3282" y="642"/>
                    </a:lnTo>
                    <a:lnTo>
                      <a:pt x="3288" y="624"/>
                    </a:lnTo>
                    <a:lnTo>
                      <a:pt x="3300" y="600"/>
                    </a:lnTo>
                    <a:lnTo>
                      <a:pt x="3300" y="588"/>
                    </a:lnTo>
                    <a:lnTo>
                      <a:pt x="3228" y="576"/>
                    </a:lnTo>
                    <a:lnTo>
                      <a:pt x="3240" y="570"/>
                    </a:lnTo>
                    <a:lnTo>
                      <a:pt x="3348" y="534"/>
                    </a:lnTo>
                    <a:lnTo>
                      <a:pt x="3360" y="528"/>
                    </a:lnTo>
                    <a:lnTo>
                      <a:pt x="3354" y="522"/>
                    </a:lnTo>
                    <a:lnTo>
                      <a:pt x="3342" y="516"/>
                    </a:lnTo>
                    <a:lnTo>
                      <a:pt x="3324" y="510"/>
                    </a:lnTo>
                    <a:lnTo>
                      <a:pt x="3312" y="510"/>
                    </a:lnTo>
                    <a:lnTo>
                      <a:pt x="3300" y="504"/>
                    </a:lnTo>
                    <a:lnTo>
                      <a:pt x="3288" y="504"/>
                    </a:lnTo>
                    <a:close/>
                    <a:moveTo>
                      <a:pt x="2898" y="744"/>
                    </a:moveTo>
                    <a:lnTo>
                      <a:pt x="2880" y="738"/>
                    </a:lnTo>
                    <a:lnTo>
                      <a:pt x="2796" y="738"/>
                    </a:lnTo>
                    <a:lnTo>
                      <a:pt x="2874" y="696"/>
                    </a:lnTo>
                    <a:lnTo>
                      <a:pt x="2880" y="684"/>
                    </a:lnTo>
                    <a:lnTo>
                      <a:pt x="2886" y="654"/>
                    </a:lnTo>
                    <a:lnTo>
                      <a:pt x="2898" y="624"/>
                    </a:lnTo>
                    <a:lnTo>
                      <a:pt x="2898" y="588"/>
                    </a:lnTo>
                    <a:lnTo>
                      <a:pt x="2880" y="570"/>
                    </a:lnTo>
                    <a:lnTo>
                      <a:pt x="2850" y="570"/>
                    </a:lnTo>
                    <a:lnTo>
                      <a:pt x="2814" y="576"/>
                    </a:lnTo>
                    <a:lnTo>
                      <a:pt x="2796" y="582"/>
                    </a:lnTo>
                    <a:lnTo>
                      <a:pt x="2784" y="588"/>
                    </a:lnTo>
                    <a:lnTo>
                      <a:pt x="2784" y="594"/>
                    </a:lnTo>
                    <a:lnTo>
                      <a:pt x="2766" y="612"/>
                    </a:lnTo>
                    <a:lnTo>
                      <a:pt x="2760" y="630"/>
                    </a:lnTo>
                    <a:lnTo>
                      <a:pt x="2736" y="654"/>
                    </a:lnTo>
                    <a:lnTo>
                      <a:pt x="2718" y="666"/>
                    </a:lnTo>
                    <a:lnTo>
                      <a:pt x="2706" y="672"/>
                    </a:lnTo>
                    <a:lnTo>
                      <a:pt x="2700" y="672"/>
                    </a:lnTo>
                    <a:lnTo>
                      <a:pt x="2694" y="666"/>
                    </a:lnTo>
                    <a:lnTo>
                      <a:pt x="2694" y="660"/>
                    </a:lnTo>
                    <a:lnTo>
                      <a:pt x="2700" y="654"/>
                    </a:lnTo>
                    <a:lnTo>
                      <a:pt x="2706" y="642"/>
                    </a:lnTo>
                    <a:lnTo>
                      <a:pt x="2712" y="636"/>
                    </a:lnTo>
                    <a:lnTo>
                      <a:pt x="2718" y="624"/>
                    </a:lnTo>
                    <a:lnTo>
                      <a:pt x="2718" y="612"/>
                    </a:lnTo>
                    <a:lnTo>
                      <a:pt x="2724" y="606"/>
                    </a:lnTo>
                    <a:lnTo>
                      <a:pt x="2724" y="600"/>
                    </a:lnTo>
                    <a:lnTo>
                      <a:pt x="2706" y="594"/>
                    </a:lnTo>
                    <a:lnTo>
                      <a:pt x="2676" y="588"/>
                    </a:lnTo>
                    <a:lnTo>
                      <a:pt x="2628" y="588"/>
                    </a:lnTo>
                    <a:lnTo>
                      <a:pt x="2622" y="606"/>
                    </a:lnTo>
                    <a:lnTo>
                      <a:pt x="2610" y="612"/>
                    </a:lnTo>
                    <a:lnTo>
                      <a:pt x="2586" y="618"/>
                    </a:lnTo>
                    <a:lnTo>
                      <a:pt x="2550" y="624"/>
                    </a:lnTo>
                    <a:lnTo>
                      <a:pt x="2508" y="630"/>
                    </a:lnTo>
                    <a:lnTo>
                      <a:pt x="2490" y="630"/>
                    </a:lnTo>
                    <a:lnTo>
                      <a:pt x="2496" y="624"/>
                    </a:lnTo>
                    <a:lnTo>
                      <a:pt x="2508" y="618"/>
                    </a:lnTo>
                    <a:lnTo>
                      <a:pt x="2520" y="618"/>
                    </a:lnTo>
                    <a:lnTo>
                      <a:pt x="2538" y="612"/>
                    </a:lnTo>
                    <a:lnTo>
                      <a:pt x="2550" y="606"/>
                    </a:lnTo>
                    <a:lnTo>
                      <a:pt x="2586" y="594"/>
                    </a:lnTo>
                    <a:lnTo>
                      <a:pt x="2598" y="588"/>
                    </a:lnTo>
                    <a:lnTo>
                      <a:pt x="2604" y="588"/>
                    </a:lnTo>
                    <a:lnTo>
                      <a:pt x="2604" y="582"/>
                    </a:lnTo>
                    <a:lnTo>
                      <a:pt x="2592" y="576"/>
                    </a:lnTo>
                    <a:lnTo>
                      <a:pt x="2556" y="576"/>
                    </a:lnTo>
                    <a:lnTo>
                      <a:pt x="2496" y="594"/>
                    </a:lnTo>
                    <a:lnTo>
                      <a:pt x="2460" y="600"/>
                    </a:lnTo>
                    <a:lnTo>
                      <a:pt x="2466" y="594"/>
                    </a:lnTo>
                    <a:lnTo>
                      <a:pt x="2478" y="588"/>
                    </a:lnTo>
                    <a:lnTo>
                      <a:pt x="2490" y="576"/>
                    </a:lnTo>
                    <a:lnTo>
                      <a:pt x="2502" y="570"/>
                    </a:lnTo>
                    <a:lnTo>
                      <a:pt x="2514" y="558"/>
                    </a:lnTo>
                    <a:lnTo>
                      <a:pt x="2508" y="558"/>
                    </a:lnTo>
                    <a:lnTo>
                      <a:pt x="2508" y="552"/>
                    </a:lnTo>
                    <a:lnTo>
                      <a:pt x="2496" y="552"/>
                    </a:lnTo>
                    <a:lnTo>
                      <a:pt x="2346" y="600"/>
                    </a:lnTo>
                    <a:lnTo>
                      <a:pt x="2328" y="600"/>
                    </a:lnTo>
                    <a:lnTo>
                      <a:pt x="2244" y="624"/>
                    </a:lnTo>
                    <a:lnTo>
                      <a:pt x="2250" y="642"/>
                    </a:lnTo>
                    <a:lnTo>
                      <a:pt x="2190" y="660"/>
                    </a:lnTo>
                    <a:lnTo>
                      <a:pt x="2172" y="678"/>
                    </a:lnTo>
                    <a:lnTo>
                      <a:pt x="2202" y="690"/>
                    </a:lnTo>
                    <a:lnTo>
                      <a:pt x="2208" y="684"/>
                    </a:lnTo>
                    <a:lnTo>
                      <a:pt x="2220" y="678"/>
                    </a:lnTo>
                    <a:lnTo>
                      <a:pt x="2238" y="678"/>
                    </a:lnTo>
                    <a:lnTo>
                      <a:pt x="2244" y="684"/>
                    </a:lnTo>
                    <a:lnTo>
                      <a:pt x="2244" y="690"/>
                    </a:lnTo>
                    <a:lnTo>
                      <a:pt x="2238" y="696"/>
                    </a:lnTo>
                    <a:lnTo>
                      <a:pt x="2226" y="696"/>
                    </a:lnTo>
                    <a:lnTo>
                      <a:pt x="2208" y="702"/>
                    </a:lnTo>
                    <a:lnTo>
                      <a:pt x="2196" y="702"/>
                    </a:lnTo>
                    <a:lnTo>
                      <a:pt x="2160" y="720"/>
                    </a:lnTo>
                    <a:lnTo>
                      <a:pt x="2166" y="732"/>
                    </a:lnTo>
                    <a:lnTo>
                      <a:pt x="2196" y="732"/>
                    </a:lnTo>
                    <a:lnTo>
                      <a:pt x="2238" y="738"/>
                    </a:lnTo>
                    <a:lnTo>
                      <a:pt x="2322" y="738"/>
                    </a:lnTo>
                    <a:lnTo>
                      <a:pt x="2352" y="744"/>
                    </a:lnTo>
                    <a:lnTo>
                      <a:pt x="2352" y="750"/>
                    </a:lnTo>
                    <a:lnTo>
                      <a:pt x="2322" y="762"/>
                    </a:lnTo>
                    <a:lnTo>
                      <a:pt x="2280" y="762"/>
                    </a:lnTo>
                    <a:lnTo>
                      <a:pt x="2172" y="774"/>
                    </a:lnTo>
                    <a:lnTo>
                      <a:pt x="2136" y="774"/>
                    </a:lnTo>
                    <a:lnTo>
                      <a:pt x="2112" y="786"/>
                    </a:lnTo>
                    <a:lnTo>
                      <a:pt x="2106" y="792"/>
                    </a:lnTo>
                    <a:lnTo>
                      <a:pt x="2118" y="804"/>
                    </a:lnTo>
                    <a:lnTo>
                      <a:pt x="2130" y="810"/>
                    </a:lnTo>
                    <a:lnTo>
                      <a:pt x="2148" y="810"/>
                    </a:lnTo>
                    <a:lnTo>
                      <a:pt x="2160" y="816"/>
                    </a:lnTo>
                    <a:lnTo>
                      <a:pt x="2178" y="822"/>
                    </a:lnTo>
                    <a:lnTo>
                      <a:pt x="2190" y="828"/>
                    </a:lnTo>
                    <a:lnTo>
                      <a:pt x="2190" y="834"/>
                    </a:lnTo>
                    <a:lnTo>
                      <a:pt x="2184" y="840"/>
                    </a:lnTo>
                    <a:lnTo>
                      <a:pt x="2172" y="840"/>
                    </a:lnTo>
                    <a:lnTo>
                      <a:pt x="2154" y="858"/>
                    </a:lnTo>
                    <a:lnTo>
                      <a:pt x="2166" y="870"/>
                    </a:lnTo>
                    <a:lnTo>
                      <a:pt x="2322" y="870"/>
                    </a:lnTo>
                    <a:lnTo>
                      <a:pt x="2370" y="864"/>
                    </a:lnTo>
                    <a:lnTo>
                      <a:pt x="2436" y="858"/>
                    </a:lnTo>
                    <a:lnTo>
                      <a:pt x="2508" y="846"/>
                    </a:lnTo>
                    <a:lnTo>
                      <a:pt x="2574" y="840"/>
                    </a:lnTo>
                    <a:lnTo>
                      <a:pt x="2616" y="828"/>
                    </a:lnTo>
                    <a:lnTo>
                      <a:pt x="2652" y="828"/>
                    </a:lnTo>
                    <a:lnTo>
                      <a:pt x="2736" y="864"/>
                    </a:lnTo>
                    <a:lnTo>
                      <a:pt x="2778" y="876"/>
                    </a:lnTo>
                    <a:lnTo>
                      <a:pt x="2796" y="876"/>
                    </a:lnTo>
                    <a:lnTo>
                      <a:pt x="2814" y="870"/>
                    </a:lnTo>
                    <a:lnTo>
                      <a:pt x="2832" y="852"/>
                    </a:lnTo>
                    <a:lnTo>
                      <a:pt x="2838" y="840"/>
                    </a:lnTo>
                    <a:lnTo>
                      <a:pt x="2844" y="834"/>
                    </a:lnTo>
                    <a:lnTo>
                      <a:pt x="2844" y="822"/>
                    </a:lnTo>
                    <a:lnTo>
                      <a:pt x="2766" y="822"/>
                    </a:lnTo>
                    <a:lnTo>
                      <a:pt x="2802" y="798"/>
                    </a:lnTo>
                    <a:lnTo>
                      <a:pt x="2850" y="798"/>
                    </a:lnTo>
                    <a:lnTo>
                      <a:pt x="2898" y="792"/>
                    </a:lnTo>
                    <a:lnTo>
                      <a:pt x="2910" y="786"/>
                    </a:lnTo>
                    <a:lnTo>
                      <a:pt x="2916" y="786"/>
                    </a:lnTo>
                    <a:lnTo>
                      <a:pt x="2922" y="780"/>
                    </a:lnTo>
                    <a:lnTo>
                      <a:pt x="2916" y="768"/>
                    </a:lnTo>
                    <a:lnTo>
                      <a:pt x="2898" y="750"/>
                    </a:lnTo>
                    <a:lnTo>
                      <a:pt x="2898" y="744"/>
                    </a:lnTo>
                    <a:close/>
                    <a:moveTo>
                      <a:pt x="2868" y="882"/>
                    </a:moveTo>
                    <a:lnTo>
                      <a:pt x="2886" y="882"/>
                    </a:lnTo>
                    <a:lnTo>
                      <a:pt x="2904" y="876"/>
                    </a:lnTo>
                    <a:lnTo>
                      <a:pt x="2910" y="870"/>
                    </a:lnTo>
                    <a:lnTo>
                      <a:pt x="2910" y="864"/>
                    </a:lnTo>
                    <a:lnTo>
                      <a:pt x="2904" y="858"/>
                    </a:lnTo>
                    <a:lnTo>
                      <a:pt x="2880" y="858"/>
                    </a:lnTo>
                    <a:lnTo>
                      <a:pt x="2868" y="870"/>
                    </a:lnTo>
                    <a:lnTo>
                      <a:pt x="2868" y="882"/>
                    </a:lnTo>
                    <a:close/>
                    <a:moveTo>
                      <a:pt x="3276" y="330"/>
                    </a:moveTo>
                    <a:lnTo>
                      <a:pt x="3288" y="330"/>
                    </a:lnTo>
                    <a:lnTo>
                      <a:pt x="3294" y="324"/>
                    </a:lnTo>
                    <a:lnTo>
                      <a:pt x="3300" y="312"/>
                    </a:lnTo>
                    <a:lnTo>
                      <a:pt x="3300" y="306"/>
                    </a:lnTo>
                    <a:lnTo>
                      <a:pt x="3294" y="294"/>
                    </a:lnTo>
                    <a:lnTo>
                      <a:pt x="3288" y="288"/>
                    </a:lnTo>
                    <a:lnTo>
                      <a:pt x="3276" y="288"/>
                    </a:lnTo>
                    <a:lnTo>
                      <a:pt x="3270" y="300"/>
                    </a:lnTo>
                    <a:lnTo>
                      <a:pt x="3264" y="306"/>
                    </a:lnTo>
                    <a:lnTo>
                      <a:pt x="3264" y="324"/>
                    </a:lnTo>
                    <a:lnTo>
                      <a:pt x="3270" y="330"/>
                    </a:lnTo>
                    <a:lnTo>
                      <a:pt x="3276" y="330"/>
                    </a:lnTo>
                    <a:close/>
                    <a:moveTo>
                      <a:pt x="3462" y="228"/>
                    </a:moveTo>
                    <a:lnTo>
                      <a:pt x="3450" y="240"/>
                    </a:lnTo>
                    <a:lnTo>
                      <a:pt x="3450" y="252"/>
                    </a:lnTo>
                    <a:lnTo>
                      <a:pt x="3456" y="258"/>
                    </a:lnTo>
                    <a:lnTo>
                      <a:pt x="3528" y="258"/>
                    </a:lnTo>
                    <a:lnTo>
                      <a:pt x="3546" y="276"/>
                    </a:lnTo>
                    <a:lnTo>
                      <a:pt x="3558" y="282"/>
                    </a:lnTo>
                    <a:lnTo>
                      <a:pt x="3588" y="282"/>
                    </a:lnTo>
                    <a:lnTo>
                      <a:pt x="3612" y="270"/>
                    </a:lnTo>
                    <a:lnTo>
                      <a:pt x="3618" y="264"/>
                    </a:lnTo>
                    <a:lnTo>
                      <a:pt x="3606" y="252"/>
                    </a:lnTo>
                    <a:lnTo>
                      <a:pt x="3636" y="246"/>
                    </a:lnTo>
                    <a:lnTo>
                      <a:pt x="3594" y="210"/>
                    </a:lnTo>
                    <a:lnTo>
                      <a:pt x="3552" y="216"/>
                    </a:lnTo>
                    <a:lnTo>
                      <a:pt x="3534" y="198"/>
                    </a:lnTo>
                    <a:lnTo>
                      <a:pt x="3450" y="198"/>
                    </a:lnTo>
                    <a:lnTo>
                      <a:pt x="3438" y="204"/>
                    </a:lnTo>
                    <a:lnTo>
                      <a:pt x="3426" y="204"/>
                    </a:lnTo>
                    <a:lnTo>
                      <a:pt x="3420" y="210"/>
                    </a:lnTo>
                    <a:lnTo>
                      <a:pt x="3438" y="228"/>
                    </a:lnTo>
                    <a:lnTo>
                      <a:pt x="3462" y="228"/>
                    </a:lnTo>
                    <a:close/>
                    <a:moveTo>
                      <a:pt x="3432" y="1302"/>
                    </a:moveTo>
                    <a:lnTo>
                      <a:pt x="3408" y="1326"/>
                    </a:lnTo>
                    <a:lnTo>
                      <a:pt x="3408" y="1344"/>
                    </a:lnTo>
                    <a:lnTo>
                      <a:pt x="3438" y="1344"/>
                    </a:lnTo>
                    <a:lnTo>
                      <a:pt x="3462" y="1332"/>
                    </a:lnTo>
                    <a:lnTo>
                      <a:pt x="3468" y="1332"/>
                    </a:lnTo>
                    <a:lnTo>
                      <a:pt x="3480" y="1326"/>
                    </a:lnTo>
                    <a:lnTo>
                      <a:pt x="3486" y="1326"/>
                    </a:lnTo>
                    <a:lnTo>
                      <a:pt x="3504" y="1308"/>
                    </a:lnTo>
                    <a:lnTo>
                      <a:pt x="3516" y="1290"/>
                    </a:lnTo>
                    <a:lnTo>
                      <a:pt x="3516" y="1266"/>
                    </a:lnTo>
                    <a:lnTo>
                      <a:pt x="3510" y="1260"/>
                    </a:lnTo>
                    <a:lnTo>
                      <a:pt x="3498" y="1260"/>
                    </a:lnTo>
                    <a:lnTo>
                      <a:pt x="3480" y="1266"/>
                    </a:lnTo>
                    <a:lnTo>
                      <a:pt x="3432" y="1302"/>
                    </a:lnTo>
                    <a:close/>
                    <a:moveTo>
                      <a:pt x="4416" y="1392"/>
                    </a:moveTo>
                    <a:lnTo>
                      <a:pt x="4428" y="1380"/>
                    </a:lnTo>
                    <a:lnTo>
                      <a:pt x="4428" y="1374"/>
                    </a:lnTo>
                    <a:lnTo>
                      <a:pt x="4386" y="1374"/>
                    </a:lnTo>
                    <a:lnTo>
                      <a:pt x="4386" y="1380"/>
                    </a:lnTo>
                    <a:lnTo>
                      <a:pt x="4404" y="1398"/>
                    </a:lnTo>
                    <a:lnTo>
                      <a:pt x="4416" y="1392"/>
                    </a:lnTo>
                    <a:close/>
                    <a:moveTo>
                      <a:pt x="3120" y="2034"/>
                    </a:moveTo>
                    <a:lnTo>
                      <a:pt x="3132" y="2034"/>
                    </a:lnTo>
                    <a:lnTo>
                      <a:pt x="3138" y="2028"/>
                    </a:lnTo>
                    <a:lnTo>
                      <a:pt x="3132" y="2022"/>
                    </a:lnTo>
                    <a:lnTo>
                      <a:pt x="3120" y="2016"/>
                    </a:lnTo>
                    <a:lnTo>
                      <a:pt x="3114" y="2010"/>
                    </a:lnTo>
                    <a:lnTo>
                      <a:pt x="3108" y="2010"/>
                    </a:lnTo>
                    <a:lnTo>
                      <a:pt x="3090" y="2016"/>
                    </a:lnTo>
                    <a:lnTo>
                      <a:pt x="3078" y="2022"/>
                    </a:lnTo>
                    <a:lnTo>
                      <a:pt x="3072" y="2022"/>
                    </a:lnTo>
                    <a:lnTo>
                      <a:pt x="3072" y="2028"/>
                    </a:lnTo>
                    <a:lnTo>
                      <a:pt x="3078" y="2034"/>
                    </a:lnTo>
                    <a:lnTo>
                      <a:pt x="3120" y="2034"/>
                    </a:lnTo>
                    <a:close/>
                    <a:moveTo>
                      <a:pt x="4758" y="996"/>
                    </a:moveTo>
                    <a:lnTo>
                      <a:pt x="4746" y="996"/>
                    </a:lnTo>
                    <a:lnTo>
                      <a:pt x="4734" y="984"/>
                    </a:lnTo>
                    <a:lnTo>
                      <a:pt x="4704" y="1008"/>
                    </a:lnTo>
                    <a:lnTo>
                      <a:pt x="4704" y="978"/>
                    </a:lnTo>
                    <a:lnTo>
                      <a:pt x="4662" y="978"/>
                    </a:lnTo>
                    <a:lnTo>
                      <a:pt x="4668" y="978"/>
                    </a:lnTo>
                    <a:lnTo>
                      <a:pt x="4674" y="972"/>
                    </a:lnTo>
                    <a:lnTo>
                      <a:pt x="4686" y="972"/>
                    </a:lnTo>
                    <a:lnTo>
                      <a:pt x="4698" y="966"/>
                    </a:lnTo>
                    <a:lnTo>
                      <a:pt x="4704" y="954"/>
                    </a:lnTo>
                    <a:lnTo>
                      <a:pt x="4704" y="948"/>
                    </a:lnTo>
                    <a:lnTo>
                      <a:pt x="4698" y="942"/>
                    </a:lnTo>
                    <a:lnTo>
                      <a:pt x="4680" y="942"/>
                    </a:lnTo>
                    <a:lnTo>
                      <a:pt x="4668" y="936"/>
                    </a:lnTo>
                    <a:lnTo>
                      <a:pt x="4650" y="936"/>
                    </a:lnTo>
                    <a:lnTo>
                      <a:pt x="4632" y="930"/>
                    </a:lnTo>
                    <a:lnTo>
                      <a:pt x="4620" y="930"/>
                    </a:lnTo>
                    <a:lnTo>
                      <a:pt x="4614" y="918"/>
                    </a:lnTo>
                    <a:lnTo>
                      <a:pt x="4566" y="912"/>
                    </a:lnTo>
                    <a:lnTo>
                      <a:pt x="4500" y="870"/>
                    </a:lnTo>
                    <a:lnTo>
                      <a:pt x="4566" y="864"/>
                    </a:lnTo>
                    <a:lnTo>
                      <a:pt x="4536" y="840"/>
                    </a:lnTo>
                    <a:lnTo>
                      <a:pt x="4542" y="840"/>
                    </a:lnTo>
                    <a:lnTo>
                      <a:pt x="4548" y="834"/>
                    </a:lnTo>
                    <a:lnTo>
                      <a:pt x="4584" y="834"/>
                    </a:lnTo>
                    <a:lnTo>
                      <a:pt x="4596" y="840"/>
                    </a:lnTo>
                    <a:lnTo>
                      <a:pt x="4638" y="840"/>
                    </a:lnTo>
                    <a:lnTo>
                      <a:pt x="4638" y="834"/>
                    </a:lnTo>
                    <a:lnTo>
                      <a:pt x="4632" y="828"/>
                    </a:lnTo>
                    <a:lnTo>
                      <a:pt x="4614" y="822"/>
                    </a:lnTo>
                    <a:lnTo>
                      <a:pt x="4596" y="822"/>
                    </a:lnTo>
                    <a:lnTo>
                      <a:pt x="4578" y="816"/>
                    </a:lnTo>
                    <a:lnTo>
                      <a:pt x="4518" y="816"/>
                    </a:lnTo>
                    <a:lnTo>
                      <a:pt x="4536" y="816"/>
                    </a:lnTo>
                    <a:lnTo>
                      <a:pt x="4620" y="804"/>
                    </a:lnTo>
                    <a:lnTo>
                      <a:pt x="4638" y="798"/>
                    </a:lnTo>
                    <a:lnTo>
                      <a:pt x="4638" y="792"/>
                    </a:lnTo>
                    <a:lnTo>
                      <a:pt x="4632" y="792"/>
                    </a:lnTo>
                    <a:lnTo>
                      <a:pt x="4626" y="786"/>
                    </a:lnTo>
                    <a:lnTo>
                      <a:pt x="4608" y="786"/>
                    </a:lnTo>
                    <a:lnTo>
                      <a:pt x="4500" y="798"/>
                    </a:lnTo>
                    <a:lnTo>
                      <a:pt x="4560" y="762"/>
                    </a:lnTo>
                    <a:lnTo>
                      <a:pt x="4620" y="762"/>
                    </a:lnTo>
                    <a:lnTo>
                      <a:pt x="4626" y="756"/>
                    </a:lnTo>
                    <a:lnTo>
                      <a:pt x="4620" y="750"/>
                    </a:lnTo>
                    <a:lnTo>
                      <a:pt x="4584" y="738"/>
                    </a:lnTo>
                    <a:lnTo>
                      <a:pt x="4572" y="732"/>
                    </a:lnTo>
                    <a:lnTo>
                      <a:pt x="4554" y="732"/>
                    </a:lnTo>
                    <a:lnTo>
                      <a:pt x="4518" y="750"/>
                    </a:lnTo>
                    <a:lnTo>
                      <a:pt x="4500" y="744"/>
                    </a:lnTo>
                    <a:lnTo>
                      <a:pt x="4458" y="774"/>
                    </a:lnTo>
                    <a:lnTo>
                      <a:pt x="4464" y="756"/>
                    </a:lnTo>
                    <a:lnTo>
                      <a:pt x="4440" y="774"/>
                    </a:lnTo>
                    <a:lnTo>
                      <a:pt x="4464" y="744"/>
                    </a:lnTo>
                    <a:lnTo>
                      <a:pt x="4500" y="744"/>
                    </a:lnTo>
                    <a:lnTo>
                      <a:pt x="4506" y="738"/>
                    </a:lnTo>
                    <a:lnTo>
                      <a:pt x="4518" y="714"/>
                    </a:lnTo>
                    <a:lnTo>
                      <a:pt x="4518" y="708"/>
                    </a:lnTo>
                    <a:lnTo>
                      <a:pt x="4512" y="702"/>
                    </a:lnTo>
                    <a:lnTo>
                      <a:pt x="4506" y="708"/>
                    </a:lnTo>
                    <a:lnTo>
                      <a:pt x="4494" y="714"/>
                    </a:lnTo>
                    <a:lnTo>
                      <a:pt x="4488" y="726"/>
                    </a:lnTo>
                    <a:lnTo>
                      <a:pt x="4452" y="726"/>
                    </a:lnTo>
                    <a:lnTo>
                      <a:pt x="4428" y="738"/>
                    </a:lnTo>
                    <a:lnTo>
                      <a:pt x="4452" y="708"/>
                    </a:lnTo>
                    <a:lnTo>
                      <a:pt x="4482" y="708"/>
                    </a:lnTo>
                    <a:lnTo>
                      <a:pt x="4494" y="702"/>
                    </a:lnTo>
                    <a:lnTo>
                      <a:pt x="4500" y="702"/>
                    </a:lnTo>
                    <a:lnTo>
                      <a:pt x="4506" y="696"/>
                    </a:lnTo>
                    <a:lnTo>
                      <a:pt x="4506" y="690"/>
                    </a:lnTo>
                    <a:lnTo>
                      <a:pt x="4500" y="684"/>
                    </a:lnTo>
                    <a:lnTo>
                      <a:pt x="4458" y="684"/>
                    </a:lnTo>
                    <a:lnTo>
                      <a:pt x="4446" y="690"/>
                    </a:lnTo>
                    <a:lnTo>
                      <a:pt x="4428" y="696"/>
                    </a:lnTo>
                    <a:lnTo>
                      <a:pt x="4422" y="702"/>
                    </a:lnTo>
                    <a:lnTo>
                      <a:pt x="4416" y="702"/>
                    </a:lnTo>
                    <a:lnTo>
                      <a:pt x="4404" y="684"/>
                    </a:lnTo>
                    <a:lnTo>
                      <a:pt x="4380" y="702"/>
                    </a:lnTo>
                    <a:lnTo>
                      <a:pt x="4398" y="672"/>
                    </a:lnTo>
                    <a:lnTo>
                      <a:pt x="4344" y="696"/>
                    </a:lnTo>
                    <a:lnTo>
                      <a:pt x="4344" y="672"/>
                    </a:lnTo>
                    <a:lnTo>
                      <a:pt x="4350" y="672"/>
                    </a:lnTo>
                    <a:lnTo>
                      <a:pt x="4356" y="666"/>
                    </a:lnTo>
                    <a:lnTo>
                      <a:pt x="4368" y="666"/>
                    </a:lnTo>
                    <a:lnTo>
                      <a:pt x="4386" y="660"/>
                    </a:lnTo>
                    <a:lnTo>
                      <a:pt x="4392" y="660"/>
                    </a:lnTo>
                    <a:lnTo>
                      <a:pt x="4398" y="654"/>
                    </a:lnTo>
                    <a:lnTo>
                      <a:pt x="4356" y="654"/>
                    </a:lnTo>
                    <a:lnTo>
                      <a:pt x="4338" y="660"/>
                    </a:lnTo>
                    <a:lnTo>
                      <a:pt x="4326" y="660"/>
                    </a:lnTo>
                    <a:lnTo>
                      <a:pt x="4320" y="648"/>
                    </a:lnTo>
                    <a:lnTo>
                      <a:pt x="4332" y="648"/>
                    </a:lnTo>
                    <a:lnTo>
                      <a:pt x="4356" y="636"/>
                    </a:lnTo>
                    <a:lnTo>
                      <a:pt x="4368" y="636"/>
                    </a:lnTo>
                    <a:lnTo>
                      <a:pt x="4380" y="630"/>
                    </a:lnTo>
                    <a:lnTo>
                      <a:pt x="4386" y="624"/>
                    </a:lnTo>
                    <a:lnTo>
                      <a:pt x="4368" y="618"/>
                    </a:lnTo>
                    <a:lnTo>
                      <a:pt x="4326" y="612"/>
                    </a:lnTo>
                    <a:lnTo>
                      <a:pt x="4290" y="612"/>
                    </a:lnTo>
                    <a:lnTo>
                      <a:pt x="4266" y="606"/>
                    </a:lnTo>
                    <a:lnTo>
                      <a:pt x="4236" y="606"/>
                    </a:lnTo>
                    <a:lnTo>
                      <a:pt x="4230" y="612"/>
                    </a:lnTo>
                    <a:lnTo>
                      <a:pt x="4230" y="618"/>
                    </a:lnTo>
                    <a:lnTo>
                      <a:pt x="4236" y="624"/>
                    </a:lnTo>
                    <a:lnTo>
                      <a:pt x="4242" y="636"/>
                    </a:lnTo>
                    <a:lnTo>
                      <a:pt x="4206" y="630"/>
                    </a:lnTo>
                    <a:lnTo>
                      <a:pt x="4212" y="660"/>
                    </a:lnTo>
                    <a:lnTo>
                      <a:pt x="4194" y="636"/>
                    </a:lnTo>
                    <a:lnTo>
                      <a:pt x="4152" y="660"/>
                    </a:lnTo>
                    <a:lnTo>
                      <a:pt x="4158" y="654"/>
                    </a:lnTo>
                    <a:lnTo>
                      <a:pt x="4158" y="636"/>
                    </a:lnTo>
                    <a:lnTo>
                      <a:pt x="4152" y="630"/>
                    </a:lnTo>
                    <a:lnTo>
                      <a:pt x="4140" y="630"/>
                    </a:lnTo>
                    <a:lnTo>
                      <a:pt x="4122" y="636"/>
                    </a:lnTo>
                    <a:lnTo>
                      <a:pt x="4110" y="642"/>
                    </a:lnTo>
                    <a:lnTo>
                      <a:pt x="4098" y="642"/>
                    </a:lnTo>
                    <a:lnTo>
                      <a:pt x="4086" y="648"/>
                    </a:lnTo>
                    <a:lnTo>
                      <a:pt x="4080" y="654"/>
                    </a:lnTo>
                    <a:lnTo>
                      <a:pt x="4074" y="654"/>
                    </a:lnTo>
                    <a:lnTo>
                      <a:pt x="4092" y="618"/>
                    </a:lnTo>
                    <a:lnTo>
                      <a:pt x="4110" y="618"/>
                    </a:lnTo>
                    <a:lnTo>
                      <a:pt x="4122" y="612"/>
                    </a:lnTo>
                    <a:lnTo>
                      <a:pt x="4134" y="612"/>
                    </a:lnTo>
                    <a:lnTo>
                      <a:pt x="4146" y="606"/>
                    </a:lnTo>
                    <a:lnTo>
                      <a:pt x="4152" y="600"/>
                    </a:lnTo>
                    <a:lnTo>
                      <a:pt x="4152" y="594"/>
                    </a:lnTo>
                    <a:lnTo>
                      <a:pt x="4146" y="582"/>
                    </a:lnTo>
                    <a:lnTo>
                      <a:pt x="4134" y="570"/>
                    </a:lnTo>
                    <a:lnTo>
                      <a:pt x="4152" y="552"/>
                    </a:lnTo>
                    <a:lnTo>
                      <a:pt x="4152" y="540"/>
                    </a:lnTo>
                    <a:lnTo>
                      <a:pt x="4050" y="540"/>
                    </a:lnTo>
                    <a:lnTo>
                      <a:pt x="4026" y="558"/>
                    </a:lnTo>
                    <a:lnTo>
                      <a:pt x="3942" y="558"/>
                    </a:lnTo>
                    <a:lnTo>
                      <a:pt x="3948" y="576"/>
                    </a:lnTo>
                    <a:lnTo>
                      <a:pt x="3978" y="588"/>
                    </a:lnTo>
                    <a:lnTo>
                      <a:pt x="3936" y="576"/>
                    </a:lnTo>
                    <a:lnTo>
                      <a:pt x="3948" y="600"/>
                    </a:lnTo>
                    <a:lnTo>
                      <a:pt x="3936" y="594"/>
                    </a:lnTo>
                    <a:lnTo>
                      <a:pt x="3930" y="594"/>
                    </a:lnTo>
                    <a:lnTo>
                      <a:pt x="3918" y="588"/>
                    </a:lnTo>
                    <a:lnTo>
                      <a:pt x="3894" y="588"/>
                    </a:lnTo>
                    <a:lnTo>
                      <a:pt x="3882" y="594"/>
                    </a:lnTo>
                    <a:lnTo>
                      <a:pt x="3876" y="606"/>
                    </a:lnTo>
                    <a:lnTo>
                      <a:pt x="3882" y="612"/>
                    </a:lnTo>
                    <a:lnTo>
                      <a:pt x="3888" y="624"/>
                    </a:lnTo>
                    <a:lnTo>
                      <a:pt x="3894" y="630"/>
                    </a:lnTo>
                    <a:lnTo>
                      <a:pt x="3900" y="660"/>
                    </a:lnTo>
                    <a:lnTo>
                      <a:pt x="3894" y="660"/>
                    </a:lnTo>
                    <a:lnTo>
                      <a:pt x="3888" y="654"/>
                    </a:lnTo>
                    <a:lnTo>
                      <a:pt x="3864" y="642"/>
                    </a:lnTo>
                    <a:lnTo>
                      <a:pt x="3852" y="642"/>
                    </a:lnTo>
                    <a:lnTo>
                      <a:pt x="3828" y="666"/>
                    </a:lnTo>
                    <a:lnTo>
                      <a:pt x="3828" y="678"/>
                    </a:lnTo>
                    <a:lnTo>
                      <a:pt x="3846" y="678"/>
                    </a:lnTo>
                    <a:lnTo>
                      <a:pt x="3858" y="690"/>
                    </a:lnTo>
                    <a:lnTo>
                      <a:pt x="3810" y="714"/>
                    </a:lnTo>
                    <a:lnTo>
                      <a:pt x="3750" y="720"/>
                    </a:lnTo>
                    <a:lnTo>
                      <a:pt x="3762" y="720"/>
                    </a:lnTo>
                    <a:lnTo>
                      <a:pt x="3798" y="702"/>
                    </a:lnTo>
                    <a:lnTo>
                      <a:pt x="3810" y="690"/>
                    </a:lnTo>
                    <a:lnTo>
                      <a:pt x="3810" y="684"/>
                    </a:lnTo>
                    <a:lnTo>
                      <a:pt x="3804" y="684"/>
                    </a:lnTo>
                    <a:lnTo>
                      <a:pt x="3792" y="672"/>
                    </a:lnTo>
                    <a:lnTo>
                      <a:pt x="3786" y="672"/>
                    </a:lnTo>
                    <a:lnTo>
                      <a:pt x="3786" y="660"/>
                    </a:lnTo>
                    <a:lnTo>
                      <a:pt x="3804" y="642"/>
                    </a:lnTo>
                    <a:lnTo>
                      <a:pt x="3816" y="636"/>
                    </a:lnTo>
                    <a:lnTo>
                      <a:pt x="3828" y="636"/>
                    </a:lnTo>
                    <a:lnTo>
                      <a:pt x="3828" y="606"/>
                    </a:lnTo>
                    <a:lnTo>
                      <a:pt x="3840" y="600"/>
                    </a:lnTo>
                    <a:lnTo>
                      <a:pt x="3858" y="582"/>
                    </a:lnTo>
                    <a:lnTo>
                      <a:pt x="3876" y="576"/>
                    </a:lnTo>
                    <a:lnTo>
                      <a:pt x="3882" y="570"/>
                    </a:lnTo>
                    <a:lnTo>
                      <a:pt x="3894" y="564"/>
                    </a:lnTo>
                    <a:lnTo>
                      <a:pt x="3906" y="564"/>
                    </a:lnTo>
                    <a:lnTo>
                      <a:pt x="3918" y="558"/>
                    </a:lnTo>
                    <a:lnTo>
                      <a:pt x="3936" y="552"/>
                    </a:lnTo>
                    <a:lnTo>
                      <a:pt x="3954" y="552"/>
                    </a:lnTo>
                    <a:lnTo>
                      <a:pt x="3966" y="546"/>
                    </a:lnTo>
                    <a:lnTo>
                      <a:pt x="3972" y="540"/>
                    </a:lnTo>
                    <a:lnTo>
                      <a:pt x="3942" y="534"/>
                    </a:lnTo>
                    <a:lnTo>
                      <a:pt x="3852" y="534"/>
                    </a:lnTo>
                    <a:lnTo>
                      <a:pt x="3822" y="540"/>
                    </a:lnTo>
                    <a:lnTo>
                      <a:pt x="3786" y="558"/>
                    </a:lnTo>
                    <a:lnTo>
                      <a:pt x="3744" y="576"/>
                    </a:lnTo>
                    <a:lnTo>
                      <a:pt x="3720" y="594"/>
                    </a:lnTo>
                    <a:lnTo>
                      <a:pt x="3708" y="600"/>
                    </a:lnTo>
                    <a:lnTo>
                      <a:pt x="3702" y="600"/>
                    </a:lnTo>
                    <a:lnTo>
                      <a:pt x="3696" y="606"/>
                    </a:lnTo>
                    <a:lnTo>
                      <a:pt x="3684" y="606"/>
                    </a:lnTo>
                    <a:lnTo>
                      <a:pt x="3660" y="618"/>
                    </a:lnTo>
                    <a:lnTo>
                      <a:pt x="3654" y="618"/>
                    </a:lnTo>
                    <a:lnTo>
                      <a:pt x="3642" y="624"/>
                    </a:lnTo>
                    <a:lnTo>
                      <a:pt x="3630" y="636"/>
                    </a:lnTo>
                    <a:lnTo>
                      <a:pt x="3618" y="642"/>
                    </a:lnTo>
                    <a:lnTo>
                      <a:pt x="3600" y="660"/>
                    </a:lnTo>
                    <a:lnTo>
                      <a:pt x="3588" y="666"/>
                    </a:lnTo>
                    <a:lnTo>
                      <a:pt x="3582" y="678"/>
                    </a:lnTo>
                    <a:lnTo>
                      <a:pt x="3582" y="684"/>
                    </a:lnTo>
                    <a:lnTo>
                      <a:pt x="3588" y="690"/>
                    </a:lnTo>
                    <a:lnTo>
                      <a:pt x="3612" y="690"/>
                    </a:lnTo>
                    <a:lnTo>
                      <a:pt x="3648" y="696"/>
                    </a:lnTo>
                    <a:lnTo>
                      <a:pt x="3672" y="696"/>
                    </a:lnTo>
                    <a:lnTo>
                      <a:pt x="3684" y="708"/>
                    </a:lnTo>
                    <a:lnTo>
                      <a:pt x="3666" y="714"/>
                    </a:lnTo>
                    <a:lnTo>
                      <a:pt x="3594" y="726"/>
                    </a:lnTo>
                    <a:lnTo>
                      <a:pt x="3570" y="732"/>
                    </a:lnTo>
                    <a:lnTo>
                      <a:pt x="3576" y="738"/>
                    </a:lnTo>
                    <a:lnTo>
                      <a:pt x="3594" y="750"/>
                    </a:lnTo>
                    <a:lnTo>
                      <a:pt x="3630" y="762"/>
                    </a:lnTo>
                    <a:lnTo>
                      <a:pt x="3642" y="768"/>
                    </a:lnTo>
                    <a:lnTo>
                      <a:pt x="3648" y="768"/>
                    </a:lnTo>
                    <a:lnTo>
                      <a:pt x="3690" y="750"/>
                    </a:lnTo>
                    <a:lnTo>
                      <a:pt x="3690" y="762"/>
                    </a:lnTo>
                    <a:lnTo>
                      <a:pt x="3702" y="774"/>
                    </a:lnTo>
                    <a:lnTo>
                      <a:pt x="3744" y="774"/>
                    </a:lnTo>
                    <a:lnTo>
                      <a:pt x="3786" y="780"/>
                    </a:lnTo>
                    <a:lnTo>
                      <a:pt x="3834" y="786"/>
                    </a:lnTo>
                    <a:lnTo>
                      <a:pt x="3876" y="792"/>
                    </a:lnTo>
                    <a:lnTo>
                      <a:pt x="3894" y="792"/>
                    </a:lnTo>
                    <a:lnTo>
                      <a:pt x="3900" y="786"/>
                    </a:lnTo>
                    <a:lnTo>
                      <a:pt x="3894" y="780"/>
                    </a:lnTo>
                    <a:lnTo>
                      <a:pt x="3882" y="774"/>
                    </a:lnTo>
                    <a:lnTo>
                      <a:pt x="3876" y="768"/>
                    </a:lnTo>
                    <a:lnTo>
                      <a:pt x="3894" y="768"/>
                    </a:lnTo>
                    <a:lnTo>
                      <a:pt x="3930" y="774"/>
                    </a:lnTo>
                    <a:lnTo>
                      <a:pt x="3966" y="774"/>
                    </a:lnTo>
                    <a:lnTo>
                      <a:pt x="3990" y="780"/>
                    </a:lnTo>
                    <a:lnTo>
                      <a:pt x="4002" y="780"/>
                    </a:lnTo>
                    <a:lnTo>
                      <a:pt x="4020" y="786"/>
                    </a:lnTo>
                    <a:lnTo>
                      <a:pt x="4032" y="792"/>
                    </a:lnTo>
                    <a:lnTo>
                      <a:pt x="4050" y="792"/>
                    </a:lnTo>
                    <a:lnTo>
                      <a:pt x="4062" y="786"/>
                    </a:lnTo>
                    <a:lnTo>
                      <a:pt x="4062" y="774"/>
                    </a:lnTo>
                    <a:lnTo>
                      <a:pt x="4056" y="768"/>
                    </a:lnTo>
                    <a:lnTo>
                      <a:pt x="4050" y="756"/>
                    </a:lnTo>
                    <a:lnTo>
                      <a:pt x="4044" y="750"/>
                    </a:lnTo>
                    <a:lnTo>
                      <a:pt x="4092" y="738"/>
                    </a:lnTo>
                    <a:lnTo>
                      <a:pt x="4092" y="744"/>
                    </a:lnTo>
                    <a:lnTo>
                      <a:pt x="4098" y="750"/>
                    </a:lnTo>
                    <a:lnTo>
                      <a:pt x="4104" y="762"/>
                    </a:lnTo>
                    <a:lnTo>
                      <a:pt x="4104" y="768"/>
                    </a:lnTo>
                    <a:lnTo>
                      <a:pt x="4110" y="774"/>
                    </a:lnTo>
                    <a:lnTo>
                      <a:pt x="4116" y="774"/>
                    </a:lnTo>
                    <a:lnTo>
                      <a:pt x="4122" y="780"/>
                    </a:lnTo>
                    <a:lnTo>
                      <a:pt x="4134" y="786"/>
                    </a:lnTo>
                    <a:lnTo>
                      <a:pt x="4140" y="792"/>
                    </a:lnTo>
                    <a:lnTo>
                      <a:pt x="4170" y="786"/>
                    </a:lnTo>
                    <a:lnTo>
                      <a:pt x="4170" y="792"/>
                    </a:lnTo>
                    <a:lnTo>
                      <a:pt x="4164" y="798"/>
                    </a:lnTo>
                    <a:lnTo>
                      <a:pt x="4164" y="816"/>
                    </a:lnTo>
                    <a:lnTo>
                      <a:pt x="4170" y="816"/>
                    </a:lnTo>
                    <a:lnTo>
                      <a:pt x="4182" y="822"/>
                    </a:lnTo>
                    <a:lnTo>
                      <a:pt x="4200" y="822"/>
                    </a:lnTo>
                    <a:lnTo>
                      <a:pt x="4206" y="828"/>
                    </a:lnTo>
                    <a:lnTo>
                      <a:pt x="4212" y="828"/>
                    </a:lnTo>
                    <a:lnTo>
                      <a:pt x="4194" y="846"/>
                    </a:lnTo>
                    <a:lnTo>
                      <a:pt x="4194" y="858"/>
                    </a:lnTo>
                    <a:lnTo>
                      <a:pt x="4230" y="858"/>
                    </a:lnTo>
                    <a:lnTo>
                      <a:pt x="4224" y="882"/>
                    </a:lnTo>
                    <a:lnTo>
                      <a:pt x="4236" y="882"/>
                    </a:lnTo>
                    <a:lnTo>
                      <a:pt x="4248" y="888"/>
                    </a:lnTo>
                    <a:lnTo>
                      <a:pt x="4254" y="888"/>
                    </a:lnTo>
                    <a:lnTo>
                      <a:pt x="4278" y="900"/>
                    </a:lnTo>
                    <a:lnTo>
                      <a:pt x="4278" y="924"/>
                    </a:lnTo>
                    <a:lnTo>
                      <a:pt x="4266" y="948"/>
                    </a:lnTo>
                    <a:lnTo>
                      <a:pt x="4254" y="966"/>
                    </a:lnTo>
                    <a:lnTo>
                      <a:pt x="4248" y="978"/>
                    </a:lnTo>
                    <a:lnTo>
                      <a:pt x="4236" y="990"/>
                    </a:lnTo>
                    <a:lnTo>
                      <a:pt x="4218" y="996"/>
                    </a:lnTo>
                    <a:lnTo>
                      <a:pt x="4182" y="1014"/>
                    </a:lnTo>
                    <a:lnTo>
                      <a:pt x="4140" y="1026"/>
                    </a:lnTo>
                    <a:lnTo>
                      <a:pt x="4092" y="1050"/>
                    </a:lnTo>
                    <a:lnTo>
                      <a:pt x="4098" y="1056"/>
                    </a:lnTo>
                    <a:lnTo>
                      <a:pt x="4110" y="1062"/>
                    </a:lnTo>
                    <a:lnTo>
                      <a:pt x="4122" y="1074"/>
                    </a:lnTo>
                    <a:lnTo>
                      <a:pt x="4122" y="1080"/>
                    </a:lnTo>
                    <a:lnTo>
                      <a:pt x="4116" y="1086"/>
                    </a:lnTo>
                    <a:lnTo>
                      <a:pt x="4080" y="1098"/>
                    </a:lnTo>
                    <a:lnTo>
                      <a:pt x="4062" y="1098"/>
                    </a:lnTo>
                    <a:lnTo>
                      <a:pt x="3984" y="1110"/>
                    </a:lnTo>
                    <a:lnTo>
                      <a:pt x="3978" y="1128"/>
                    </a:lnTo>
                    <a:lnTo>
                      <a:pt x="3960" y="1110"/>
                    </a:lnTo>
                    <a:lnTo>
                      <a:pt x="3954" y="1110"/>
                    </a:lnTo>
                    <a:lnTo>
                      <a:pt x="3948" y="1104"/>
                    </a:lnTo>
                    <a:lnTo>
                      <a:pt x="3930" y="1104"/>
                    </a:lnTo>
                    <a:lnTo>
                      <a:pt x="3918" y="1098"/>
                    </a:lnTo>
                    <a:lnTo>
                      <a:pt x="3900" y="1098"/>
                    </a:lnTo>
                    <a:lnTo>
                      <a:pt x="3888" y="1104"/>
                    </a:lnTo>
                    <a:lnTo>
                      <a:pt x="3882" y="1110"/>
                    </a:lnTo>
                    <a:lnTo>
                      <a:pt x="3882" y="1122"/>
                    </a:lnTo>
                    <a:lnTo>
                      <a:pt x="3870" y="1122"/>
                    </a:lnTo>
                    <a:lnTo>
                      <a:pt x="3858" y="1128"/>
                    </a:lnTo>
                    <a:lnTo>
                      <a:pt x="3840" y="1134"/>
                    </a:lnTo>
                    <a:lnTo>
                      <a:pt x="3828" y="1140"/>
                    </a:lnTo>
                    <a:lnTo>
                      <a:pt x="3822" y="1146"/>
                    </a:lnTo>
                    <a:lnTo>
                      <a:pt x="3816" y="1158"/>
                    </a:lnTo>
                    <a:lnTo>
                      <a:pt x="3816" y="1170"/>
                    </a:lnTo>
                    <a:lnTo>
                      <a:pt x="3822" y="1182"/>
                    </a:lnTo>
                    <a:lnTo>
                      <a:pt x="3834" y="1188"/>
                    </a:lnTo>
                    <a:lnTo>
                      <a:pt x="3864" y="1188"/>
                    </a:lnTo>
                    <a:lnTo>
                      <a:pt x="3876" y="1182"/>
                    </a:lnTo>
                    <a:lnTo>
                      <a:pt x="3894" y="1182"/>
                    </a:lnTo>
                    <a:lnTo>
                      <a:pt x="3906" y="1176"/>
                    </a:lnTo>
                    <a:lnTo>
                      <a:pt x="3924" y="1170"/>
                    </a:lnTo>
                    <a:lnTo>
                      <a:pt x="3936" y="1164"/>
                    </a:lnTo>
                    <a:lnTo>
                      <a:pt x="3966" y="1164"/>
                    </a:lnTo>
                    <a:lnTo>
                      <a:pt x="3978" y="1176"/>
                    </a:lnTo>
                    <a:lnTo>
                      <a:pt x="3996" y="1176"/>
                    </a:lnTo>
                    <a:lnTo>
                      <a:pt x="4002" y="1170"/>
                    </a:lnTo>
                    <a:lnTo>
                      <a:pt x="4002" y="1152"/>
                    </a:lnTo>
                    <a:lnTo>
                      <a:pt x="4026" y="1128"/>
                    </a:lnTo>
                    <a:lnTo>
                      <a:pt x="4014" y="1140"/>
                    </a:lnTo>
                    <a:lnTo>
                      <a:pt x="4014" y="1146"/>
                    </a:lnTo>
                    <a:lnTo>
                      <a:pt x="4020" y="1152"/>
                    </a:lnTo>
                    <a:lnTo>
                      <a:pt x="4086" y="1152"/>
                    </a:lnTo>
                    <a:lnTo>
                      <a:pt x="4080" y="1158"/>
                    </a:lnTo>
                    <a:lnTo>
                      <a:pt x="4068" y="1164"/>
                    </a:lnTo>
                    <a:lnTo>
                      <a:pt x="4062" y="1170"/>
                    </a:lnTo>
                    <a:lnTo>
                      <a:pt x="4062" y="1176"/>
                    </a:lnTo>
                    <a:lnTo>
                      <a:pt x="4068" y="1182"/>
                    </a:lnTo>
                    <a:lnTo>
                      <a:pt x="4080" y="1182"/>
                    </a:lnTo>
                    <a:lnTo>
                      <a:pt x="4086" y="1188"/>
                    </a:lnTo>
                    <a:lnTo>
                      <a:pt x="4098" y="1188"/>
                    </a:lnTo>
                    <a:lnTo>
                      <a:pt x="4086" y="1200"/>
                    </a:lnTo>
                    <a:lnTo>
                      <a:pt x="4086" y="1206"/>
                    </a:lnTo>
                    <a:lnTo>
                      <a:pt x="4092" y="1212"/>
                    </a:lnTo>
                    <a:lnTo>
                      <a:pt x="4116" y="1224"/>
                    </a:lnTo>
                    <a:lnTo>
                      <a:pt x="4146" y="1224"/>
                    </a:lnTo>
                    <a:lnTo>
                      <a:pt x="4098" y="1242"/>
                    </a:lnTo>
                    <a:lnTo>
                      <a:pt x="4098" y="1248"/>
                    </a:lnTo>
                    <a:lnTo>
                      <a:pt x="4110" y="1260"/>
                    </a:lnTo>
                    <a:lnTo>
                      <a:pt x="4110" y="1266"/>
                    </a:lnTo>
                    <a:lnTo>
                      <a:pt x="4116" y="1272"/>
                    </a:lnTo>
                    <a:lnTo>
                      <a:pt x="4122" y="1266"/>
                    </a:lnTo>
                    <a:lnTo>
                      <a:pt x="4128" y="1266"/>
                    </a:lnTo>
                    <a:lnTo>
                      <a:pt x="4140" y="1260"/>
                    </a:lnTo>
                    <a:lnTo>
                      <a:pt x="4146" y="1272"/>
                    </a:lnTo>
                    <a:lnTo>
                      <a:pt x="4158" y="1284"/>
                    </a:lnTo>
                    <a:lnTo>
                      <a:pt x="4182" y="1284"/>
                    </a:lnTo>
                    <a:lnTo>
                      <a:pt x="4194" y="1290"/>
                    </a:lnTo>
                    <a:lnTo>
                      <a:pt x="4206" y="1290"/>
                    </a:lnTo>
                    <a:lnTo>
                      <a:pt x="4206" y="1308"/>
                    </a:lnTo>
                    <a:lnTo>
                      <a:pt x="4212" y="1314"/>
                    </a:lnTo>
                    <a:lnTo>
                      <a:pt x="4224" y="1320"/>
                    </a:lnTo>
                    <a:lnTo>
                      <a:pt x="4272" y="1320"/>
                    </a:lnTo>
                    <a:lnTo>
                      <a:pt x="4290" y="1326"/>
                    </a:lnTo>
                    <a:lnTo>
                      <a:pt x="4350" y="1356"/>
                    </a:lnTo>
                    <a:lnTo>
                      <a:pt x="4356" y="1362"/>
                    </a:lnTo>
                    <a:lnTo>
                      <a:pt x="4362" y="1362"/>
                    </a:lnTo>
                    <a:lnTo>
                      <a:pt x="4362" y="1356"/>
                    </a:lnTo>
                    <a:lnTo>
                      <a:pt x="4368" y="1350"/>
                    </a:lnTo>
                    <a:lnTo>
                      <a:pt x="4368" y="1320"/>
                    </a:lnTo>
                    <a:lnTo>
                      <a:pt x="4362" y="1308"/>
                    </a:lnTo>
                    <a:lnTo>
                      <a:pt x="4350" y="1296"/>
                    </a:lnTo>
                    <a:lnTo>
                      <a:pt x="4338" y="1290"/>
                    </a:lnTo>
                    <a:lnTo>
                      <a:pt x="4320" y="1272"/>
                    </a:lnTo>
                    <a:lnTo>
                      <a:pt x="4314" y="1272"/>
                    </a:lnTo>
                    <a:lnTo>
                      <a:pt x="4308" y="1260"/>
                    </a:lnTo>
                    <a:lnTo>
                      <a:pt x="4302" y="1254"/>
                    </a:lnTo>
                    <a:lnTo>
                      <a:pt x="4290" y="1230"/>
                    </a:lnTo>
                    <a:lnTo>
                      <a:pt x="4290" y="1224"/>
                    </a:lnTo>
                    <a:lnTo>
                      <a:pt x="4308" y="1224"/>
                    </a:lnTo>
                    <a:lnTo>
                      <a:pt x="4314" y="1230"/>
                    </a:lnTo>
                    <a:lnTo>
                      <a:pt x="4326" y="1236"/>
                    </a:lnTo>
                    <a:lnTo>
                      <a:pt x="4332" y="1242"/>
                    </a:lnTo>
                    <a:lnTo>
                      <a:pt x="4332" y="1212"/>
                    </a:lnTo>
                    <a:lnTo>
                      <a:pt x="4332" y="1218"/>
                    </a:lnTo>
                    <a:lnTo>
                      <a:pt x="4344" y="1230"/>
                    </a:lnTo>
                    <a:lnTo>
                      <a:pt x="4350" y="1242"/>
                    </a:lnTo>
                    <a:lnTo>
                      <a:pt x="4362" y="1254"/>
                    </a:lnTo>
                    <a:lnTo>
                      <a:pt x="4374" y="1254"/>
                    </a:lnTo>
                    <a:lnTo>
                      <a:pt x="4386" y="1248"/>
                    </a:lnTo>
                    <a:lnTo>
                      <a:pt x="4398" y="1248"/>
                    </a:lnTo>
                    <a:lnTo>
                      <a:pt x="4398" y="1272"/>
                    </a:lnTo>
                    <a:lnTo>
                      <a:pt x="4404" y="1278"/>
                    </a:lnTo>
                    <a:lnTo>
                      <a:pt x="4416" y="1278"/>
                    </a:lnTo>
                    <a:lnTo>
                      <a:pt x="4428" y="1290"/>
                    </a:lnTo>
                    <a:lnTo>
                      <a:pt x="4452" y="1272"/>
                    </a:lnTo>
                    <a:lnTo>
                      <a:pt x="4464" y="1284"/>
                    </a:lnTo>
                    <a:lnTo>
                      <a:pt x="4470" y="1284"/>
                    </a:lnTo>
                    <a:lnTo>
                      <a:pt x="4476" y="1278"/>
                    </a:lnTo>
                    <a:lnTo>
                      <a:pt x="4476" y="1260"/>
                    </a:lnTo>
                    <a:lnTo>
                      <a:pt x="4470" y="1254"/>
                    </a:lnTo>
                    <a:lnTo>
                      <a:pt x="4488" y="1212"/>
                    </a:lnTo>
                    <a:lnTo>
                      <a:pt x="4488" y="1236"/>
                    </a:lnTo>
                    <a:lnTo>
                      <a:pt x="4500" y="1248"/>
                    </a:lnTo>
                    <a:lnTo>
                      <a:pt x="4512" y="1236"/>
                    </a:lnTo>
                    <a:lnTo>
                      <a:pt x="4518" y="1218"/>
                    </a:lnTo>
                    <a:lnTo>
                      <a:pt x="4518" y="1206"/>
                    </a:lnTo>
                    <a:lnTo>
                      <a:pt x="4494" y="1182"/>
                    </a:lnTo>
                    <a:lnTo>
                      <a:pt x="4518" y="1176"/>
                    </a:lnTo>
                    <a:lnTo>
                      <a:pt x="4500" y="1164"/>
                    </a:lnTo>
                    <a:lnTo>
                      <a:pt x="4500" y="1146"/>
                    </a:lnTo>
                    <a:lnTo>
                      <a:pt x="4470" y="1146"/>
                    </a:lnTo>
                    <a:lnTo>
                      <a:pt x="4470" y="1134"/>
                    </a:lnTo>
                    <a:lnTo>
                      <a:pt x="4446" y="1134"/>
                    </a:lnTo>
                    <a:lnTo>
                      <a:pt x="4446" y="1080"/>
                    </a:lnTo>
                    <a:lnTo>
                      <a:pt x="4416" y="1086"/>
                    </a:lnTo>
                    <a:lnTo>
                      <a:pt x="4410" y="1080"/>
                    </a:lnTo>
                    <a:lnTo>
                      <a:pt x="4410" y="1056"/>
                    </a:lnTo>
                    <a:lnTo>
                      <a:pt x="4416" y="1050"/>
                    </a:lnTo>
                    <a:lnTo>
                      <a:pt x="4428" y="1050"/>
                    </a:lnTo>
                    <a:lnTo>
                      <a:pt x="4434" y="1056"/>
                    </a:lnTo>
                    <a:lnTo>
                      <a:pt x="4446" y="1062"/>
                    </a:lnTo>
                    <a:lnTo>
                      <a:pt x="4452" y="1068"/>
                    </a:lnTo>
                    <a:lnTo>
                      <a:pt x="4458" y="1068"/>
                    </a:lnTo>
                    <a:lnTo>
                      <a:pt x="4464" y="1062"/>
                    </a:lnTo>
                    <a:lnTo>
                      <a:pt x="4464" y="1026"/>
                    </a:lnTo>
                    <a:lnTo>
                      <a:pt x="4488" y="1032"/>
                    </a:lnTo>
                    <a:lnTo>
                      <a:pt x="4524" y="1014"/>
                    </a:lnTo>
                    <a:lnTo>
                      <a:pt x="4524" y="1026"/>
                    </a:lnTo>
                    <a:lnTo>
                      <a:pt x="4530" y="1038"/>
                    </a:lnTo>
                    <a:lnTo>
                      <a:pt x="4530" y="1044"/>
                    </a:lnTo>
                    <a:lnTo>
                      <a:pt x="4536" y="1050"/>
                    </a:lnTo>
                    <a:lnTo>
                      <a:pt x="4548" y="1044"/>
                    </a:lnTo>
                    <a:lnTo>
                      <a:pt x="4566" y="1044"/>
                    </a:lnTo>
                    <a:lnTo>
                      <a:pt x="4554" y="1062"/>
                    </a:lnTo>
                    <a:lnTo>
                      <a:pt x="4578" y="1062"/>
                    </a:lnTo>
                    <a:lnTo>
                      <a:pt x="4566" y="1092"/>
                    </a:lnTo>
                    <a:lnTo>
                      <a:pt x="4566" y="1098"/>
                    </a:lnTo>
                    <a:lnTo>
                      <a:pt x="4584" y="1116"/>
                    </a:lnTo>
                    <a:lnTo>
                      <a:pt x="4590" y="1128"/>
                    </a:lnTo>
                    <a:lnTo>
                      <a:pt x="4614" y="1140"/>
                    </a:lnTo>
                    <a:lnTo>
                      <a:pt x="4626" y="1134"/>
                    </a:lnTo>
                    <a:lnTo>
                      <a:pt x="4638" y="1122"/>
                    </a:lnTo>
                    <a:lnTo>
                      <a:pt x="4656" y="1086"/>
                    </a:lnTo>
                    <a:lnTo>
                      <a:pt x="4656" y="1080"/>
                    </a:lnTo>
                    <a:lnTo>
                      <a:pt x="4662" y="1068"/>
                    </a:lnTo>
                    <a:lnTo>
                      <a:pt x="4668" y="1074"/>
                    </a:lnTo>
                    <a:lnTo>
                      <a:pt x="4680" y="1080"/>
                    </a:lnTo>
                    <a:lnTo>
                      <a:pt x="4692" y="1080"/>
                    </a:lnTo>
                    <a:lnTo>
                      <a:pt x="4698" y="1086"/>
                    </a:lnTo>
                    <a:lnTo>
                      <a:pt x="4710" y="1080"/>
                    </a:lnTo>
                    <a:lnTo>
                      <a:pt x="4722" y="1068"/>
                    </a:lnTo>
                    <a:lnTo>
                      <a:pt x="4728" y="1056"/>
                    </a:lnTo>
                    <a:lnTo>
                      <a:pt x="4728" y="1038"/>
                    </a:lnTo>
                    <a:lnTo>
                      <a:pt x="4794" y="1038"/>
                    </a:lnTo>
                    <a:lnTo>
                      <a:pt x="4806" y="1026"/>
                    </a:lnTo>
                    <a:lnTo>
                      <a:pt x="4812" y="1014"/>
                    </a:lnTo>
                    <a:lnTo>
                      <a:pt x="4800" y="1002"/>
                    </a:lnTo>
                    <a:lnTo>
                      <a:pt x="4788" y="996"/>
                    </a:lnTo>
                    <a:lnTo>
                      <a:pt x="4758" y="996"/>
                    </a:lnTo>
                    <a:close/>
                    <a:moveTo>
                      <a:pt x="4476" y="1308"/>
                    </a:moveTo>
                    <a:lnTo>
                      <a:pt x="4446" y="1308"/>
                    </a:lnTo>
                    <a:lnTo>
                      <a:pt x="4440" y="1326"/>
                    </a:lnTo>
                    <a:lnTo>
                      <a:pt x="4476" y="1320"/>
                    </a:lnTo>
                    <a:lnTo>
                      <a:pt x="4476" y="1308"/>
                    </a:lnTo>
                    <a:close/>
                    <a:moveTo>
                      <a:pt x="4140" y="1290"/>
                    </a:moveTo>
                    <a:lnTo>
                      <a:pt x="4134" y="1290"/>
                    </a:lnTo>
                    <a:lnTo>
                      <a:pt x="4128" y="1296"/>
                    </a:lnTo>
                    <a:lnTo>
                      <a:pt x="4128" y="1308"/>
                    </a:lnTo>
                    <a:lnTo>
                      <a:pt x="4134" y="1314"/>
                    </a:lnTo>
                    <a:lnTo>
                      <a:pt x="4158" y="1314"/>
                    </a:lnTo>
                    <a:lnTo>
                      <a:pt x="4164" y="1308"/>
                    </a:lnTo>
                    <a:lnTo>
                      <a:pt x="4164" y="1296"/>
                    </a:lnTo>
                    <a:lnTo>
                      <a:pt x="4158" y="1290"/>
                    </a:lnTo>
                    <a:lnTo>
                      <a:pt x="4140" y="1290"/>
                    </a:lnTo>
                    <a:close/>
                    <a:moveTo>
                      <a:pt x="3834" y="1242"/>
                    </a:moveTo>
                    <a:lnTo>
                      <a:pt x="3840" y="1236"/>
                    </a:lnTo>
                    <a:lnTo>
                      <a:pt x="3834" y="1230"/>
                    </a:lnTo>
                    <a:lnTo>
                      <a:pt x="3828" y="1230"/>
                    </a:lnTo>
                    <a:lnTo>
                      <a:pt x="3822" y="1224"/>
                    </a:lnTo>
                    <a:lnTo>
                      <a:pt x="3810" y="1224"/>
                    </a:lnTo>
                    <a:lnTo>
                      <a:pt x="3810" y="1236"/>
                    </a:lnTo>
                    <a:lnTo>
                      <a:pt x="3816" y="1242"/>
                    </a:lnTo>
                    <a:lnTo>
                      <a:pt x="3816" y="1248"/>
                    </a:lnTo>
                    <a:lnTo>
                      <a:pt x="3828" y="1248"/>
                    </a:lnTo>
                    <a:lnTo>
                      <a:pt x="3834" y="1242"/>
                    </a:lnTo>
                    <a:close/>
                    <a:moveTo>
                      <a:pt x="4206" y="1452"/>
                    </a:moveTo>
                    <a:lnTo>
                      <a:pt x="4170" y="1452"/>
                    </a:lnTo>
                    <a:lnTo>
                      <a:pt x="4206" y="1476"/>
                    </a:lnTo>
                    <a:lnTo>
                      <a:pt x="4218" y="1470"/>
                    </a:lnTo>
                    <a:lnTo>
                      <a:pt x="4218" y="1458"/>
                    </a:lnTo>
                    <a:lnTo>
                      <a:pt x="4212" y="1458"/>
                    </a:lnTo>
                    <a:lnTo>
                      <a:pt x="4206" y="1452"/>
                    </a:lnTo>
                    <a:close/>
                    <a:moveTo>
                      <a:pt x="4170" y="870"/>
                    </a:moveTo>
                    <a:lnTo>
                      <a:pt x="4152" y="870"/>
                    </a:lnTo>
                    <a:lnTo>
                      <a:pt x="4152" y="876"/>
                    </a:lnTo>
                    <a:lnTo>
                      <a:pt x="4158" y="882"/>
                    </a:lnTo>
                    <a:lnTo>
                      <a:pt x="4164" y="882"/>
                    </a:lnTo>
                    <a:lnTo>
                      <a:pt x="4170" y="888"/>
                    </a:lnTo>
                    <a:lnTo>
                      <a:pt x="4182" y="882"/>
                    </a:lnTo>
                    <a:lnTo>
                      <a:pt x="4188" y="882"/>
                    </a:lnTo>
                    <a:lnTo>
                      <a:pt x="4194" y="876"/>
                    </a:lnTo>
                    <a:lnTo>
                      <a:pt x="4188" y="870"/>
                    </a:lnTo>
                    <a:lnTo>
                      <a:pt x="4170" y="870"/>
                    </a:lnTo>
                    <a:close/>
                    <a:moveTo>
                      <a:pt x="4170" y="936"/>
                    </a:moveTo>
                    <a:lnTo>
                      <a:pt x="4236" y="936"/>
                    </a:lnTo>
                    <a:lnTo>
                      <a:pt x="4236" y="918"/>
                    </a:lnTo>
                    <a:lnTo>
                      <a:pt x="4188" y="918"/>
                    </a:lnTo>
                    <a:lnTo>
                      <a:pt x="4170" y="936"/>
                    </a:lnTo>
                    <a:close/>
                    <a:moveTo>
                      <a:pt x="5574" y="36"/>
                    </a:moveTo>
                    <a:lnTo>
                      <a:pt x="5490" y="36"/>
                    </a:lnTo>
                    <a:lnTo>
                      <a:pt x="5496" y="24"/>
                    </a:lnTo>
                    <a:lnTo>
                      <a:pt x="5490" y="24"/>
                    </a:lnTo>
                    <a:lnTo>
                      <a:pt x="5484" y="18"/>
                    </a:lnTo>
                    <a:lnTo>
                      <a:pt x="5448" y="18"/>
                    </a:lnTo>
                    <a:lnTo>
                      <a:pt x="5430" y="12"/>
                    </a:lnTo>
                    <a:lnTo>
                      <a:pt x="5400" y="12"/>
                    </a:lnTo>
                    <a:lnTo>
                      <a:pt x="5364" y="18"/>
                    </a:lnTo>
                    <a:lnTo>
                      <a:pt x="5334" y="30"/>
                    </a:lnTo>
                    <a:lnTo>
                      <a:pt x="5304" y="36"/>
                    </a:lnTo>
                    <a:lnTo>
                      <a:pt x="5292" y="36"/>
                    </a:lnTo>
                    <a:lnTo>
                      <a:pt x="5346" y="12"/>
                    </a:lnTo>
                    <a:lnTo>
                      <a:pt x="5274" y="18"/>
                    </a:lnTo>
                    <a:lnTo>
                      <a:pt x="5268" y="18"/>
                    </a:lnTo>
                    <a:lnTo>
                      <a:pt x="5262" y="12"/>
                    </a:lnTo>
                    <a:lnTo>
                      <a:pt x="5250" y="12"/>
                    </a:lnTo>
                    <a:lnTo>
                      <a:pt x="5226" y="0"/>
                    </a:lnTo>
                    <a:lnTo>
                      <a:pt x="5196" y="0"/>
                    </a:lnTo>
                    <a:lnTo>
                      <a:pt x="5190" y="6"/>
                    </a:lnTo>
                    <a:lnTo>
                      <a:pt x="5184" y="18"/>
                    </a:lnTo>
                    <a:lnTo>
                      <a:pt x="5178" y="18"/>
                    </a:lnTo>
                    <a:lnTo>
                      <a:pt x="5172" y="12"/>
                    </a:lnTo>
                    <a:lnTo>
                      <a:pt x="5160" y="6"/>
                    </a:lnTo>
                    <a:lnTo>
                      <a:pt x="5148" y="6"/>
                    </a:lnTo>
                    <a:lnTo>
                      <a:pt x="5136" y="0"/>
                    </a:lnTo>
                    <a:lnTo>
                      <a:pt x="5124" y="0"/>
                    </a:lnTo>
                    <a:lnTo>
                      <a:pt x="5112" y="6"/>
                    </a:lnTo>
                    <a:lnTo>
                      <a:pt x="5106" y="12"/>
                    </a:lnTo>
                    <a:lnTo>
                      <a:pt x="5094" y="18"/>
                    </a:lnTo>
                    <a:lnTo>
                      <a:pt x="5088" y="24"/>
                    </a:lnTo>
                    <a:lnTo>
                      <a:pt x="5046" y="12"/>
                    </a:lnTo>
                    <a:lnTo>
                      <a:pt x="4938" y="6"/>
                    </a:lnTo>
                    <a:lnTo>
                      <a:pt x="4968" y="36"/>
                    </a:lnTo>
                    <a:lnTo>
                      <a:pt x="4902" y="12"/>
                    </a:lnTo>
                    <a:lnTo>
                      <a:pt x="4842" y="24"/>
                    </a:lnTo>
                    <a:lnTo>
                      <a:pt x="4830" y="24"/>
                    </a:lnTo>
                    <a:lnTo>
                      <a:pt x="4812" y="18"/>
                    </a:lnTo>
                    <a:lnTo>
                      <a:pt x="4746" y="18"/>
                    </a:lnTo>
                    <a:lnTo>
                      <a:pt x="4710" y="24"/>
                    </a:lnTo>
                    <a:lnTo>
                      <a:pt x="4686" y="36"/>
                    </a:lnTo>
                    <a:lnTo>
                      <a:pt x="4674" y="36"/>
                    </a:lnTo>
                    <a:lnTo>
                      <a:pt x="4764" y="60"/>
                    </a:lnTo>
                    <a:lnTo>
                      <a:pt x="4674" y="48"/>
                    </a:lnTo>
                    <a:lnTo>
                      <a:pt x="4662" y="48"/>
                    </a:lnTo>
                    <a:lnTo>
                      <a:pt x="4590" y="36"/>
                    </a:lnTo>
                    <a:lnTo>
                      <a:pt x="4542" y="36"/>
                    </a:lnTo>
                    <a:lnTo>
                      <a:pt x="4530" y="48"/>
                    </a:lnTo>
                    <a:lnTo>
                      <a:pt x="4530" y="60"/>
                    </a:lnTo>
                    <a:lnTo>
                      <a:pt x="4512" y="60"/>
                    </a:lnTo>
                    <a:lnTo>
                      <a:pt x="4482" y="54"/>
                    </a:lnTo>
                    <a:lnTo>
                      <a:pt x="4392" y="54"/>
                    </a:lnTo>
                    <a:lnTo>
                      <a:pt x="4350" y="60"/>
                    </a:lnTo>
                    <a:lnTo>
                      <a:pt x="4302" y="66"/>
                    </a:lnTo>
                    <a:lnTo>
                      <a:pt x="4260" y="66"/>
                    </a:lnTo>
                    <a:lnTo>
                      <a:pt x="4242" y="72"/>
                    </a:lnTo>
                    <a:lnTo>
                      <a:pt x="4260" y="72"/>
                    </a:lnTo>
                    <a:lnTo>
                      <a:pt x="4266" y="78"/>
                    </a:lnTo>
                    <a:lnTo>
                      <a:pt x="4278" y="78"/>
                    </a:lnTo>
                    <a:lnTo>
                      <a:pt x="4362" y="84"/>
                    </a:lnTo>
                    <a:lnTo>
                      <a:pt x="4278" y="96"/>
                    </a:lnTo>
                    <a:lnTo>
                      <a:pt x="4284" y="96"/>
                    </a:lnTo>
                    <a:lnTo>
                      <a:pt x="4290" y="102"/>
                    </a:lnTo>
                    <a:lnTo>
                      <a:pt x="4314" y="114"/>
                    </a:lnTo>
                    <a:lnTo>
                      <a:pt x="4338" y="114"/>
                    </a:lnTo>
                    <a:lnTo>
                      <a:pt x="4356" y="108"/>
                    </a:lnTo>
                    <a:lnTo>
                      <a:pt x="4392" y="108"/>
                    </a:lnTo>
                    <a:lnTo>
                      <a:pt x="4398" y="102"/>
                    </a:lnTo>
                    <a:lnTo>
                      <a:pt x="4410" y="102"/>
                    </a:lnTo>
                    <a:lnTo>
                      <a:pt x="4416" y="96"/>
                    </a:lnTo>
                    <a:lnTo>
                      <a:pt x="4440" y="96"/>
                    </a:lnTo>
                    <a:lnTo>
                      <a:pt x="4458" y="90"/>
                    </a:lnTo>
                    <a:lnTo>
                      <a:pt x="4500" y="90"/>
                    </a:lnTo>
                    <a:lnTo>
                      <a:pt x="4518" y="96"/>
                    </a:lnTo>
                    <a:lnTo>
                      <a:pt x="4536" y="96"/>
                    </a:lnTo>
                    <a:lnTo>
                      <a:pt x="4548" y="102"/>
                    </a:lnTo>
                    <a:lnTo>
                      <a:pt x="4560" y="102"/>
                    </a:lnTo>
                    <a:lnTo>
                      <a:pt x="4494" y="102"/>
                    </a:lnTo>
                    <a:lnTo>
                      <a:pt x="4482" y="108"/>
                    </a:lnTo>
                    <a:lnTo>
                      <a:pt x="4458" y="108"/>
                    </a:lnTo>
                    <a:lnTo>
                      <a:pt x="4446" y="114"/>
                    </a:lnTo>
                    <a:lnTo>
                      <a:pt x="4434" y="114"/>
                    </a:lnTo>
                    <a:lnTo>
                      <a:pt x="4422" y="120"/>
                    </a:lnTo>
                    <a:lnTo>
                      <a:pt x="4410" y="120"/>
                    </a:lnTo>
                    <a:lnTo>
                      <a:pt x="4404" y="126"/>
                    </a:lnTo>
                    <a:lnTo>
                      <a:pt x="4398" y="126"/>
                    </a:lnTo>
                    <a:lnTo>
                      <a:pt x="4434" y="126"/>
                    </a:lnTo>
                    <a:lnTo>
                      <a:pt x="4452" y="132"/>
                    </a:lnTo>
                    <a:lnTo>
                      <a:pt x="4488" y="132"/>
                    </a:lnTo>
                    <a:lnTo>
                      <a:pt x="4500" y="126"/>
                    </a:lnTo>
                    <a:lnTo>
                      <a:pt x="4506" y="126"/>
                    </a:lnTo>
                    <a:lnTo>
                      <a:pt x="4512" y="120"/>
                    </a:lnTo>
                    <a:lnTo>
                      <a:pt x="4638" y="120"/>
                    </a:lnTo>
                    <a:lnTo>
                      <a:pt x="4656" y="114"/>
                    </a:lnTo>
                    <a:lnTo>
                      <a:pt x="4680" y="114"/>
                    </a:lnTo>
                    <a:lnTo>
                      <a:pt x="4698" y="108"/>
                    </a:lnTo>
                    <a:lnTo>
                      <a:pt x="4710" y="108"/>
                    </a:lnTo>
                    <a:lnTo>
                      <a:pt x="4722" y="96"/>
                    </a:lnTo>
                    <a:lnTo>
                      <a:pt x="4734" y="96"/>
                    </a:lnTo>
                    <a:lnTo>
                      <a:pt x="4752" y="90"/>
                    </a:lnTo>
                    <a:lnTo>
                      <a:pt x="4770" y="90"/>
                    </a:lnTo>
                    <a:lnTo>
                      <a:pt x="4782" y="84"/>
                    </a:lnTo>
                    <a:lnTo>
                      <a:pt x="4830" y="84"/>
                    </a:lnTo>
                    <a:lnTo>
                      <a:pt x="4746" y="114"/>
                    </a:lnTo>
                    <a:lnTo>
                      <a:pt x="4782" y="114"/>
                    </a:lnTo>
                    <a:lnTo>
                      <a:pt x="4734" y="126"/>
                    </a:lnTo>
                    <a:lnTo>
                      <a:pt x="4716" y="126"/>
                    </a:lnTo>
                    <a:lnTo>
                      <a:pt x="4674" y="132"/>
                    </a:lnTo>
                    <a:lnTo>
                      <a:pt x="4620" y="132"/>
                    </a:lnTo>
                    <a:lnTo>
                      <a:pt x="4566" y="138"/>
                    </a:lnTo>
                    <a:lnTo>
                      <a:pt x="4536" y="138"/>
                    </a:lnTo>
                    <a:lnTo>
                      <a:pt x="4524" y="150"/>
                    </a:lnTo>
                    <a:lnTo>
                      <a:pt x="4524" y="156"/>
                    </a:lnTo>
                    <a:lnTo>
                      <a:pt x="4602" y="174"/>
                    </a:lnTo>
                    <a:lnTo>
                      <a:pt x="4596" y="174"/>
                    </a:lnTo>
                    <a:lnTo>
                      <a:pt x="4590" y="180"/>
                    </a:lnTo>
                    <a:lnTo>
                      <a:pt x="4578" y="180"/>
                    </a:lnTo>
                    <a:lnTo>
                      <a:pt x="4566" y="186"/>
                    </a:lnTo>
                    <a:lnTo>
                      <a:pt x="4542" y="186"/>
                    </a:lnTo>
                    <a:lnTo>
                      <a:pt x="4518" y="174"/>
                    </a:lnTo>
                    <a:lnTo>
                      <a:pt x="4500" y="162"/>
                    </a:lnTo>
                    <a:lnTo>
                      <a:pt x="4476" y="150"/>
                    </a:lnTo>
                    <a:lnTo>
                      <a:pt x="4470" y="144"/>
                    </a:lnTo>
                    <a:lnTo>
                      <a:pt x="4356" y="144"/>
                    </a:lnTo>
                    <a:lnTo>
                      <a:pt x="4350" y="150"/>
                    </a:lnTo>
                    <a:lnTo>
                      <a:pt x="4344" y="162"/>
                    </a:lnTo>
                    <a:lnTo>
                      <a:pt x="4338" y="168"/>
                    </a:lnTo>
                    <a:lnTo>
                      <a:pt x="4368" y="186"/>
                    </a:lnTo>
                    <a:lnTo>
                      <a:pt x="4386" y="204"/>
                    </a:lnTo>
                    <a:lnTo>
                      <a:pt x="4410" y="216"/>
                    </a:lnTo>
                    <a:lnTo>
                      <a:pt x="4458" y="216"/>
                    </a:lnTo>
                    <a:lnTo>
                      <a:pt x="4476" y="210"/>
                    </a:lnTo>
                    <a:lnTo>
                      <a:pt x="4488" y="210"/>
                    </a:lnTo>
                    <a:lnTo>
                      <a:pt x="4476" y="216"/>
                    </a:lnTo>
                    <a:lnTo>
                      <a:pt x="4470" y="228"/>
                    </a:lnTo>
                    <a:lnTo>
                      <a:pt x="4398" y="228"/>
                    </a:lnTo>
                    <a:lnTo>
                      <a:pt x="4380" y="222"/>
                    </a:lnTo>
                    <a:lnTo>
                      <a:pt x="4350" y="222"/>
                    </a:lnTo>
                    <a:lnTo>
                      <a:pt x="4314" y="228"/>
                    </a:lnTo>
                    <a:lnTo>
                      <a:pt x="4272" y="234"/>
                    </a:lnTo>
                    <a:lnTo>
                      <a:pt x="4230" y="234"/>
                    </a:lnTo>
                    <a:lnTo>
                      <a:pt x="4218" y="240"/>
                    </a:lnTo>
                    <a:lnTo>
                      <a:pt x="4200" y="246"/>
                    </a:lnTo>
                    <a:lnTo>
                      <a:pt x="4188" y="258"/>
                    </a:lnTo>
                    <a:lnTo>
                      <a:pt x="4176" y="264"/>
                    </a:lnTo>
                    <a:lnTo>
                      <a:pt x="4170" y="270"/>
                    </a:lnTo>
                    <a:lnTo>
                      <a:pt x="4164" y="270"/>
                    </a:lnTo>
                    <a:lnTo>
                      <a:pt x="4236" y="258"/>
                    </a:lnTo>
                    <a:lnTo>
                      <a:pt x="4236" y="276"/>
                    </a:lnTo>
                    <a:lnTo>
                      <a:pt x="4296" y="258"/>
                    </a:lnTo>
                    <a:lnTo>
                      <a:pt x="4224" y="288"/>
                    </a:lnTo>
                    <a:lnTo>
                      <a:pt x="4230" y="288"/>
                    </a:lnTo>
                    <a:lnTo>
                      <a:pt x="4236" y="294"/>
                    </a:lnTo>
                    <a:lnTo>
                      <a:pt x="4248" y="300"/>
                    </a:lnTo>
                    <a:lnTo>
                      <a:pt x="4278" y="300"/>
                    </a:lnTo>
                    <a:lnTo>
                      <a:pt x="4314" y="288"/>
                    </a:lnTo>
                    <a:lnTo>
                      <a:pt x="4326" y="288"/>
                    </a:lnTo>
                    <a:lnTo>
                      <a:pt x="4344" y="282"/>
                    </a:lnTo>
                    <a:lnTo>
                      <a:pt x="4350" y="276"/>
                    </a:lnTo>
                    <a:lnTo>
                      <a:pt x="4356" y="276"/>
                    </a:lnTo>
                    <a:lnTo>
                      <a:pt x="4254" y="312"/>
                    </a:lnTo>
                    <a:lnTo>
                      <a:pt x="4188" y="312"/>
                    </a:lnTo>
                    <a:lnTo>
                      <a:pt x="4176" y="288"/>
                    </a:lnTo>
                    <a:lnTo>
                      <a:pt x="4164" y="288"/>
                    </a:lnTo>
                    <a:lnTo>
                      <a:pt x="4146" y="282"/>
                    </a:lnTo>
                    <a:lnTo>
                      <a:pt x="4110" y="282"/>
                    </a:lnTo>
                    <a:lnTo>
                      <a:pt x="4104" y="288"/>
                    </a:lnTo>
                    <a:lnTo>
                      <a:pt x="4104" y="300"/>
                    </a:lnTo>
                    <a:lnTo>
                      <a:pt x="4110" y="312"/>
                    </a:lnTo>
                    <a:lnTo>
                      <a:pt x="4110" y="318"/>
                    </a:lnTo>
                    <a:lnTo>
                      <a:pt x="4116" y="324"/>
                    </a:lnTo>
                    <a:lnTo>
                      <a:pt x="4092" y="324"/>
                    </a:lnTo>
                    <a:lnTo>
                      <a:pt x="4074" y="330"/>
                    </a:lnTo>
                    <a:lnTo>
                      <a:pt x="4032" y="330"/>
                    </a:lnTo>
                    <a:lnTo>
                      <a:pt x="4020" y="336"/>
                    </a:lnTo>
                    <a:lnTo>
                      <a:pt x="4002" y="342"/>
                    </a:lnTo>
                    <a:lnTo>
                      <a:pt x="3990" y="348"/>
                    </a:lnTo>
                    <a:lnTo>
                      <a:pt x="3972" y="354"/>
                    </a:lnTo>
                    <a:lnTo>
                      <a:pt x="3936" y="354"/>
                    </a:lnTo>
                    <a:lnTo>
                      <a:pt x="3924" y="360"/>
                    </a:lnTo>
                    <a:lnTo>
                      <a:pt x="3918" y="360"/>
                    </a:lnTo>
                    <a:lnTo>
                      <a:pt x="3924" y="360"/>
                    </a:lnTo>
                    <a:lnTo>
                      <a:pt x="3936" y="366"/>
                    </a:lnTo>
                    <a:lnTo>
                      <a:pt x="3978" y="366"/>
                    </a:lnTo>
                    <a:lnTo>
                      <a:pt x="3990" y="360"/>
                    </a:lnTo>
                    <a:lnTo>
                      <a:pt x="3996" y="354"/>
                    </a:lnTo>
                    <a:lnTo>
                      <a:pt x="3984" y="372"/>
                    </a:lnTo>
                    <a:lnTo>
                      <a:pt x="4020" y="366"/>
                    </a:lnTo>
                    <a:lnTo>
                      <a:pt x="4044" y="354"/>
                    </a:lnTo>
                    <a:lnTo>
                      <a:pt x="4044" y="372"/>
                    </a:lnTo>
                    <a:lnTo>
                      <a:pt x="4074" y="366"/>
                    </a:lnTo>
                    <a:lnTo>
                      <a:pt x="4098" y="366"/>
                    </a:lnTo>
                    <a:lnTo>
                      <a:pt x="4098" y="372"/>
                    </a:lnTo>
                    <a:lnTo>
                      <a:pt x="4104" y="378"/>
                    </a:lnTo>
                    <a:lnTo>
                      <a:pt x="4122" y="378"/>
                    </a:lnTo>
                    <a:lnTo>
                      <a:pt x="4146" y="366"/>
                    </a:lnTo>
                    <a:lnTo>
                      <a:pt x="4152" y="366"/>
                    </a:lnTo>
                    <a:lnTo>
                      <a:pt x="4164" y="360"/>
                    </a:lnTo>
                    <a:lnTo>
                      <a:pt x="4170" y="372"/>
                    </a:lnTo>
                    <a:lnTo>
                      <a:pt x="4200" y="354"/>
                    </a:lnTo>
                    <a:lnTo>
                      <a:pt x="4206" y="360"/>
                    </a:lnTo>
                    <a:lnTo>
                      <a:pt x="4212" y="372"/>
                    </a:lnTo>
                    <a:lnTo>
                      <a:pt x="4224" y="372"/>
                    </a:lnTo>
                    <a:lnTo>
                      <a:pt x="4236" y="366"/>
                    </a:lnTo>
                    <a:lnTo>
                      <a:pt x="4242" y="360"/>
                    </a:lnTo>
                    <a:lnTo>
                      <a:pt x="4248" y="360"/>
                    </a:lnTo>
                    <a:lnTo>
                      <a:pt x="4254" y="366"/>
                    </a:lnTo>
                    <a:lnTo>
                      <a:pt x="4266" y="372"/>
                    </a:lnTo>
                    <a:lnTo>
                      <a:pt x="4284" y="372"/>
                    </a:lnTo>
                    <a:lnTo>
                      <a:pt x="4290" y="366"/>
                    </a:lnTo>
                    <a:lnTo>
                      <a:pt x="4290" y="360"/>
                    </a:lnTo>
                    <a:lnTo>
                      <a:pt x="4284" y="354"/>
                    </a:lnTo>
                    <a:lnTo>
                      <a:pt x="4338" y="372"/>
                    </a:lnTo>
                    <a:lnTo>
                      <a:pt x="4344" y="378"/>
                    </a:lnTo>
                    <a:lnTo>
                      <a:pt x="4350" y="390"/>
                    </a:lnTo>
                    <a:lnTo>
                      <a:pt x="4374" y="390"/>
                    </a:lnTo>
                    <a:lnTo>
                      <a:pt x="4410" y="378"/>
                    </a:lnTo>
                    <a:lnTo>
                      <a:pt x="4440" y="372"/>
                    </a:lnTo>
                    <a:lnTo>
                      <a:pt x="4476" y="372"/>
                    </a:lnTo>
                    <a:lnTo>
                      <a:pt x="4494" y="366"/>
                    </a:lnTo>
                    <a:lnTo>
                      <a:pt x="4506" y="360"/>
                    </a:lnTo>
                    <a:lnTo>
                      <a:pt x="4524" y="342"/>
                    </a:lnTo>
                    <a:lnTo>
                      <a:pt x="4464" y="342"/>
                    </a:lnTo>
                    <a:lnTo>
                      <a:pt x="4470" y="336"/>
                    </a:lnTo>
                    <a:lnTo>
                      <a:pt x="4470" y="330"/>
                    </a:lnTo>
                    <a:lnTo>
                      <a:pt x="4416" y="330"/>
                    </a:lnTo>
                    <a:lnTo>
                      <a:pt x="4362" y="318"/>
                    </a:lnTo>
                    <a:lnTo>
                      <a:pt x="4380" y="300"/>
                    </a:lnTo>
                    <a:lnTo>
                      <a:pt x="4440" y="318"/>
                    </a:lnTo>
                    <a:lnTo>
                      <a:pt x="4452" y="318"/>
                    </a:lnTo>
                    <a:lnTo>
                      <a:pt x="4488" y="312"/>
                    </a:lnTo>
                    <a:lnTo>
                      <a:pt x="4566" y="312"/>
                    </a:lnTo>
                    <a:lnTo>
                      <a:pt x="4578" y="300"/>
                    </a:lnTo>
                    <a:lnTo>
                      <a:pt x="4578" y="288"/>
                    </a:lnTo>
                    <a:lnTo>
                      <a:pt x="4584" y="288"/>
                    </a:lnTo>
                    <a:lnTo>
                      <a:pt x="4590" y="282"/>
                    </a:lnTo>
                    <a:lnTo>
                      <a:pt x="4608" y="282"/>
                    </a:lnTo>
                    <a:lnTo>
                      <a:pt x="4626" y="276"/>
                    </a:lnTo>
                    <a:lnTo>
                      <a:pt x="4662" y="276"/>
                    </a:lnTo>
                    <a:lnTo>
                      <a:pt x="4680" y="270"/>
                    </a:lnTo>
                    <a:lnTo>
                      <a:pt x="4710" y="270"/>
                    </a:lnTo>
                    <a:lnTo>
                      <a:pt x="4722" y="264"/>
                    </a:lnTo>
                    <a:lnTo>
                      <a:pt x="4728" y="264"/>
                    </a:lnTo>
                    <a:lnTo>
                      <a:pt x="4704" y="246"/>
                    </a:lnTo>
                    <a:lnTo>
                      <a:pt x="4746" y="246"/>
                    </a:lnTo>
                    <a:lnTo>
                      <a:pt x="4770" y="240"/>
                    </a:lnTo>
                    <a:lnTo>
                      <a:pt x="4782" y="234"/>
                    </a:lnTo>
                    <a:lnTo>
                      <a:pt x="4776" y="228"/>
                    </a:lnTo>
                    <a:lnTo>
                      <a:pt x="4770" y="228"/>
                    </a:lnTo>
                    <a:lnTo>
                      <a:pt x="4758" y="222"/>
                    </a:lnTo>
                    <a:lnTo>
                      <a:pt x="4746" y="222"/>
                    </a:lnTo>
                    <a:lnTo>
                      <a:pt x="4734" y="216"/>
                    </a:lnTo>
                    <a:lnTo>
                      <a:pt x="4686" y="216"/>
                    </a:lnTo>
                    <a:lnTo>
                      <a:pt x="4674" y="210"/>
                    </a:lnTo>
                    <a:lnTo>
                      <a:pt x="4662" y="210"/>
                    </a:lnTo>
                    <a:lnTo>
                      <a:pt x="4662" y="204"/>
                    </a:lnTo>
                    <a:lnTo>
                      <a:pt x="4674" y="198"/>
                    </a:lnTo>
                    <a:lnTo>
                      <a:pt x="4686" y="198"/>
                    </a:lnTo>
                    <a:lnTo>
                      <a:pt x="4704" y="192"/>
                    </a:lnTo>
                    <a:lnTo>
                      <a:pt x="4716" y="186"/>
                    </a:lnTo>
                    <a:lnTo>
                      <a:pt x="4764" y="186"/>
                    </a:lnTo>
                    <a:lnTo>
                      <a:pt x="4782" y="192"/>
                    </a:lnTo>
                    <a:lnTo>
                      <a:pt x="4860" y="192"/>
                    </a:lnTo>
                    <a:lnTo>
                      <a:pt x="4878" y="186"/>
                    </a:lnTo>
                    <a:lnTo>
                      <a:pt x="4902" y="186"/>
                    </a:lnTo>
                    <a:lnTo>
                      <a:pt x="4896" y="180"/>
                    </a:lnTo>
                    <a:lnTo>
                      <a:pt x="4878" y="180"/>
                    </a:lnTo>
                    <a:lnTo>
                      <a:pt x="4866" y="174"/>
                    </a:lnTo>
                    <a:lnTo>
                      <a:pt x="4872" y="168"/>
                    </a:lnTo>
                    <a:lnTo>
                      <a:pt x="4902" y="162"/>
                    </a:lnTo>
                    <a:lnTo>
                      <a:pt x="4944" y="168"/>
                    </a:lnTo>
                    <a:lnTo>
                      <a:pt x="4974" y="174"/>
                    </a:lnTo>
                    <a:lnTo>
                      <a:pt x="4986" y="174"/>
                    </a:lnTo>
                    <a:lnTo>
                      <a:pt x="4992" y="168"/>
                    </a:lnTo>
                    <a:lnTo>
                      <a:pt x="4992" y="150"/>
                    </a:lnTo>
                    <a:lnTo>
                      <a:pt x="5070" y="156"/>
                    </a:lnTo>
                    <a:lnTo>
                      <a:pt x="5070" y="132"/>
                    </a:lnTo>
                    <a:lnTo>
                      <a:pt x="5082" y="132"/>
                    </a:lnTo>
                    <a:lnTo>
                      <a:pt x="5094" y="138"/>
                    </a:lnTo>
                    <a:lnTo>
                      <a:pt x="5112" y="138"/>
                    </a:lnTo>
                    <a:lnTo>
                      <a:pt x="5136" y="126"/>
                    </a:lnTo>
                    <a:lnTo>
                      <a:pt x="5148" y="126"/>
                    </a:lnTo>
                    <a:lnTo>
                      <a:pt x="5154" y="120"/>
                    </a:lnTo>
                    <a:lnTo>
                      <a:pt x="5172" y="120"/>
                    </a:lnTo>
                    <a:lnTo>
                      <a:pt x="5208" y="114"/>
                    </a:lnTo>
                    <a:lnTo>
                      <a:pt x="5256" y="102"/>
                    </a:lnTo>
                    <a:lnTo>
                      <a:pt x="5298" y="96"/>
                    </a:lnTo>
                    <a:lnTo>
                      <a:pt x="5322" y="90"/>
                    </a:lnTo>
                    <a:lnTo>
                      <a:pt x="5340" y="90"/>
                    </a:lnTo>
                    <a:lnTo>
                      <a:pt x="5346" y="84"/>
                    </a:lnTo>
                    <a:lnTo>
                      <a:pt x="5238" y="84"/>
                    </a:lnTo>
                    <a:lnTo>
                      <a:pt x="5214" y="96"/>
                    </a:lnTo>
                    <a:lnTo>
                      <a:pt x="5142" y="96"/>
                    </a:lnTo>
                    <a:lnTo>
                      <a:pt x="5226" y="90"/>
                    </a:lnTo>
                    <a:lnTo>
                      <a:pt x="5220" y="78"/>
                    </a:lnTo>
                    <a:lnTo>
                      <a:pt x="5268" y="84"/>
                    </a:lnTo>
                    <a:lnTo>
                      <a:pt x="5274" y="78"/>
                    </a:lnTo>
                    <a:lnTo>
                      <a:pt x="5286" y="72"/>
                    </a:lnTo>
                    <a:lnTo>
                      <a:pt x="5358" y="72"/>
                    </a:lnTo>
                    <a:lnTo>
                      <a:pt x="5406" y="66"/>
                    </a:lnTo>
                    <a:lnTo>
                      <a:pt x="5454" y="66"/>
                    </a:lnTo>
                    <a:lnTo>
                      <a:pt x="5484" y="60"/>
                    </a:lnTo>
                    <a:lnTo>
                      <a:pt x="5496" y="60"/>
                    </a:lnTo>
                    <a:lnTo>
                      <a:pt x="5514" y="54"/>
                    </a:lnTo>
                    <a:lnTo>
                      <a:pt x="5532" y="54"/>
                    </a:lnTo>
                    <a:lnTo>
                      <a:pt x="5550" y="48"/>
                    </a:lnTo>
                    <a:lnTo>
                      <a:pt x="5562" y="42"/>
                    </a:lnTo>
                    <a:lnTo>
                      <a:pt x="5574" y="42"/>
                    </a:lnTo>
                    <a:lnTo>
                      <a:pt x="5574" y="36"/>
                    </a:lnTo>
                    <a:close/>
                    <a:moveTo>
                      <a:pt x="4032" y="966"/>
                    </a:moveTo>
                    <a:lnTo>
                      <a:pt x="4086" y="966"/>
                    </a:lnTo>
                    <a:lnTo>
                      <a:pt x="4134" y="942"/>
                    </a:lnTo>
                    <a:lnTo>
                      <a:pt x="4140" y="930"/>
                    </a:lnTo>
                    <a:lnTo>
                      <a:pt x="4134" y="918"/>
                    </a:lnTo>
                    <a:lnTo>
                      <a:pt x="4134" y="912"/>
                    </a:lnTo>
                    <a:lnTo>
                      <a:pt x="4122" y="906"/>
                    </a:lnTo>
                    <a:lnTo>
                      <a:pt x="4074" y="906"/>
                    </a:lnTo>
                    <a:lnTo>
                      <a:pt x="4062" y="912"/>
                    </a:lnTo>
                    <a:lnTo>
                      <a:pt x="4050" y="912"/>
                    </a:lnTo>
                    <a:lnTo>
                      <a:pt x="4026" y="924"/>
                    </a:lnTo>
                    <a:lnTo>
                      <a:pt x="4014" y="936"/>
                    </a:lnTo>
                    <a:lnTo>
                      <a:pt x="4002" y="942"/>
                    </a:lnTo>
                    <a:lnTo>
                      <a:pt x="4002" y="954"/>
                    </a:lnTo>
                    <a:lnTo>
                      <a:pt x="4014" y="960"/>
                    </a:lnTo>
                    <a:lnTo>
                      <a:pt x="4032" y="966"/>
                    </a:lnTo>
                    <a:close/>
                    <a:moveTo>
                      <a:pt x="4014" y="840"/>
                    </a:moveTo>
                    <a:lnTo>
                      <a:pt x="4002" y="840"/>
                    </a:lnTo>
                    <a:lnTo>
                      <a:pt x="3990" y="846"/>
                    </a:lnTo>
                    <a:lnTo>
                      <a:pt x="3984" y="852"/>
                    </a:lnTo>
                    <a:lnTo>
                      <a:pt x="3972" y="852"/>
                    </a:lnTo>
                    <a:lnTo>
                      <a:pt x="3990" y="852"/>
                    </a:lnTo>
                    <a:lnTo>
                      <a:pt x="4008" y="846"/>
                    </a:lnTo>
                    <a:lnTo>
                      <a:pt x="4026" y="846"/>
                    </a:lnTo>
                    <a:lnTo>
                      <a:pt x="4044" y="840"/>
                    </a:lnTo>
                    <a:lnTo>
                      <a:pt x="4050" y="834"/>
                    </a:lnTo>
                    <a:lnTo>
                      <a:pt x="4056" y="834"/>
                    </a:lnTo>
                    <a:lnTo>
                      <a:pt x="4068" y="822"/>
                    </a:lnTo>
                    <a:lnTo>
                      <a:pt x="4050" y="822"/>
                    </a:lnTo>
                    <a:lnTo>
                      <a:pt x="4044" y="828"/>
                    </a:lnTo>
                    <a:lnTo>
                      <a:pt x="4032" y="828"/>
                    </a:lnTo>
                    <a:lnTo>
                      <a:pt x="4020" y="834"/>
                    </a:lnTo>
                    <a:lnTo>
                      <a:pt x="4014" y="840"/>
                    </a:lnTo>
                    <a:close/>
                    <a:moveTo>
                      <a:pt x="4122" y="822"/>
                    </a:moveTo>
                    <a:lnTo>
                      <a:pt x="4104" y="822"/>
                    </a:lnTo>
                    <a:lnTo>
                      <a:pt x="4098" y="828"/>
                    </a:lnTo>
                    <a:lnTo>
                      <a:pt x="4098" y="840"/>
                    </a:lnTo>
                    <a:lnTo>
                      <a:pt x="4104" y="846"/>
                    </a:lnTo>
                    <a:lnTo>
                      <a:pt x="4110" y="840"/>
                    </a:lnTo>
                    <a:lnTo>
                      <a:pt x="4116" y="840"/>
                    </a:lnTo>
                    <a:lnTo>
                      <a:pt x="4128" y="828"/>
                    </a:lnTo>
                    <a:lnTo>
                      <a:pt x="4122" y="822"/>
                    </a:lnTo>
                    <a:close/>
                    <a:moveTo>
                      <a:pt x="3528" y="1062"/>
                    </a:moveTo>
                    <a:lnTo>
                      <a:pt x="3522" y="1062"/>
                    </a:lnTo>
                    <a:lnTo>
                      <a:pt x="3504" y="1080"/>
                    </a:lnTo>
                    <a:lnTo>
                      <a:pt x="3504" y="1086"/>
                    </a:lnTo>
                    <a:lnTo>
                      <a:pt x="3510" y="1092"/>
                    </a:lnTo>
                    <a:lnTo>
                      <a:pt x="3528" y="1092"/>
                    </a:lnTo>
                    <a:lnTo>
                      <a:pt x="3534" y="1086"/>
                    </a:lnTo>
                    <a:lnTo>
                      <a:pt x="3540" y="1074"/>
                    </a:lnTo>
                    <a:lnTo>
                      <a:pt x="3540" y="1068"/>
                    </a:lnTo>
                    <a:lnTo>
                      <a:pt x="3534" y="1062"/>
                    </a:lnTo>
                    <a:lnTo>
                      <a:pt x="3528" y="1062"/>
                    </a:lnTo>
                    <a:close/>
                    <a:moveTo>
                      <a:pt x="3588" y="1062"/>
                    </a:moveTo>
                    <a:lnTo>
                      <a:pt x="3582" y="1062"/>
                    </a:lnTo>
                    <a:lnTo>
                      <a:pt x="3576" y="1068"/>
                    </a:lnTo>
                    <a:lnTo>
                      <a:pt x="3576" y="1080"/>
                    </a:lnTo>
                    <a:lnTo>
                      <a:pt x="3582" y="1086"/>
                    </a:lnTo>
                    <a:lnTo>
                      <a:pt x="3594" y="1086"/>
                    </a:lnTo>
                    <a:lnTo>
                      <a:pt x="3600" y="1080"/>
                    </a:lnTo>
                    <a:lnTo>
                      <a:pt x="3600" y="1068"/>
                    </a:lnTo>
                    <a:lnTo>
                      <a:pt x="3588" y="1062"/>
                    </a:lnTo>
                    <a:close/>
                    <a:moveTo>
                      <a:pt x="3756" y="1242"/>
                    </a:moveTo>
                    <a:lnTo>
                      <a:pt x="3744" y="1248"/>
                    </a:lnTo>
                    <a:lnTo>
                      <a:pt x="3744" y="1260"/>
                    </a:lnTo>
                    <a:lnTo>
                      <a:pt x="3750" y="1266"/>
                    </a:lnTo>
                    <a:lnTo>
                      <a:pt x="3762" y="1272"/>
                    </a:lnTo>
                    <a:lnTo>
                      <a:pt x="3768" y="1272"/>
                    </a:lnTo>
                    <a:lnTo>
                      <a:pt x="3786" y="1254"/>
                    </a:lnTo>
                    <a:lnTo>
                      <a:pt x="3786" y="1242"/>
                    </a:lnTo>
                    <a:lnTo>
                      <a:pt x="3780" y="1236"/>
                    </a:lnTo>
                    <a:lnTo>
                      <a:pt x="3768" y="1236"/>
                    </a:lnTo>
                    <a:lnTo>
                      <a:pt x="3756" y="1242"/>
                    </a:lnTo>
                    <a:close/>
                    <a:moveTo>
                      <a:pt x="3984" y="2532"/>
                    </a:moveTo>
                    <a:lnTo>
                      <a:pt x="3948" y="2520"/>
                    </a:lnTo>
                    <a:lnTo>
                      <a:pt x="3942" y="2514"/>
                    </a:lnTo>
                    <a:lnTo>
                      <a:pt x="3936" y="2514"/>
                    </a:lnTo>
                    <a:lnTo>
                      <a:pt x="3924" y="2526"/>
                    </a:lnTo>
                    <a:lnTo>
                      <a:pt x="3930" y="2532"/>
                    </a:lnTo>
                    <a:lnTo>
                      <a:pt x="3942" y="2538"/>
                    </a:lnTo>
                    <a:lnTo>
                      <a:pt x="3948" y="2544"/>
                    </a:lnTo>
                    <a:lnTo>
                      <a:pt x="3954" y="2544"/>
                    </a:lnTo>
                    <a:lnTo>
                      <a:pt x="3960" y="2550"/>
                    </a:lnTo>
                    <a:lnTo>
                      <a:pt x="3996" y="2550"/>
                    </a:lnTo>
                    <a:lnTo>
                      <a:pt x="4008" y="2556"/>
                    </a:lnTo>
                    <a:lnTo>
                      <a:pt x="4020" y="2556"/>
                    </a:lnTo>
                    <a:lnTo>
                      <a:pt x="4038" y="2538"/>
                    </a:lnTo>
                    <a:lnTo>
                      <a:pt x="4008" y="2538"/>
                    </a:lnTo>
                    <a:lnTo>
                      <a:pt x="3984" y="2532"/>
                    </a:lnTo>
                    <a:close/>
                    <a:moveTo>
                      <a:pt x="4098" y="2280"/>
                    </a:moveTo>
                    <a:lnTo>
                      <a:pt x="4092" y="2280"/>
                    </a:lnTo>
                    <a:lnTo>
                      <a:pt x="4086" y="2274"/>
                    </a:lnTo>
                    <a:lnTo>
                      <a:pt x="4050" y="2274"/>
                    </a:lnTo>
                    <a:lnTo>
                      <a:pt x="4032" y="2268"/>
                    </a:lnTo>
                    <a:lnTo>
                      <a:pt x="3996" y="2268"/>
                    </a:lnTo>
                    <a:lnTo>
                      <a:pt x="4002" y="2274"/>
                    </a:lnTo>
                    <a:lnTo>
                      <a:pt x="4008" y="2274"/>
                    </a:lnTo>
                    <a:lnTo>
                      <a:pt x="4014" y="2280"/>
                    </a:lnTo>
                    <a:lnTo>
                      <a:pt x="4026" y="2286"/>
                    </a:lnTo>
                    <a:lnTo>
                      <a:pt x="4032" y="2286"/>
                    </a:lnTo>
                    <a:lnTo>
                      <a:pt x="4032" y="2304"/>
                    </a:lnTo>
                    <a:lnTo>
                      <a:pt x="4044" y="2304"/>
                    </a:lnTo>
                    <a:lnTo>
                      <a:pt x="4080" y="2310"/>
                    </a:lnTo>
                    <a:lnTo>
                      <a:pt x="4128" y="2316"/>
                    </a:lnTo>
                    <a:lnTo>
                      <a:pt x="4164" y="2316"/>
                    </a:lnTo>
                    <a:lnTo>
                      <a:pt x="4170" y="2310"/>
                    </a:lnTo>
                    <a:lnTo>
                      <a:pt x="4170" y="2304"/>
                    </a:lnTo>
                    <a:lnTo>
                      <a:pt x="4164" y="2304"/>
                    </a:lnTo>
                    <a:lnTo>
                      <a:pt x="4152" y="2292"/>
                    </a:lnTo>
                    <a:lnTo>
                      <a:pt x="4128" y="2286"/>
                    </a:lnTo>
                    <a:lnTo>
                      <a:pt x="4098" y="2280"/>
                    </a:lnTo>
                    <a:close/>
                    <a:moveTo>
                      <a:pt x="4194" y="2550"/>
                    </a:moveTo>
                    <a:lnTo>
                      <a:pt x="4164" y="2550"/>
                    </a:lnTo>
                    <a:lnTo>
                      <a:pt x="4152" y="2556"/>
                    </a:lnTo>
                    <a:lnTo>
                      <a:pt x="4146" y="2562"/>
                    </a:lnTo>
                    <a:lnTo>
                      <a:pt x="4182" y="2526"/>
                    </a:lnTo>
                    <a:lnTo>
                      <a:pt x="4176" y="2520"/>
                    </a:lnTo>
                    <a:lnTo>
                      <a:pt x="4152" y="2520"/>
                    </a:lnTo>
                    <a:lnTo>
                      <a:pt x="4140" y="2526"/>
                    </a:lnTo>
                    <a:lnTo>
                      <a:pt x="4128" y="2538"/>
                    </a:lnTo>
                    <a:lnTo>
                      <a:pt x="4104" y="2574"/>
                    </a:lnTo>
                    <a:lnTo>
                      <a:pt x="4164" y="2568"/>
                    </a:lnTo>
                    <a:lnTo>
                      <a:pt x="4176" y="2568"/>
                    </a:lnTo>
                    <a:lnTo>
                      <a:pt x="4182" y="2562"/>
                    </a:lnTo>
                    <a:lnTo>
                      <a:pt x="4194" y="2562"/>
                    </a:lnTo>
                    <a:lnTo>
                      <a:pt x="4200" y="2556"/>
                    </a:lnTo>
                    <a:lnTo>
                      <a:pt x="4200" y="2550"/>
                    </a:lnTo>
                    <a:lnTo>
                      <a:pt x="4194" y="2550"/>
                    </a:lnTo>
                    <a:close/>
                    <a:moveTo>
                      <a:pt x="4590" y="1962"/>
                    </a:moveTo>
                    <a:lnTo>
                      <a:pt x="4578" y="1974"/>
                    </a:lnTo>
                    <a:lnTo>
                      <a:pt x="4578" y="1980"/>
                    </a:lnTo>
                    <a:lnTo>
                      <a:pt x="4572" y="1986"/>
                    </a:lnTo>
                    <a:lnTo>
                      <a:pt x="4566" y="1986"/>
                    </a:lnTo>
                    <a:lnTo>
                      <a:pt x="4554" y="1974"/>
                    </a:lnTo>
                    <a:lnTo>
                      <a:pt x="4554" y="1962"/>
                    </a:lnTo>
                    <a:lnTo>
                      <a:pt x="4566" y="1962"/>
                    </a:lnTo>
                    <a:lnTo>
                      <a:pt x="4572" y="1956"/>
                    </a:lnTo>
                    <a:lnTo>
                      <a:pt x="4566" y="1932"/>
                    </a:lnTo>
                    <a:lnTo>
                      <a:pt x="4536" y="1926"/>
                    </a:lnTo>
                    <a:lnTo>
                      <a:pt x="4530" y="1926"/>
                    </a:lnTo>
                    <a:lnTo>
                      <a:pt x="4524" y="1932"/>
                    </a:lnTo>
                    <a:lnTo>
                      <a:pt x="4512" y="1938"/>
                    </a:lnTo>
                    <a:lnTo>
                      <a:pt x="4494" y="1944"/>
                    </a:lnTo>
                    <a:lnTo>
                      <a:pt x="4470" y="1956"/>
                    </a:lnTo>
                    <a:lnTo>
                      <a:pt x="4464" y="1962"/>
                    </a:lnTo>
                    <a:lnTo>
                      <a:pt x="4458" y="1962"/>
                    </a:lnTo>
                    <a:lnTo>
                      <a:pt x="4446" y="1968"/>
                    </a:lnTo>
                    <a:lnTo>
                      <a:pt x="4434" y="1968"/>
                    </a:lnTo>
                    <a:lnTo>
                      <a:pt x="4416" y="1974"/>
                    </a:lnTo>
                    <a:lnTo>
                      <a:pt x="4404" y="1974"/>
                    </a:lnTo>
                    <a:lnTo>
                      <a:pt x="4374" y="1998"/>
                    </a:lnTo>
                    <a:lnTo>
                      <a:pt x="4386" y="1974"/>
                    </a:lnTo>
                    <a:lnTo>
                      <a:pt x="4362" y="1956"/>
                    </a:lnTo>
                    <a:lnTo>
                      <a:pt x="4398" y="1968"/>
                    </a:lnTo>
                    <a:lnTo>
                      <a:pt x="4410" y="1956"/>
                    </a:lnTo>
                    <a:lnTo>
                      <a:pt x="4440" y="1950"/>
                    </a:lnTo>
                    <a:lnTo>
                      <a:pt x="4440" y="1932"/>
                    </a:lnTo>
                    <a:lnTo>
                      <a:pt x="4494" y="1932"/>
                    </a:lnTo>
                    <a:lnTo>
                      <a:pt x="4518" y="1920"/>
                    </a:lnTo>
                    <a:lnTo>
                      <a:pt x="4524" y="1914"/>
                    </a:lnTo>
                    <a:lnTo>
                      <a:pt x="4536" y="1908"/>
                    </a:lnTo>
                    <a:lnTo>
                      <a:pt x="4608" y="1908"/>
                    </a:lnTo>
                    <a:lnTo>
                      <a:pt x="4602" y="1902"/>
                    </a:lnTo>
                    <a:lnTo>
                      <a:pt x="4596" y="1902"/>
                    </a:lnTo>
                    <a:lnTo>
                      <a:pt x="4584" y="1896"/>
                    </a:lnTo>
                    <a:lnTo>
                      <a:pt x="4578" y="1890"/>
                    </a:lnTo>
                    <a:lnTo>
                      <a:pt x="4578" y="1866"/>
                    </a:lnTo>
                    <a:lnTo>
                      <a:pt x="4572" y="1866"/>
                    </a:lnTo>
                    <a:lnTo>
                      <a:pt x="4566" y="1872"/>
                    </a:lnTo>
                    <a:lnTo>
                      <a:pt x="4542" y="1872"/>
                    </a:lnTo>
                    <a:lnTo>
                      <a:pt x="4530" y="1878"/>
                    </a:lnTo>
                    <a:lnTo>
                      <a:pt x="4518" y="1878"/>
                    </a:lnTo>
                    <a:lnTo>
                      <a:pt x="4518" y="1866"/>
                    </a:lnTo>
                    <a:lnTo>
                      <a:pt x="4512" y="1860"/>
                    </a:lnTo>
                    <a:lnTo>
                      <a:pt x="4452" y="1878"/>
                    </a:lnTo>
                    <a:lnTo>
                      <a:pt x="4458" y="1848"/>
                    </a:lnTo>
                    <a:lnTo>
                      <a:pt x="4410" y="1860"/>
                    </a:lnTo>
                    <a:lnTo>
                      <a:pt x="4416" y="1854"/>
                    </a:lnTo>
                    <a:lnTo>
                      <a:pt x="4422" y="1842"/>
                    </a:lnTo>
                    <a:lnTo>
                      <a:pt x="4440" y="1824"/>
                    </a:lnTo>
                    <a:lnTo>
                      <a:pt x="4446" y="1812"/>
                    </a:lnTo>
                    <a:lnTo>
                      <a:pt x="4446" y="1800"/>
                    </a:lnTo>
                    <a:lnTo>
                      <a:pt x="4434" y="1800"/>
                    </a:lnTo>
                    <a:lnTo>
                      <a:pt x="4422" y="1794"/>
                    </a:lnTo>
                    <a:lnTo>
                      <a:pt x="4398" y="1794"/>
                    </a:lnTo>
                    <a:lnTo>
                      <a:pt x="4404" y="1770"/>
                    </a:lnTo>
                    <a:lnTo>
                      <a:pt x="4368" y="1770"/>
                    </a:lnTo>
                    <a:lnTo>
                      <a:pt x="4380" y="1752"/>
                    </a:lnTo>
                    <a:lnTo>
                      <a:pt x="4356" y="1728"/>
                    </a:lnTo>
                    <a:lnTo>
                      <a:pt x="4368" y="1728"/>
                    </a:lnTo>
                    <a:lnTo>
                      <a:pt x="4380" y="1734"/>
                    </a:lnTo>
                    <a:lnTo>
                      <a:pt x="4404" y="1734"/>
                    </a:lnTo>
                    <a:lnTo>
                      <a:pt x="4410" y="1728"/>
                    </a:lnTo>
                    <a:lnTo>
                      <a:pt x="4422" y="1722"/>
                    </a:lnTo>
                    <a:lnTo>
                      <a:pt x="4434" y="1710"/>
                    </a:lnTo>
                    <a:lnTo>
                      <a:pt x="4440" y="1710"/>
                    </a:lnTo>
                    <a:lnTo>
                      <a:pt x="4398" y="1686"/>
                    </a:lnTo>
                    <a:lnTo>
                      <a:pt x="4446" y="1656"/>
                    </a:lnTo>
                    <a:lnTo>
                      <a:pt x="4398" y="1632"/>
                    </a:lnTo>
                    <a:lnTo>
                      <a:pt x="4350" y="1638"/>
                    </a:lnTo>
                    <a:lnTo>
                      <a:pt x="4404" y="1614"/>
                    </a:lnTo>
                    <a:lnTo>
                      <a:pt x="4368" y="1608"/>
                    </a:lnTo>
                    <a:lnTo>
                      <a:pt x="4410" y="1584"/>
                    </a:lnTo>
                    <a:lnTo>
                      <a:pt x="4404" y="1560"/>
                    </a:lnTo>
                    <a:lnTo>
                      <a:pt x="4374" y="1560"/>
                    </a:lnTo>
                    <a:lnTo>
                      <a:pt x="4380" y="1554"/>
                    </a:lnTo>
                    <a:lnTo>
                      <a:pt x="4392" y="1530"/>
                    </a:lnTo>
                    <a:lnTo>
                      <a:pt x="4374" y="1494"/>
                    </a:lnTo>
                    <a:lnTo>
                      <a:pt x="4362" y="1494"/>
                    </a:lnTo>
                    <a:lnTo>
                      <a:pt x="4374" y="1470"/>
                    </a:lnTo>
                    <a:lnTo>
                      <a:pt x="4362" y="1476"/>
                    </a:lnTo>
                    <a:lnTo>
                      <a:pt x="4356" y="1482"/>
                    </a:lnTo>
                    <a:lnTo>
                      <a:pt x="4344" y="1488"/>
                    </a:lnTo>
                    <a:lnTo>
                      <a:pt x="4332" y="1500"/>
                    </a:lnTo>
                    <a:lnTo>
                      <a:pt x="4332" y="1518"/>
                    </a:lnTo>
                    <a:lnTo>
                      <a:pt x="4302" y="1506"/>
                    </a:lnTo>
                    <a:lnTo>
                      <a:pt x="4308" y="1542"/>
                    </a:lnTo>
                    <a:lnTo>
                      <a:pt x="4284" y="1542"/>
                    </a:lnTo>
                    <a:lnTo>
                      <a:pt x="4272" y="1560"/>
                    </a:lnTo>
                    <a:lnTo>
                      <a:pt x="4278" y="1572"/>
                    </a:lnTo>
                    <a:lnTo>
                      <a:pt x="4254" y="1572"/>
                    </a:lnTo>
                    <a:lnTo>
                      <a:pt x="4230" y="1614"/>
                    </a:lnTo>
                    <a:lnTo>
                      <a:pt x="4218" y="1614"/>
                    </a:lnTo>
                    <a:lnTo>
                      <a:pt x="4236" y="1578"/>
                    </a:lnTo>
                    <a:lnTo>
                      <a:pt x="4224" y="1566"/>
                    </a:lnTo>
                    <a:lnTo>
                      <a:pt x="4212" y="1566"/>
                    </a:lnTo>
                    <a:lnTo>
                      <a:pt x="4194" y="1584"/>
                    </a:lnTo>
                    <a:lnTo>
                      <a:pt x="4182" y="1590"/>
                    </a:lnTo>
                    <a:lnTo>
                      <a:pt x="4176" y="1596"/>
                    </a:lnTo>
                    <a:lnTo>
                      <a:pt x="4164" y="1602"/>
                    </a:lnTo>
                    <a:lnTo>
                      <a:pt x="4158" y="1608"/>
                    </a:lnTo>
                    <a:lnTo>
                      <a:pt x="4146" y="1614"/>
                    </a:lnTo>
                    <a:lnTo>
                      <a:pt x="4140" y="1620"/>
                    </a:lnTo>
                    <a:lnTo>
                      <a:pt x="4116" y="1632"/>
                    </a:lnTo>
                    <a:lnTo>
                      <a:pt x="4110" y="1638"/>
                    </a:lnTo>
                    <a:lnTo>
                      <a:pt x="4116" y="1614"/>
                    </a:lnTo>
                    <a:lnTo>
                      <a:pt x="4116" y="1596"/>
                    </a:lnTo>
                    <a:lnTo>
                      <a:pt x="4080" y="1632"/>
                    </a:lnTo>
                    <a:lnTo>
                      <a:pt x="4014" y="1644"/>
                    </a:lnTo>
                    <a:lnTo>
                      <a:pt x="4074" y="1626"/>
                    </a:lnTo>
                    <a:lnTo>
                      <a:pt x="4080" y="1620"/>
                    </a:lnTo>
                    <a:lnTo>
                      <a:pt x="4092" y="1596"/>
                    </a:lnTo>
                    <a:lnTo>
                      <a:pt x="4098" y="1590"/>
                    </a:lnTo>
                    <a:lnTo>
                      <a:pt x="4098" y="1578"/>
                    </a:lnTo>
                    <a:lnTo>
                      <a:pt x="4092" y="1572"/>
                    </a:lnTo>
                    <a:lnTo>
                      <a:pt x="4050" y="1572"/>
                    </a:lnTo>
                    <a:lnTo>
                      <a:pt x="4038" y="1578"/>
                    </a:lnTo>
                    <a:lnTo>
                      <a:pt x="4032" y="1578"/>
                    </a:lnTo>
                    <a:lnTo>
                      <a:pt x="4020" y="1584"/>
                    </a:lnTo>
                    <a:lnTo>
                      <a:pt x="4002" y="1584"/>
                    </a:lnTo>
                    <a:lnTo>
                      <a:pt x="4002" y="1578"/>
                    </a:lnTo>
                    <a:lnTo>
                      <a:pt x="4008" y="1572"/>
                    </a:lnTo>
                    <a:lnTo>
                      <a:pt x="4020" y="1566"/>
                    </a:lnTo>
                    <a:lnTo>
                      <a:pt x="4026" y="1560"/>
                    </a:lnTo>
                    <a:lnTo>
                      <a:pt x="4032" y="1560"/>
                    </a:lnTo>
                    <a:lnTo>
                      <a:pt x="4032" y="1572"/>
                    </a:lnTo>
                    <a:lnTo>
                      <a:pt x="4050" y="1560"/>
                    </a:lnTo>
                    <a:lnTo>
                      <a:pt x="4044" y="1536"/>
                    </a:lnTo>
                    <a:lnTo>
                      <a:pt x="4050" y="1530"/>
                    </a:lnTo>
                    <a:lnTo>
                      <a:pt x="4062" y="1524"/>
                    </a:lnTo>
                    <a:lnTo>
                      <a:pt x="4074" y="1512"/>
                    </a:lnTo>
                    <a:lnTo>
                      <a:pt x="4074" y="1506"/>
                    </a:lnTo>
                    <a:lnTo>
                      <a:pt x="4068" y="1500"/>
                    </a:lnTo>
                    <a:lnTo>
                      <a:pt x="4056" y="1494"/>
                    </a:lnTo>
                    <a:lnTo>
                      <a:pt x="4044" y="1494"/>
                    </a:lnTo>
                    <a:lnTo>
                      <a:pt x="4032" y="1488"/>
                    </a:lnTo>
                    <a:lnTo>
                      <a:pt x="4014" y="1488"/>
                    </a:lnTo>
                    <a:lnTo>
                      <a:pt x="4044" y="1488"/>
                    </a:lnTo>
                    <a:lnTo>
                      <a:pt x="4056" y="1482"/>
                    </a:lnTo>
                    <a:lnTo>
                      <a:pt x="4074" y="1482"/>
                    </a:lnTo>
                    <a:lnTo>
                      <a:pt x="4086" y="1470"/>
                    </a:lnTo>
                    <a:lnTo>
                      <a:pt x="4098" y="1446"/>
                    </a:lnTo>
                    <a:lnTo>
                      <a:pt x="4104" y="1440"/>
                    </a:lnTo>
                    <a:lnTo>
                      <a:pt x="4110" y="1440"/>
                    </a:lnTo>
                    <a:lnTo>
                      <a:pt x="4122" y="1434"/>
                    </a:lnTo>
                    <a:lnTo>
                      <a:pt x="4128" y="1434"/>
                    </a:lnTo>
                    <a:lnTo>
                      <a:pt x="4134" y="1428"/>
                    </a:lnTo>
                    <a:lnTo>
                      <a:pt x="4122" y="1416"/>
                    </a:lnTo>
                    <a:lnTo>
                      <a:pt x="4110" y="1422"/>
                    </a:lnTo>
                    <a:lnTo>
                      <a:pt x="4098" y="1434"/>
                    </a:lnTo>
                    <a:lnTo>
                      <a:pt x="4092" y="1404"/>
                    </a:lnTo>
                    <a:lnTo>
                      <a:pt x="4068" y="1404"/>
                    </a:lnTo>
                    <a:lnTo>
                      <a:pt x="4050" y="1410"/>
                    </a:lnTo>
                    <a:lnTo>
                      <a:pt x="4026" y="1410"/>
                    </a:lnTo>
                    <a:lnTo>
                      <a:pt x="4020" y="1404"/>
                    </a:lnTo>
                    <a:lnTo>
                      <a:pt x="4020" y="1386"/>
                    </a:lnTo>
                    <a:lnTo>
                      <a:pt x="4038" y="1368"/>
                    </a:lnTo>
                    <a:lnTo>
                      <a:pt x="4032" y="1362"/>
                    </a:lnTo>
                    <a:lnTo>
                      <a:pt x="4014" y="1362"/>
                    </a:lnTo>
                    <a:lnTo>
                      <a:pt x="4008" y="1368"/>
                    </a:lnTo>
                    <a:lnTo>
                      <a:pt x="4020" y="1344"/>
                    </a:lnTo>
                    <a:lnTo>
                      <a:pt x="3984" y="1350"/>
                    </a:lnTo>
                    <a:lnTo>
                      <a:pt x="3984" y="1326"/>
                    </a:lnTo>
                    <a:lnTo>
                      <a:pt x="3978" y="1314"/>
                    </a:lnTo>
                    <a:lnTo>
                      <a:pt x="3972" y="1308"/>
                    </a:lnTo>
                    <a:lnTo>
                      <a:pt x="3948" y="1308"/>
                    </a:lnTo>
                    <a:lnTo>
                      <a:pt x="3930" y="1314"/>
                    </a:lnTo>
                    <a:lnTo>
                      <a:pt x="3906" y="1326"/>
                    </a:lnTo>
                    <a:lnTo>
                      <a:pt x="3900" y="1332"/>
                    </a:lnTo>
                    <a:lnTo>
                      <a:pt x="3894" y="1332"/>
                    </a:lnTo>
                    <a:lnTo>
                      <a:pt x="3888" y="1326"/>
                    </a:lnTo>
                    <a:lnTo>
                      <a:pt x="3876" y="1320"/>
                    </a:lnTo>
                    <a:lnTo>
                      <a:pt x="3864" y="1320"/>
                    </a:lnTo>
                    <a:lnTo>
                      <a:pt x="3852" y="1326"/>
                    </a:lnTo>
                    <a:lnTo>
                      <a:pt x="3846" y="1326"/>
                    </a:lnTo>
                    <a:lnTo>
                      <a:pt x="3834" y="1332"/>
                    </a:lnTo>
                    <a:lnTo>
                      <a:pt x="3822" y="1326"/>
                    </a:lnTo>
                    <a:lnTo>
                      <a:pt x="3762" y="1302"/>
                    </a:lnTo>
                    <a:lnTo>
                      <a:pt x="3738" y="1302"/>
                    </a:lnTo>
                    <a:lnTo>
                      <a:pt x="3714" y="1314"/>
                    </a:lnTo>
                    <a:lnTo>
                      <a:pt x="3708" y="1326"/>
                    </a:lnTo>
                    <a:lnTo>
                      <a:pt x="3702" y="1326"/>
                    </a:lnTo>
                    <a:lnTo>
                      <a:pt x="3684" y="1344"/>
                    </a:lnTo>
                    <a:lnTo>
                      <a:pt x="3684" y="1350"/>
                    </a:lnTo>
                    <a:lnTo>
                      <a:pt x="3696" y="1356"/>
                    </a:lnTo>
                    <a:lnTo>
                      <a:pt x="3702" y="1362"/>
                    </a:lnTo>
                    <a:lnTo>
                      <a:pt x="3708" y="1374"/>
                    </a:lnTo>
                    <a:lnTo>
                      <a:pt x="3708" y="1380"/>
                    </a:lnTo>
                    <a:lnTo>
                      <a:pt x="3702" y="1386"/>
                    </a:lnTo>
                    <a:lnTo>
                      <a:pt x="3690" y="1392"/>
                    </a:lnTo>
                    <a:lnTo>
                      <a:pt x="3672" y="1410"/>
                    </a:lnTo>
                    <a:lnTo>
                      <a:pt x="3660" y="1416"/>
                    </a:lnTo>
                    <a:lnTo>
                      <a:pt x="3636" y="1422"/>
                    </a:lnTo>
                    <a:lnTo>
                      <a:pt x="3660" y="1440"/>
                    </a:lnTo>
                    <a:lnTo>
                      <a:pt x="3654" y="1446"/>
                    </a:lnTo>
                    <a:lnTo>
                      <a:pt x="3642" y="1446"/>
                    </a:lnTo>
                    <a:lnTo>
                      <a:pt x="3636" y="1452"/>
                    </a:lnTo>
                    <a:lnTo>
                      <a:pt x="3636" y="1470"/>
                    </a:lnTo>
                    <a:lnTo>
                      <a:pt x="3642" y="1482"/>
                    </a:lnTo>
                    <a:lnTo>
                      <a:pt x="3642" y="1488"/>
                    </a:lnTo>
                    <a:lnTo>
                      <a:pt x="3636" y="1500"/>
                    </a:lnTo>
                    <a:lnTo>
                      <a:pt x="3624" y="1506"/>
                    </a:lnTo>
                    <a:lnTo>
                      <a:pt x="3618" y="1512"/>
                    </a:lnTo>
                    <a:lnTo>
                      <a:pt x="3606" y="1512"/>
                    </a:lnTo>
                    <a:lnTo>
                      <a:pt x="3582" y="1524"/>
                    </a:lnTo>
                    <a:lnTo>
                      <a:pt x="3576" y="1536"/>
                    </a:lnTo>
                    <a:lnTo>
                      <a:pt x="3576" y="1548"/>
                    </a:lnTo>
                    <a:lnTo>
                      <a:pt x="3570" y="1548"/>
                    </a:lnTo>
                    <a:lnTo>
                      <a:pt x="3564" y="1554"/>
                    </a:lnTo>
                    <a:lnTo>
                      <a:pt x="3552" y="1554"/>
                    </a:lnTo>
                    <a:lnTo>
                      <a:pt x="3540" y="1560"/>
                    </a:lnTo>
                    <a:lnTo>
                      <a:pt x="3534" y="1566"/>
                    </a:lnTo>
                    <a:lnTo>
                      <a:pt x="3522" y="1572"/>
                    </a:lnTo>
                    <a:lnTo>
                      <a:pt x="3504" y="1590"/>
                    </a:lnTo>
                    <a:lnTo>
                      <a:pt x="3510" y="1596"/>
                    </a:lnTo>
                    <a:lnTo>
                      <a:pt x="3522" y="1602"/>
                    </a:lnTo>
                    <a:lnTo>
                      <a:pt x="3534" y="1614"/>
                    </a:lnTo>
                    <a:lnTo>
                      <a:pt x="3552" y="1620"/>
                    </a:lnTo>
                    <a:lnTo>
                      <a:pt x="3558" y="1632"/>
                    </a:lnTo>
                    <a:lnTo>
                      <a:pt x="3564" y="1638"/>
                    </a:lnTo>
                    <a:lnTo>
                      <a:pt x="3564" y="1662"/>
                    </a:lnTo>
                    <a:lnTo>
                      <a:pt x="3558" y="1698"/>
                    </a:lnTo>
                    <a:lnTo>
                      <a:pt x="3540" y="1746"/>
                    </a:lnTo>
                    <a:lnTo>
                      <a:pt x="3510" y="1776"/>
                    </a:lnTo>
                    <a:lnTo>
                      <a:pt x="3468" y="1800"/>
                    </a:lnTo>
                    <a:lnTo>
                      <a:pt x="3426" y="1830"/>
                    </a:lnTo>
                    <a:lnTo>
                      <a:pt x="3390" y="1854"/>
                    </a:lnTo>
                    <a:lnTo>
                      <a:pt x="3366" y="1860"/>
                    </a:lnTo>
                    <a:lnTo>
                      <a:pt x="3336" y="1860"/>
                    </a:lnTo>
                    <a:lnTo>
                      <a:pt x="3300" y="1866"/>
                    </a:lnTo>
                    <a:lnTo>
                      <a:pt x="3276" y="1872"/>
                    </a:lnTo>
                    <a:lnTo>
                      <a:pt x="3258" y="1878"/>
                    </a:lnTo>
                    <a:lnTo>
                      <a:pt x="3258" y="1902"/>
                    </a:lnTo>
                    <a:lnTo>
                      <a:pt x="3264" y="1914"/>
                    </a:lnTo>
                    <a:lnTo>
                      <a:pt x="3264" y="1926"/>
                    </a:lnTo>
                    <a:lnTo>
                      <a:pt x="3270" y="1938"/>
                    </a:lnTo>
                    <a:lnTo>
                      <a:pt x="3270" y="1950"/>
                    </a:lnTo>
                    <a:lnTo>
                      <a:pt x="3252" y="1968"/>
                    </a:lnTo>
                    <a:lnTo>
                      <a:pt x="3234" y="2004"/>
                    </a:lnTo>
                    <a:lnTo>
                      <a:pt x="3234" y="2076"/>
                    </a:lnTo>
                    <a:lnTo>
                      <a:pt x="3210" y="2088"/>
                    </a:lnTo>
                    <a:lnTo>
                      <a:pt x="3204" y="2094"/>
                    </a:lnTo>
                    <a:lnTo>
                      <a:pt x="3180" y="2106"/>
                    </a:lnTo>
                    <a:lnTo>
                      <a:pt x="3180" y="2142"/>
                    </a:lnTo>
                    <a:lnTo>
                      <a:pt x="3156" y="2166"/>
                    </a:lnTo>
                    <a:lnTo>
                      <a:pt x="3156" y="2154"/>
                    </a:lnTo>
                    <a:lnTo>
                      <a:pt x="3162" y="2148"/>
                    </a:lnTo>
                    <a:lnTo>
                      <a:pt x="3162" y="2142"/>
                    </a:lnTo>
                    <a:lnTo>
                      <a:pt x="3156" y="2130"/>
                    </a:lnTo>
                    <a:lnTo>
                      <a:pt x="3138" y="2130"/>
                    </a:lnTo>
                    <a:lnTo>
                      <a:pt x="3126" y="2136"/>
                    </a:lnTo>
                    <a:lnTo>
                      <a:pt x="3108" y="2154"/>
                    </a:lnTo>
                    <a:lnTo>
                      <a:pt x="3108" y="2166"/>
                    </a:lnTo>
                    <a:lnTo>
                      <a:pt x="3114" y="2178"/>
                    </a:lnTo>
                    <a:lnTo>
                      <a:pt x="3114" y="2190"/>
                    </a:lnTo>
                    <a:lnTo>
                      <a:pt x="3108" y="2196"/>
                    </a:lnTo>
                    <a:lnTo>
                      <a:pt x="3108" y="2178"/>
                    </a:lnTo>
                    <a:lnTo>
                      <a:pt x="3102" y="2166"/>
                    </a:lnTo>
                    <a:lnTo>
                      <a:pt x="3090" y="2154"/>
                    </a:lnTo>
                    <a:lnTo>
                      <a:pt x="3078" y="2154"/>
                    </a:lnTo>
                    <a:lnTo>
                      <a:pt x="3066" y="2160"/>
                    </a:lnTo>
                    <a:lnTo>
                      <a:pt x="3042" y="2160"/>
                    </a:lnTo>
                    <a:lnTo>
                      <a:pt x="3036" y="2166"/>
                    </a:lnTo>
                    <a:lnTo>
                      <a:pt x="3030" y="2166"/>
                    </a:lnTo>
                    <a:lnTo>
                      <a:pt x="3042" y="2160"/>
                    </a:lnTo>
                    <a:lnTo>
                      <a:pt x="3060" y="2142"/>
                    </a:lnTo>
                    <a:lnTo>
                      <a:pt x="3072" y="2136"/>
                    </a:lnTo>
                    <a:lnTo>
                      <a:pt x="3078" y="2124"/>
                    </a:lnTo>
                    <a:lnTo>
                      <a:pt x="3078" y="2118"/>
                    </a:lnTo>
                    <a:lnTo>
                      <a:pt x="3072" y="2106"/>
                    </a:lnTo>
                    <a:lnTo>
                      <a:pt x="3060" y="2100"/>
                    </a:lnTo>
                    <a:lnTo>
                      <a:pt x="3048" y="2088"/>
                    </a:lnTo>
                    <a:lnTo>
                      <a:pt x="3030" y="2088"/>
                    </a:lnTo>
                    <a:lnTo>
                      <a:pt x="3024" y="2082"/>
                    </a:lnTo>
                    <a:lnTo>
                      <a:pt x="3018" y="2082"/>
                    </a:lnTo>
                    <a:lnTo>
                      <a:pt x="3024" y="2082"/>
                    </a:lnTo>
                    <a:lnTo>
                      <a:pt x="3042" y="2064"/>
                    </a:lnTo>
                    <a:lnTo>
                      <a:pt x="3042" y="2058"/>
                    </a:lnTo>
                    <a:lnTo>
                      <a:pt x="3030" y="2034"/>
                    </a:lnTo>
                    <a:lnTo>
                      <a:pt x="3030" y="2028"/>
                    </a:lnTo>
                    <a:lnTo>
                      <a:pt x="3024" y="2016"/>
                    </a:lnTo>
                    <a:lnTo>
                      <a:pt x="3060" y="1992"/>
                    </a:lnTo>
                    <a:lnTo>
                      <a:pt x="3060" y="1968"/>
                    </a:lnTo>
                    <a:lnTo>
                      <a:pt x="3084" y="1956"/>
                    </a:lnTo>
                    <a:lnTo>
                      <a:pt x="3084" y="1914"/>
                    </a:lnTo>
                    <a:lnTo>
                      <a:pt x="3090" y="1914"/>
                    </a:lnTo>
                    <a:lnTo>
                      <a:pt x="3102" y="1902"/>
                    </a:lnTo>
                    <a:lnTo>
                      <a:pt x="3114" y="1896"/>
                    </a:lnTo>
                    <a:lnTo>
                      <a:pt x="3132" y="1878"/>
                    </a:lnTo>
                    <a:lnTo>
                      <a:pt x="3126" y="1866"/>
                    </a:lnTo>
                    <a:lnTo>
                      <a:pt x="3120" y="1860"/>
                    </a:lnTo>
                    <a:lnTo>
                      <a:pt x="3084" y="1848"/>
                    </a:lnTo>
                    <a:lnTo>
                      <a:pt x="2976" y="1848"/>
                    </a:lnTo>
                    <a:lnTo>
                      <a:pt x="2940" y="1860"/>
                    </a:lnTo>
                    <a:lnTo>
                      <a:pt x="2946" y="1848"/>
                    </a:lnTo>
                    <a:lnTo>
                      <a:pt x="2952" y="1842"/>
                    </a:lnTo>
                    <a:lnTo>
                      <a:pt x="2952" y="1830"/>
                    </a:lnTo>
                    <a:lnTo>
                      <a:pt x="2958" y="1824"/>
                    </a:lnTo>
                    <a:lnTo>
                      <a:pt x="2952" y="1818"/>
                    </a:lnTo>
                    <a:lnTo>
                      <a:pt x="2940" y="1812"/>
                    </a:lnTo>
                    <a:lnTo>
                      <a:pt x="2928" y="1812"/>
                    </a:lnTo>
                    <a:lnTo>
                      <a:pt x="2892" y="1800"/>
                    </a:lnTo>
                    <a:lnTo>
                      <a:pt x="2874" y="1800"/>
                    </a:lnTo>
                    <a:lnTo>
                      <a:pt x="2868" y="1794"/>
                    </a:lnTo>
                    <a:lnTo>
                      <a:pt x="2862" y="1794"/>
                    </a:lnTo>
                    <a:lnTo>
                      <a:pt x="2862" y="1770"/>
                    </a:lnTo>
                    <a:lnTo>
                      <a:pt x="2856" y="1752"/>
                    </a:lnTo>
                    <a:lnTo>
                      <a:pt x="2844" y="1740"/>
                    </a:lnTo>
                    <a:lnTo>
                      <a:pt x="2790" y="1722"/>
                    </a:lnTo>
                    <a:lnTo>
                      <a:pt x="2778" y="1722"/>
                    </a:lnTo>
                    <a:lnTo>
                      <a:pt x="2778" y="1716"/>
                    </a:lnTo>
                    <a:lnTo>
                      <a:pt x="2766" y="1704"/>
                    </a:lnTo>
                    <a:lnTo>
                      <a:pt x="2754" y="1704"/>
                    </a:lnTo>
                    <a:lnTo>
                      <a:pt x="2736" y="1698"/>
                    </a:lnTo>
                    <a:lnTo>
                      <a:pt x="2694" y="1698"/>
                    </a:lnTo>
                    <a:lnTo>
                      <a:pt x="2646" y="1704"/>
                    </a:lnTo>
                    <a:lnTo>
                      <a:pt x="2610" y="1716"/>
                    </a:lnTo>
                    <a:lnTo>
                      <a:pt x="2592" y="1716"/>
                    </a:lnTo>
                    <a:lnTo>
                      <a:pt x="2598" y="1716"/>
                    </a:lnTo>
                    <a:lnTo>
                      <a:pt x="2604" y="1710"/>
                    </a:lnTo>
                    <a:lnTo>
                      <a:pt x="2616" y="1710"/>
                    </a:lnTo>
                    <a:lnTo>
                      <a:pt x="2628" y="1704"/>
                    </a:lnTo>
                    <a:lnTo>
                      <a:pt x="2634" y="1692"/>
                    </a:lnTo>
                    <a:lnTo>
                      <a:pt x="2640" y="1686"/>
                    </a:lnTo>
                    <a:lnTo>
                      <a:pt x="2646" y="1662"/>
                    </a:lnTo>
                    <a:lnTo>
                      <a:pt x="2658" y="1632"/>
                    </a:lnTo>
                    <a:lnTo>
                      <a:pt x="2664" y="1602"/>
                    </a:lnTo>
                    <a:lnTo>
                      <a:pt x="2670" y="1590"/>
                    </a:lnTo>
                    <a:lnTo>
                      <a:pt x="2658" y="1590"/>
                    </a:lnTo>
                    <a:lnTo>
                      <a:pt x="2646" y="1584"/>
                    </a:lnTo>
                    <a:lnTo>
                      <a:pt x="2616" y="1584"/>
                    </a:lnTo>
                    <a:lnTo>
                      <a:pt x="2610" y="1590"/>
                    </a:lnTo>
                    <a:lnTo>
                      <a:pt x="2598" y="1596"/>
                    </a:lnTo>
                    <a:lnTo>
                      <a:pt x="2592" y="1602"/>
                    </a:lnTo>
                    <a:lnTo>
                      <a:pt x="2580" y="1608"/>
                    </a:lnTo>
                    <a:lnTo>
                      <a:pt x="2598" y="1578"/>
                    </a:lnTo>
                    <a:lnTo>
                      <a:pt x="2592" y="1560"/>
                    </a:lnTo>
                    <a:lnTo>
                      <a:pt x="2610" y="1542"/>
                    </a:lnTo>
                    <a:lnTo>
                      <a:pt x="2616" y="1530"/>
                    </a:lnTo>
                    <a:lnTo>
                      <a:pt x="2640" y="1506"/>
                    </a:lnTo>
                    <a:lnTo>
                      <a:pt x="2646" y="1494"/>
                    </a:lnTo>
                    <a:lnTo>
                      <a:pt x="2664" y="1476"/>
                    </a:lnTo>
                    <a:lnTo>
                      <a:pt x="2694" y="1452"/>
                    </a:lnTo>
                    <a:lnTo>
                      <a:pt x="2730" y="1428"/>
                    </a:lnTo>
                    <a:lnTo>
                      <a:pt x="2754" y="1410"/>
                    </a:lnTo>
                    <a:lnTo>
                      <a:pt x="2766" y="1404"/>
                    </a:lnTo>
                    <a:lnTo>
                      <a:pt x="2760" y="1392"/>
                    </a:lnTo>
                    <a:lnTo>
                      <a:pt x="2826" y="1368"/>
                    </a:lnTo>
                    <a:lnTo>
                      <a:pt x="2826" y="1350"/>
                    </a:lnTo>
                    <a:lnTo>
                      <a:pt x="2868" y="1344"/>
                    </a:lnTo>
                    <a:lnTo>
                      <a:pt x="2868" y="1326"/>
                    </a:lnTo>
                    <a:lnTo>
                      <a:pt x="2898" y="1320"/>
                    </a:lnTo>
                    <a:lnTo>
                      <a:pt x="2952" y="1284"/>
                    </a:lnTo>
                    <a:lnTo>
                      <a:pt x="3006" y="1284"/>
                    </a:lnTo>
                    <a:lnTo>
                      <a:pt x="3042" y="1278"/>
                    </a:lnTo>
                    <a:lnTo>
                      <a:pt x="3060" y="1266"/>
                    </a:lnTo>
                    <a:lnTo>
                      <a:pt x="3060" y="1254"/>
                    </a:lnTo>
                    <a:lnTo>
                      <a:pt x="3030" y="1224"/>
                    </a:lnTo>
                    <a:lnTo>
                      <a:pt x="2970" y="1230"/>
                    </a:lnTo>
                    <a:lnTo>
                      <a:pt x="2982" y="1218"/>
                    </a:lnTo>
                    <a:lnTo>
                      <a:pt x="2928" y="1194"/>
                    </a:lnTo>
                    <a:lnTo>
                      <a:pt x="2952" y="1188"/>
                    </a:lnTo>
                    <a:lnTo>
                      <a:pt x="3036" y="1212"/>
                    </a:lnTo>
                    <a:lnTo>
                      <a:pt x="3054" y="1230"/>
                    </a:lnTo>
                    <a:lnTo>
                      <a:pt x="3066" y="1236"/>
                    </a:lnTo>
                    <a:lnTo>
                      <a:pt x="3096" y="1236"/>
                    </a:lnTo>
                    <a:lnTo>
                      <a:pt x="3108" y="1230"/>
                    </a:lnTo>
                    <a:lnTo>
                      <a:pt x="3114" y="1218"/>
                    </a:lnTo>
                    <a:lnTo>
                      <a:pt x="3126" y="1206"/>
                    </a:lnTo>
                    <a:lnTo>
                      <a:pt x="3132" y="1194"/>
                    </a:lnTo>
                    <a:lnTo>
                      <a:pt x="3144" y="1188"/>
                    </a:lnTo>
                    <a:lnTo>
                      <a:pt x="3150" y="1182"/>
                    </a:lnTo>
                    <a:lnTo>
                      <a:pt x="3156" y="1182"/>
                    </a:lnTo>
                    <a:lnTo>
                      <a:pt x="3180" y="1194"/>
                    </a:lnTo>
                    <a:lnTo>
                      <a:pt x="3198" y="1200"/>
                    </a:lnTo>
                    <a:lnTo>
                      <a:pt x="3210" y="1200"/>
                    </a:lnTo>
                    <a:lnTo>
                      <a:pt x="3246" y="1182"/>
                    </a:lnTo>
                    <a:lnTo>
                      <a:pt x="3282" y="1170"/>
                    </a:lnTo>
                    <a:lnTo>
                      <a:pt x="3318" y="1152"/>
                    </a:lnTo>
                    <a:lnTo>
                      <a:pt x="3336" y="1146"/>
                    </a:lnTo>
                    <a:lnTo>
                      <a:pt x="3360" y="1134"/>
                    </a:lnTo>
                    <a:lnTo>
                      <a:pt x="3372" y="1122"/>
                    </a:lnTo>
                    <a:lnTo>
                      <a:pt x="3366" y="1116"/>
                    </a:lnTo>
                    <a:lnTo>
                      <a:pt x="3342" y="1110"/>
                    </a:lnTo>
                    <a:lnTo>
                      <a:pt x="3264" y="1110"/>
                    </a:lnTo>
                    <a:lnTo>
                      <a:pt x="3258" y="1086"/>
                    </a:lnTo>
                    <a:lnTo>
                      <a:pt x="3174" y="1056"/>
                    </a:lnTo>
                    <a:lnTo>
                      <a:pt x="3186" y="1056"/>
                    </a:lnTo>
                    <a:lnTo>
                      <a:pt x="3216" y="1050"/>
                    </a:lnTo>
                    <a:lnTo>
                      <a:pt x="3252" y="1050"/>
                    </a:lnTo>
                    <a:lnTo>
                      <a:pt x="3282" y="1056"/>
                    </a:lnTo>
                    <a:lnTo>
                      <a:pt x="3294" y="1062"/>
                    </a:lnTo>
                    <a:lnTo>
                      <a:pt x="3306" y="1074"/>
                    </a:lnTo>
                    <a:lnTo>
                      <a:pt x="3324" y="1086"/>
                    </a:lnTo>
                    <a:lnTo>
                      <a:pt x="3336" y="1098"/>
                    </a:lnTo>
                    <a:lnTo>
                      <a:pt x="3348" y="1104"/>
                    </a:lnTo>
                    <a:lnTo>
                      <a:pt x="3372" y="1098"/>
                    </a:lnTo>
                    <a:lnTo>
                      <a:pt x="3408" y="1080"/>
                    </a:lnTo>
                    <a:lnTo>
                      <a:pt x="3444" y="1068"/>
                    </a:lnTo>
                    <a:lnTo>
                      <a:pt x="3474" y="1050"/>
                    </a:lnTo>
                    <a:lnTo>
                      <a:pt x="3486" y="1044"/>
                    </a:lnTo>
                    <a:lnTo>
                      <a:pt x="3462" y="1032"/>
                    </a:lnTo>
                    <a:lnTo>
                      <a:pt x="3468" y="1026"/>
                    </a:lnTo>
                    <a:lnTo>
                      <a:pt x="3492" y="1014"/>
                    </a:lnTo>
                    <a:lnTo>
                      <a:pt x="3522" y="1014"/>
                    </a:lnTo>
                    <a:lnTo>
                      <a:pt x="3528" y="1020"/>
                    </a:lnTo>
                    <a:lnTo>
                      <a:pt x="3534" y="1032"/>
                    </a:lnTo>
                    <a:lnTo>
                      <a:pt x="3540" y="1038"/>
                    </a:lnTo>
                    <a:lnTo>
                      <a:pt x="3570" y="1050"/>
                    </a:lnTo>
                    <a:lnTo>
                      <a:pt x="3576" y="1026"/>
                    </a:lnTo>
                    <a:lnTo>
                      <a:pt x="3594" y="1044"/>
                    </a:lnTo>
                    <a:lnTo>
                      <a:pt x="3600" y="1038"/>
                    </a:lnTo>
                    <a:lnTo>
                      <a:pt x="3600" y="1026"/>
                    </a:lnTo>
                    <a:lnTo>
                      <a:pt x="3594" y="1014"/>
                    </a:lnTo>
                    <a:lnTo>
                      <a:pt x="3582" y="1002"/>
                    </a:lnTo>
                    <a:lnTo>
                      <a:pt x="3564" y="990"/>
                    </a:lnTo>
                    <a:lnTo>
                      <a:pt x="3606" y="984"/>
                    </a:lnTo>
                    <a:lnTo>
                      <a:pt x="3606" y="990"/>
                    </a:lnTo>
                    <a:lnTo>
                      <a:pt x="3612" y="996"/>
                    </a:lnTo>
                    <a:lnTo>
                      <a:pt x="3612" y="1008"/>
                    </a:lnTo>
                    <a:lnTo>
                      <a:pt x="3624" y="1032"/>
                    </a:lnTo>
                    <a:lnTo>
                      <a:pt x="3630" y="1038"/>
                    </a:lnTo>
                    <a:lnTo>
                      <a:pt x="3636" y="1038"/>
                    </a:lnTo>
                    <a:lnTo>
                      <a:pt x="3654" y="1032"/>
                    </a:lnTo>
                    <a:lnTo>
                      <a:pt x="3690" y="1026"/>
                    </a:lnTo>
                    <a:lnTo>
                      <a:pt x="3732" y="1008"/>
                    </a:lnTo>
                    <a:lnTo>
                      <a:pt x="3768" y="990"/>
                    </a:lnTo>
                    <a:lnTo>
                      <a:pt x="3798" y="972"/>
                    </a:lnTo>
                    <a:lnTo>
                      <a:pt x="3798" y="960"/>
                    </a:lnTo>
                    <a:lnTo>
                      <a:pt x="3786" y="942"/>
                    </a:lnTo>
                    <a:lnTo>
                      <a:pt x="3780" y="930"/>
                    </a:lnTo>
                    <a:lnTo>
                      <a:pt x="3774" y="912"/>
                    </a:lnTo>
                    <a:lnTo>
                      <a:pt x="3774" y="900"/>
                    </a:lnTo>
                    <a:lnTo>
                      <a:pt x="3780" y="894"/>
                    </a:lnTo>
                    <a:lnTo>
                      <a:pt x="3792" y="894"/>
                    </a:lnTo>
                    <a:lnTo>
                      <a:pt x="3804" y="888"/>
                    </a:lnTo>
                    <a:lnTo>
                      <a:pt x="3822" y="888"/>
                    </a:lnTo>
                    <a:lnTo>
                      <a:pt x="3840" y="882"/>
                    </a:lnTo>
                    <a:lnTo>
                      <a:pt x="3858" y="882"/>
                    </a:lnTo>
                    <a:lnTo>
                      <a:pt x="3864" y="876"/>
                    </a:lnTo>
                    <a:lnTo>
                      <a:pt x="3870" y="876"/>
                    </a:lnTo>
                    <a:lnTo>
                      <a:pt x="3870" y="858"/>
                    </a:lnTo>
                    <a:lnTo>
                      <a:pt x="3864" y="846"/>
                    </a:lnTo>
                    <a:lnTo>
                      <a:pt x="3864" y="840"/>
                    </a:lnTo>
                    <a:lnTo>
                      <a:pt x="3858" y="828"/>
                    </a:lnTo>
                    <a:lnTo>
                      <a:pt x="3840" y="804"/>
                    </a:lnTo>
                    <a:lnTo>
                      <a:pt x="3822" y="798"/>
                    </a:lnTo>
                    <a:lnTo>
                      <a:pt x="3786" y="792"/>
                    </a:lnTo>
                    <a:lnTo>
                      <a:pt x="3744" y="792"/>
                    </a:lnTo>
                    <a:lnTo>
                      <a:pt x="3708" y="804"/>
                    </a:lnTo>
                    <a:lnTo>
                      <a:pt x="3690" y="822"/>
                    </a:lnTo>
                    <a:lnTo>
                      <a:pt x="3690" y="840"/>
                    </a:lnTo>
                    <a:lnTo>
                      <a:pt x="3696" y="840"/>
                    </a:lnTo>
                    <a:lnTo>
                      <a:pt x="3702" y="846"/>
                    </a:lnTo>
                    <a:lnTo>
                      <a:pt x="3666" y="870"/>
                    </a:lnTo>
                    <a:lnTo>
                      <a:pt x="3642" y="870"/>
                    </a:lnTo>
                    <a:lnTo>
                      <a:pt x="3576" y="918"/>
                    </a:lnTo>
                    <a:lnTo>
                      <a:pt x="3552" y="930"/>
                    </a:lnTo>
                    <a:lnTo>
                      <a:pt x="3546" y="936"/>
                    </a:lnTo>
                    <a:lnTo>
                      <a:pt x="3540" y="948"/>
                    </a:lnTo>
                    <a:lnTo>
                      <a:pt x="3522" y="966"/>
                    </a:lnTo>
                    <a:lnTo>
                      <a:pt x="3492" y="966"/>
                    </a:lnTo>
                    <a:lnTo>
                      <a:pt x="3456" y="984"/>
                    </a:lnTo>
                    <a:lnTo>
                      <a:pt x="3456" y="972"/>
                    </a:lnTo>
                    <a:lnTo>
                      <a:pt x="3450" y="954"/>
                    </a:lnTo>
                    <a:lnTo>
                      <a:pt x="3450" y="918"/>
                    </a:lnTo>
                    <a:lnTo>
                      <a:pt x="3456" y="912"/>
                    </a:lnTo>
                    <a:lnTo>
                      <a:pt x="3480" y="900"/>
                    </a:lnTo>
                    <a:lnTo>
                      <a:pt x="3498" y="900"/>
                    </a:lnTo>
                    <a:lnTo>
                      <a:pt x="3510" y="894"/>
                    </a:lnTo>
                    <a:lnTo>
                      <a:pt x="3516" y="882"/>
                    </a:lnTo>
                    <a:lnTo>
                      <a:pt x="3516" y="870"/>
                    </a:lnTo>
                    <a:lnTo>
                      <a:pt x="3510" y="852"/>
                    </a:lnTo>
                    <a:lnTo>
                      <a:pt x="3504" y="846"/>
                    </a:lnTo>
                    <a:lnTo>
                      <a:pt x="3498" y="834"/>
                    </a:lnTo>
                    <a:lnTo>
                      <a:pt x="3486" y="834"/>
                    </a:lnTo>
                    <a:lnTo>
                      <a:pt x="3450" y="852"/>
                    </a:lnTo>
                    <a:lnTo>
                      <a:pt x="3432" y="858"/>
                    </a:lnTo>
                    <a:lnTo>
                      <a:pt x="3420" y="864"/>
                    </a:lnTo>
                    <a:lnTo>
                      <a:pt x="3414" y="870"/>
                    </a:lnTo>
                    <a:lnTo>
                      <a:pt x="3408" y="870"/>
                    </a:lnTo>
                    <a:lnTo>
                      <a:pt x="3378" y="900"/>
                    </a:lnTo>
                    <a:lnTo>
                      <a:pt x="3372" y="888"/>
                    </a:lnTo>
                    <a:lnTo>
                      <a:pt x="3396" y="858"/>
                    </a:lnTo>
                    <a:lnTo>
                      <a:pt x="3396" y="840"/>
                    </a:lnTo>
                    <a:lnTo>
                      <a:pt x="3438" y="822"/>
                    </a:lnTo>
                    <a:lnTo>
                      <a:pt x="3402" y="816"/>
                    </a:lnTo>
                    <a:lnTo>
                      <a:pt x="3408" y="804"/>
                    </a:lnTo>
                    <a:lnTo>
                      <a:pt x="3360" y="816"/>
                    </a:lnTo>
                    <a:lnTo>
                      <a:pt x="3336" y="804"/>
                    </a:lnTo>
                    <a:lnTo>
                      <a:pt x="3378" y="792"/>
                    </a:lnTo>
                    <a:lnTo>
                      <a:pt x="3378" y="774"/>
                    </a:lnTo>
                    <a:lnTo>
                      <a:pt x="3390" y="774"/>
                    </a:lnTo>
                    <a:lnTo>
                      <a:pt x="3396" y="780"/>
                    </a:lnTo>
                    <a:lnTo>
                      <a:pt x="3420" y="780"/>
                    </a:lnTo>
                    <a:lnTo>
                      <a:pt x="3426" y="774"/>
                    </a:lnTo>
                    <a:lnTo>
                      <a:pt x="3426" y="762"/>
                    </a:lnTo>
                    <a:lnTo>
                      <a:pt x="3420" y="756"/>
                    </a:lnTo>
                    <a:lnTo>
                      <a:pt x="3408" y="756"/>
                    </a:lnTo>
                    <a:lnTo>
                      <a:pt x="3396" y="744"/>
                    </a:lnTo>
                    <a:lnTo>
                      <a:pt x="3396" y="738"/>
                    </a:lnTo>
                    <a:lnTo>
                      <a:pt x="3420" y="690"/>
                    </a:lnTo>
                    <a:lnTo>
                      <a:pt x="3426" y="684"/>
                    </a:lnTo>
                    <a:lnTo>
                      <a:pt x="3426" y="672"/>
                    </a:lnTo>
                    <a:lnTo>
                      <a:pt x="3420" y="666"/>
                    </a:lnTo>
                    <a:lnTo>
                      <a:pt x="3414" y="666"/>
                    </a:lnTo>
                    <a:lnTo>
                      <a:pt x="3372" y="648"/>
                    </a:lnTo>
                    <a:lnTo>
                      <a:pt x="3348" y="660"/>
                    </a:lnTo>
                    <a:lnTo>
                      <a:pt x="3336" y="660"/>
                    </a:lnTo>
                    <a:lnTo>
                      <a:pt x="3318" y="666"/>
                    </a:lnTo>
                    <a:lnTo>
                      <a:pt x="3312" y="666"/>
                    </a:lnTo>
                    <a:lnTo>
                      <a:pt x="3306" y="672"/>
                    </a:lnTo>
                    <a:lnTo>
                      <a:pt x="3306" y="690"/>
                    </a:lnTo>
                    <a:lnTo>
                      <a:pt x="3240" y="690"/>
                    </a:lnTo>
                    <a:lnTo>
                      <a:pt x="3228" y="696"/>
                    </a:lnTo>
                    <a:lnTo>
                      <a:pt x="3222" y="702"/>
                    </a:lnTo>
                    <a:lnTo>
                      <a:pt x="3210" y="708"/>
                    </a:lnTo>
                    <a:lnTo>
                      <a:pt x="3198" y="720"/>
                    </a:lnTo>
                    <a:lnTo>
                      <a:pt x="3204" y="726"/>
                    </a:lnTo>
                    <a:lnTo>
                      <a:pt x="3216" y="732"/>
                    </a:lnTo>
                    <a:lnTo>
                      <a:pt x="3228" y="732"/>
                    </a:lnTo>
                    <a:lnTo>
                      <a:pt x="3234" y="738"/>
                    </a:lnTo>
                    <a:lnTo>
                      <a:pt x="3228" y="738"/>
                    </a:lnTo>
                    <a:lnTo>
                      <a:pt x="3222" y="744"/>
                    </a:lnTo>
                    <a:lnTo>
                      <a:pt x="3204" y="744"/>
                    </a:lnTo>
                    <a:lnTo>
                      <a:pt x="3180" y="756"/>
                    </a:lnTo>
                    <a:lnTo>
                      <a:pt x="3168" y="768"/>
                    </a:lnTo>
                    <a:lnTo>
                      <a:pt x="3168" y="774"/>
                    </a:lnTo>
                    <a:lnTo>
                      <a:pt x="3174" y="786"/>
                    </a:lnTo>
                    <a:lnTo>
                      <a:pt x="3186" y="798"/>
                    </a:lnTo>
                    <a:lnTo>
                      <a:pt x="3198" y="804"/>
                    </a:lnTo>
                    <a:lnTo>
                      <a:pt x="3204" y="810"/>
                    </a:lnTo>
                    <a:lnTo>
                      <a:pt x="3210" y="810"/>
                    </a:lnTo>
                    <a:lnTo>
                      <a:pt x="3234" y="798"/>
                    </a:lnTo>
                    <a:lnTo>
                      <a:pt x="3234" y="822"/>
                    </a:lnTo>
                    <a:lnTo>
                      <a:pt x="3240" y="828"/>
                    </a:lnTo>
                    <a:lnTo>
                      <a:pt x="3246" y="828"/>
                    </a:lnTo>
                    <a:lnTo>
                      <a:pt x="3258" y="822"/>
                    </a:lnTo>
                    <a:lnTo>
                      <a:pt x="3282" y="822"/>
                    </a:lnTo>
                    <a:lnTo>
                      <a:pt x="3276" y="828"/>
                    </a:lnTo>
                    <a:lnTo>
                      <a:pt x="3252" y="840"/>
                    </a:lnTo>
                    <a:lnTo>
                      <a:pt x="3246" y="840"/>
                    </a:lnTo>
                    <a:lnTo>
                      <a:pt x="3228" y="828"/>
                    </a:lnTo>
                    <a:lnTo>
                      <a:pt x="3222" y="846"/>
                    </a:lnTo>
                    <a:lnTo>
                      <a:pt x="3204" y="846"/>
                    </a:lnTo>
                    <a:lnTo>
                      <a:pt x="3192" y="852"/>
                    </a:lnTo>
                    <a:lnTo>
                      <a:pt x="3186" y="852"/>
                    </a:lnTo>
                    <a:lnTo>
                      <a:pt x="3180" y="858"/>
                    </a:lnTo>
                    <a:lnTo>
                      <a:pt x="3204" y="858"/>
                    </a:lnTo>
                    <a:lnTo>
                      <a:pt x="3228" y="846"/>
                    </a:lnTo>
                    <a:lnTo>
                      <a:pt x="3240" y="846"/>
                    </a:lnTo>
                    <a:lnTo>
                      <a:pt x="3240" y="852"/>
                    </a:lnTo>
                    <a:lnTo>
                      <a:pt x="3228" y="870"/>
                    </a:lnTo>
                    <a:lnTo>
                      <a:pt x="3210" y="882"/>
                    </a:lnTo>
                    <a:lnTo>
                      <a:pt x="3198" y="888"/>
                    </a:lnTo>
                    <a:lnTo>
                      <a:pt x="3180" y="894"/>
                    </a:lnTo>
                    <a:lnTo>
                      <a:pt x="3168" y="900"/>
                    </a:lnTo>
                    <a:lnTo>
                      <a:pt x="3162" y="906"/>
                    </a:lnTo>
                    <a:lnTo>
                      <a:pt x="3138" y="918"/>
                    </a:lnTo>
                    <a:lnTo>
                      <a:pt x="3132" y="924"/>
                    </a:lnTo>
                    <a:lnTo>
                      <a:pt x="3120" y="918"/>
                    </a:lnTo>
                    <a:lnTo>
                      <a:pt x="3114" y="918"/>
                    </a:lnTo>
                    <a:lnTo>
                      <a:pt x="3102" y="912"/>
                    </a:lnTo>
                    <a:lnTo>
                      <a:pt x="3090" y="912"/>
                    </a:lnTo>
                    <a:lnTo>
                      <a:pt x="3072" y="930"/>
                    </a:lnTo>
                    <a:lnTo>
                      <a:pt x="3060" y="936"/>
                    </a:lnTo>
                    <a:lnTo>
                      <a:pt x="3054" y="948"/>
                    </a:lnTo>
                    <a:lnTo>
                      <a:pt x="3054" y="972"/>
                    </a:lnTo>
                    <a:lnTo>
                      <a:pt x="3048" y="978"/>
                    </a:lnTo>
                    <a:lnTo>
                      <a:pt x="3042" y="966"/>
                    </a:lnTo>
                    <a:lnTo>
                      <a:pt x="3030" y="966"/>
                    </a:lnTo>
                    <a:lnTo>
                      <a:pt x="3018" y="960"/>
                    </a:lnTo>
                    <a:lnTo>
                      <a:pt x="3012" y="960"/>
                    </a:lnTo>
                    <a:lnTo>
                      <a:pt x="3006" y="954"/>
                    </a:lnTo>
                    <a:lnTo>
                      <a:pt x="3030" y="930"/>
                    </a:lnTo>
                    <a:lnTo>
                      <a:pt x="3042" y="924"/>
                    </a:lnTo>
                    <a:lnTo>
                      <a:pt x="3060" y="906"/>
                    </a:lnTo>
                    <a:lnTo>
                      <a:pt x="3072" y="900"/>
                    </a:lnTo>
                    <a:lnTo>
                      <a:pt x="3036" y="900"/>
                    </a:lnTo>
                    <a:lnTo>
                      <a:pt x="3030" y="888"/>
                    </a:lnTo>
                    <a:lnTo>
                      <a:pt x="3018" y="882"/>
                    </a:lnTo>
                    <a:lnTo>
                      <a:pt x="2994" y="882"/>
                    </a:lnTo>
                    <a:lnTo>
                      <a:pt x="2988" y="888"/>
                    </a:lnTo>
                    <a:lnTo>
                      <a:pt x="2946" y="888"/>
                    </a:lnTo>
                    <a:lnTo>
                      <a:pt x="2946" y="894"/>
                    </a:lnTo>
                    <a:lnTo>
                      <a:pt x="2940" y="906"/>
                    </a:lnTo>
                    <a:lnTo>
                      <a:pt x="2940" y="918"/>
                    </a:lnTo>
                    <a:lnTo>
                      <a:pt x="2946" y="918"/>
                    </a:lnTo>
                    <a:lnTo>
                      <a:pt x="2952" y="924"/>
                    </a:lnTo>
                    <a:lnTo>
                      <a:pt x="2964" y="924"/>
                    </a:lnTo>
                    <a:lnTo>
                      <a:pt x="2976" y="936"/>
                    </a:lnTo>
                    <a:lnTo>
                      <a:pt x="2982" y="936"/>
                    </a:lnTo>
                    <a:lnTo>
                      <a:pt x="2976" y="942"/>
                    </a:lnTo>
                    <a:lnTo>
                      <a:pt x="2958" y="942"/>
                    </a:lnTo>
                    <a:lnTo>
                      <a:pt x="2952" y="936"/>
                    </a:lnTo>
                    <a:lnTo>
                      <a:pt x="2940" y="930"/>
                    </a:lnTo>
                    <a:lnTo>
                      <a:pt x="2934" y="924"/>
                    </a:lnTo>
                    <a:lnTo>
                      <a:pt x="2916" y="912"/>
                    </a:lnTo>
                    <a:lnTo>
                      <a:pt x="2910" y="942"/>
                    </a:lnTo>
                    <a:lnTo>
                      <a:pt x="2904" y="942"/>
                    </a:lnTo>
                    <a:lnTo>
                      <a:pt x="2898" y="948"/>
                    </a:lnTo>
                    <a:lnTo>
                      <a:pt x="2862" y="948"/>
                    </a:lnTo>
                    <a:lnTo>
                      <a:pt x="2844" y="942"/>
                    </a:lnTo>
                    <a:lnTo>
                      <a:pt x="2826" y="942"/>
                    </a:lnTo>
                    <a:lnTo>
                      <a:pt x="2808" y="936"/>
                    </a:lnTo>
                    <a:lnTo>
                      <a:pt x="2718" y="936"/>
                    </a:lnTo>
                    <a:lnTo>
                      <a:pt x="2706" y="930"/>
                    </a:lnTo>
                    <a:lnTo>
                      <a:pt x="2700" y="918"/>
                    </a:lnTo>
                    <a:lnTo>
                      <a:pt x="2688" y="912"/>
                    </a:lnTo>
                    <a:lnTo>
                      <a:pt x="2628" y="918"/>
                    </a:lnTo>
                    <a:lnTo>
                      <a:pt x="2622" y="912"/>
                    </a:lnTo>
                    <a:lnTo>
                      <a:pt x="2616" y="900"/>
                    </a:lnTo>
                    <a:lnTo>
                      <a:pt x="2604" y="894"/>
                    </a:lnTo>
                    <a:lnTo>
                      <a:pt x="2598" y="894"/>
                    </a:lnTo>
                    <a:lnTo>
                      <a:pt x="2586" y="888"/>
                    </a:lnTo>
                    <a:lnTo>
                      <a:pt x="2568" y="888"/>
                    </a:lnTo>
                    <a:lnTo>
                      <a:pt x="2556" y="894"/>
                    </a:lnTo>
                    <a:lnTo>
                      <a:pt x="2538" y="900"/>
                    </a:lnTo>
                    <a:lnTo>
                      <a:pt x="2532" y="906"/>
                    </a:lnTo>
                    <a:lnTo>
                      <a:pt x="2526" y="906"/>
                    </a:lnTo>
                    <a:lnTo>
                      <a:pt x="2526" y="912"/>
                    </a:lnTo>
                    <a:lnTo>
                      <a:pt x="2484" y="912"/>
                    </a:lnTo>
                    <a:lnTo>
                      <a:pt x="2472" y="906"/>
                    </a:lnTo>
                    <a:lnTo>
                      <a:pt x="2442" y="906"/>
                    </a:lnTo>
                    <a:lnTo>
                      <a:pt x="2430" y="918"/>
                    </a:lnTo>
                    <a:lnTo>
                      <a:pt x="2430" y="930"/>
                    </a:lnTo>
                    <a:lnTo>
                      <a:pt x="2418" y="954"/>
                    </a:lnTo>
                    <a:lnTo>
                      <a:pt x="2412" y="960"/>
                    </a:lnTo>
                    <a:lnTo>
                      <a:pt x="2412" y="966"/>
                    </a:lnTo>
                    <a:lnTo>
                      <a:pt x="2400" y="996"/>
                    </a:lnTo>
                    <a:lnTo>
                      <a:pt x="2364" y="996"/>
                    </a:lnTo>
                    <a:lnTo>
                      <a:pt x="2358" y="1026"/>
                    </a:lnTo>
                    <a:lnTo>
                      <a:pt x="2334" y="978"/>
                    </a:lnTo>
                    <a:lnTo>
                      <a:pt x="2340" y="978"/>
                    </a:lnTo>
                    <a:lnTo>
                      <a:pt x="2352" y="984"/>
                    </a:lnTo>
                    <a:lnTo>
                      <a:pt x="2376" y="984"/>
                    </a:lnTo>
                    <a:lnTo>
                      <a:pt x="2388" y="972"/>
                    </a:lnTo>
                    <a:lnTo>
                      <a:pt x="2358" y="942"/>
                    </a:lnTo>
                    <a:lnTo>
                      <a:pt x="2340" y="942"/>
                    </a:lnTo>
                    <a:lnTo>
                      <a:pt x="2328" y="936"/>
                    </a:lnTo>
                    <a:lnTo>
                      <a:pt x="2316" y="936"/>
                    </a:lnTo>
                    <a:lnTo>
                      <a:pt x="2322" y="918"/>
                    </a:lnTo>
                    <a:lnTo>
                      <a:pt x="2304" y="924"/>
                    </a:lnTo>
                    <a:lnTo>
                      <a:pt x="2262" y="930"/>
                    </a:lnTo>
                    <a:lnTo>
                      <a:pt x="2208" y="936"/>
                    </a:lnTo>
                    <a:lnTo>
                      <a:pt x="2160" y="942"/>
                    </a:lnTo>
                    <a:lnTo>
                      <a:pt x="2112" y="942"/>
                    </a:lnTo>
                    <a:lnTo>
                      <a:pt x="2064" y="936"/>
                    </a:lnTo>
                    <a:lnTo>
                      <a:pt x="2034" y="930"/>
                    </a:lnTo>
                    <a:lnTo>
                      <a:pt x="2028" y="924"/>
                    </a:lnTo>
                    <a:lnTo>
                      <a:pt x="2052" y="918"/>
                    </a:lnTo>
                    <a:lnTo>
                      <a:pt x="2082" y="918"/>
                    </a:lnTo>
                    <a:lnTo>
                      <a:pt x="2118" y="912"/>
                    </a:lnTo>
                    <a:lnTo>
                      <a:pt x="2142" y="900"/>
                    </a:lnTo>
                    <a:lnTo>
                      <a:pt x="2142" y="888"/>
                    </a:lnTo>
                    <a:lnTo>
                      <a:pt x="2112" y="864"/>
                    </a:lnTo>
                    <a:lnTo>
                      <a:pt x="2082" y="852"/>
                    </a:lnTo>
                    <a:lnTo>
                      <a:pt x="2004" y="852"/>
                    </a:lnTo>
                    <a:lnTo>
                      <a:pt x="1968" y="840"/>
                    </a:lnTo>
                    <a:lnTo>
                      <a:pt x="1944" y="834"/>
                    </a:lnTo>
                    <a:lnTo>
                      <a:pt x="1938" y="828"/>
                    </a:lnTo>
                    <a:lnTo>
                      <a:pt x="1908" y="828"/>
                    </a:lnTo>
                    <a:lnTo>
                      <a:pt x="1896" y="822"/>
                    </a:lnTo>
                    <a:lnTo>
                      <a:pt x="1866" y="804"/>
                    </a:lnTo>
                    <a:lnTo>
                      <a:pt x="1836" y="792"/>
                    </a:lnTo>
                    <a:lnTo>
                      <a:pt x="1812" y="786"/>
                    </a:lnTo>
                    <a:lnTo>
                      <a:pt x="1800" y="792"/>
                    </a:lnTo>
                    <a:lnTo>
                      <a:pt x="1782" y="798"/>
                    </a:lnTo>
                    <a:lnTo>
                      <a:pt x="1770" y="804"/>
                    </a:lnTo>
                    <a:lnTo>
                      <a:pt x="1758" y="816"/>
                    </a:lnTo>
                    <a:lnTo>
                      <a:pt x="1734" y="828"/>
                    </a:lnTo>
                    <a:lnTo>
                      <a:pt x="1680" y="828"/>
                    </a:lnTo>
                    <a:lnTo>
                      <a:pt x="1710" y="810"/>
                    </a:lnTo>
                    <a:lnTo>
                      <a:pt x="1710" y="798"/>
                    </a:lnTo>
                    <a:lnTo>
                      <a:pt x="1734" y="768"/>
                    </a:lnTo>
                    <a:lnTo>
                      <a:pt x="1728" y="768"/>
                    </a:lnTo>
                    <a:lnTo>
                      <a:pt x="1722" y="774"/>
                    </a:lnTo>
                    <a:lnTo>
                      <a:pt x="1674" y="798"/>
                    </a:lnTo>
                    <a:lnTo>
                      <a:pt x="1650" y="822"/>
                    </a:lnTo>
                    <a:lnTo>
                      <a:pt x="1638" y="828"/>
                    </a:lnTo>
                    <a:lnTo>
                      <a:pt x="1620" y="834"/>
                    </a:lnTo>
                    <a:lnTo>
                      <a:pt x="1608" y="828"/>
                    </a:lnTo>
                    <a:lnTo>
                      <a:pt x="1602" y="816"/>
                    </a:lnTo>
                    <a:lnTo>
                      <a:pt x="1602" y="798"/>
                    </a:lnTo>
                    <a:lnTo>
                      <a:pt x="1614" y="774"/>
                    </a:lnTo>
                    <a:lnTo>
                      <a:pt x="1614" y="762"/>
                    </a:lnTo>
                    <a:lnTo>
                      <a:pt x="1608" y="750"/>
                    </a:lnTo>
                    <a:lnTo>
                      <a:pt x="1596" y="744"/>
                    </a:lnTo>
                    <a:lnTo>
                      <a:pt x="1590" y="738"/>
                    </a:lnTo>
                    <a:lnTo>
                      <a:pt x="1578" y="738"/>
                    </a:lnTo>
                    <a:lnTo>
                      <a:pt x="1572" y="744"/>
                    </a:lnTo>
                    <a:lnTo>
                      <a:pt x="1572" y="750"/>
                    </a:lnTo>
                    <a:lnTo>
                      <a:pt x="1578" y="762"/>
                    </a:lnTo>
                    <a:lnTo>
                      <a:pt x="1584" y="768"/>
                    </a:lnTo>
                    <a:lnTo>
                      <a:pt x="1542" y="768"/>
                    </a:lnTo>
                    <a:lnTo>
                      <a:pt x="1530" y="774"/>
                    </a:lnTo>
                    <a:lnTo>
                      <a:pt x="1512" y="780"/>
                    </a:lnTo>
                    <a:lnTo>
                      <a:pt x="1494" y="798"/>
                    </a:lnTo>
                    <a:lnTo>
                      <a:pt x="1446" y="798"/>
                    </a:lnTo>
                    <a:lnTo>
                      <a:pt x="1428" y="804"/>
                    </a:lnTo>
                    <a:lnTo>
                      <a:pt x="1416" y="804"/>
                    </a:lnTo>
                    <a:lnTo>
                      <a:pt x="1398" y="810"/>
                    </a:lnTo>
                    <a:lnTo>
                      <a:pt x="1380" y="810"/>
                    </a:lnTo>
                    <a:lnTo>
                      <a:pt x="1374" y="816"/>
                    </a:lnTo>
                    <a:lnTo>
                      <a:pt x="1368" y="816"/>
                    </a:lnTo>
                    <a:lnTo>
                      <a:pt x="1356" y="822"/>
                    </a:lnTo>
                    <a:lnTo>
                      <a:pt x="1350" y="828"/>
                    </a:lnTo>
                    <a:lnTo>
                      <a:pt x="1338" y="834"/>
                    </a:lnTo>
                    <a:lnTo>
                      <a:pt x="1314" y="816"/>
                    </a:lnTo>
                    <a:lnTo>
                      <a:pt x="1302" y="822"/>
                    </a:lnTo>
                    <a:lnTo>
                      <a:pt x="1296" y="828"/>
                    </a:lnTo>
                    <a:lnTo>
                      <a:pt x="1272" y="840"/>
                    </a:lnTo>
                    <a:lnTo>
                      <a:pt x="1260" y="840"/>
                    </a:lnTo>
                    <a:lnTo>
                      <a:pt x="1254" y="846"/>
                    </a:lnTo>
                    <a:lnTo>
                      <a:pt x="1242" y="846"/>
                    </a:lnTo>
                    <a:lnTo>
                      <a:pt x="1230" y="852"/>
                    </a:lnTo>
                    <a:lnTo>
                      <a:pt x="1224" y="858"/>
                    </a:lnTo>
                    <a:lnTo>
                      <a:pt x="1212" y="864"/>
                    </a:lnTo>
                    <a:lnTo>
                      <a:pt x="1176" y="864"/>
                    </a:lnTo>
                    <a:lnTo>
                      <a:pt x="1188" y="858"/>
                    </a:lnTo>
                    <a:lnTo>
                      <a:pt x="1194" y="846"/>
                    </a:lnTo>
                    <a:lnTo>
                      <a:pt x="1212" y="840"/>
                    </a:lnTo>
                    <a:lnTo>
                      <a:pt x="1236" y="828"/>
                    </a:lnTo>
                    <a:lnTo>
                      <a:pt x="1254" y="828"/>
                    </a:lnTo>
                    <a:lnTo>
                      <a:pt x="1266" y="822"/>
                    </a:lnTo>
                    <a:lnTo>
                      <a:pt x="1284" y="816"/>
                    </a:lnTo>
                    <a:lnTo>
                      <a:pt x="1290" y="810"/>
                    </a:lnTo>
                    <a:lnTo>
                      <a:pt x="1362" y="810"/>
                    </a:lnTo>
                    <a:lnTo>
                      <a:pt x="1386" y="798"/>
                    </a:lnTo>
                    <a:lnTo>
                      <a:pt x="1422" y="792"/>
                    </a:lnTo>
                    <a:lnTo>
                      <a:pt x="1458" y="780"/>
                    </a:lnTo>
                    <a:lnTo>
                      <a:pt x="1470" y="780"/>
                    </a:lnTo>
                    <a:lnTo>
                      <a:pt x="1476" y="774"/>
                    </a:lnTo>
                    <a:lnTo>
                      <a:pt x="1482" y="774"/>
                    </a:lnTo>
                    <a:lnTo>
                      <a:pt x="1476" y="768"/>
                    </a:lnTo>
                    <a:lnTo>
                      <a:pt x="1410" y="768"/>
                    </a:lnTo>
                    <a:lnTo>
                      <a:pt x="1398" y="774"/>
                    </a:lnTo>
                    <a:lnTo>
                      <a:pt x="1392" y="774"/>
                    </a:lnTo>
                    <a:lnTo>
                      <a:pt x="1380" y="780"/>
                    </a:lnTo>
                    <a:lnTo>
                      <a:pt x="1374" y="786"/>
                    </a:lnTo>
                    <a:lnTo>
                      <a:pt x="1368" y="786"/>
                    </a:lnTo>
                    <a:lnTo>
                      <a:pt x="1362" y="792"/>
                    </a:lnTo>
                    <a:lnTo>
                      <a:pt x="1278" y="792"/>
                    </a:lnTo>
                    <a:lnTo>
                      <a:pt x="1254" y="804"/>
                    </a:lnTo>
                    <a:lnTo>
                      <a:pt x="1248" y="810"/>
                    </a:lnTo>
                    <a:lnTo>
                      <a:pt x="1236" y="816"/>
                    </a:lnTo>
                    <a:lnTo>
                      <a:pt x="1230" y="822"/>
                    </a:lnTo>
                    <a:lnTo>
                      <a:pt x="1212" y="822"/>
                    </a:lnTo>
                    <a:lnTo>
                      <a:pt x="1158" y="846"/>
                    </a:lnTo>
                    <a:lnTo>
                      <a:pt x="1140" y="846"/>
                    </a:lnTo>
                    <a:lnTo>
                      <a:pt x="1128" y="858"/>
                    </a:lnTo>
                    <a:lnTo>
                      <a:pt x="1122" y="870"/>
                    </a:lnTo>
                    <a:lnTo>
                      <a:pt x="1122" y="876"/>
                    </a:lnTo>
                    <a:lnTo>
                      <a:pt x="1116" y="876"/>
                    </a:lnTo>
                    <a:lnTo>
                      <a:pt x="1110" y="870"/>
                    </a:lnTo>
                    <a:lnTo>
                      <a:pt x="1110" y="846"/>
                    </a:lnTo>
                    <a:lnTo>
                      <a:pt x="1116" y="846"/>
                    </a:lnTo>
                    <a:lnTo>
                      <a:pt x="1152" y="834"/>
                    </a:lnTo>
                    <a:lnTo>
                      <a:pt x="1176" y="822"/>
                    </a:lnTo>
                    <a:lnTo>
                      <a:pt x="1194" y="816"/>
                    </a:lnTo>
                    <a:lnTo>
                      <a:pt x="1188" y="810"/>
                    </a:lnTo>
                    <a:lnTo>
                      <a:pt x="1176" y="810"/>
                    </a:lnTo>
                    <a:lnTo>
                      <a:pt x="1164" y="804"/>
                    </a:lnTo>
                    <a:lnTo>
                      <a:pt x="1140" y="804"/>
                    </a:lnTo>
                    <a:lnTo>
                      <a:pt x="1122" y="822"/>
                    </a:lnTo>
                    <a:lnTo>
                      <a:pt x="1110" y="828"/>
                    </a:lnTo>
                    <a:lnTo>
                      <a:pt x="1092" y="828"/>
                    </a:lnTo>
                    <a:lnTo>
                      <a:pt x="1080" y="834"/>
                    </a:lnTo>
                    <a:lnTo>
                      <a:pt x="1068" y="834"/>
                    </a:lnTo>
                    <a:lnTo>
                      <a:pt x="1068" y="840"/>
                    </a:lnTo>
                    <a:lnTo>
                      <a:pt x="1062" y="846"/>
                    </a:lnTo>
                    <a:lnTo>
                      <a:pt x="1062" y="876"/>
                    </a:lnTo>
                    <a:lnTo>
                      <a:pt x="1038" y="858"/>
                    </a:lnTo>
                    <a:lnTo>
                      <a:pt x="972" y="852"/>
                    </a:lnTo>
                    <a:lnTo>
                      <a:pt x="960" y="846"/>
                    </a:lnTo>
                    <a:lnTo>
                      <a:pt x="948" y="834"/>
                    </a:lnTo>
                    <a:lnTo>
                      <a:pt x="936" y="834"/>
                    </a:lnTo>
                    <a:lnTo>
                      <a:pt x="936" y="828"/>
                    </a:lnTo>
                    <a:lnTo>
                      <a:pt x="942" y="822"/>
                    </a:lnTo>
                    <a:lnTo>
                      <a:pt x="942" y="810"/>
                    </a:lnTo>
                    <a:lnTo>
                      <a:pt x="948" y="804"/>
                    </a:lnTo>
                    <a:lnTo>
                      <a:pt x="834" y="804"/>
                    </a:lnTo>
                    <a:lnTo>
                      <a:pt x="852" y="804"/>
                    </a:lnTo>
                    <a:lnTo>
                      <a:pt x="78" y="1440"/>
                    </a:lnTo>
                    <a:lnTo>
                      <a:pt x="72" y="1446"/>
                    </a:lnTo>
                    <a:lnTo>
                      <a:pt x="60" y="1452"/>
                    </a:lnTo>
                    <a:lnTo>
                      <a:pt x="54" y="1464"/>
                    </a:lnTo>
                    <a:lnTo>
                      <a:pt x="54" y="1476"/>
                    </a:lnTo>
                    <a:lnTo>
                      <a:pt x="108" y="1476"/>
                    </a:lnTo>
                    <a:lnTo>
                      <a:pt x="120" y="1464"/>
                    </a:lnTo>
                    <a:lnTo>
                      <a:pt x="156" y="1464"/>
                    </a:lnTo>
                    <a:lnTo>
                      <a:pt x="132" y="1488"/>
                    </a:lnTo>
                    <a:lnTo>
                      <a:pt x="132" y="1494"/>
                    </a:lnTo>
                    <a:lnTo>
                      <a:pt x="138" y="1506"/>
                    </a:lnTo>
                    <a:lnTo>
                      <a:pt x="138" y="1524"/>
                    </a:lnTo>
                    <a:lnTo>
                      <a:pt x="144" y="1530"/>
                    </a:lnTo>
                    <a:lnTo>
                      <a:pt x="156" y="1536"/>
                    </a:lnTo>
                    <a:lnTo>
                      <a:pt x="162" y="1542"/>
                    </a:lnTo>
                    <a:lnTo>
                      <a:pt x="144" y="1560"/>
                    </a:lnTo>
                    <a:lnTo>
                      <a:pt x="144" y="1572"/>
                    </a:lnTo>
                    <a:lnTo>
                      <a:pt x="150" y="1572"/>
                    </a:lnTo>
                    <a:lnTo>
                      <a:pt x="156" y="1566"/>
                    </a:lnTo>
                    <a:lnTo>
                      <a:pt x="168" y="1560"/>
                    </a:lnTo>
                    <a:lnTo>
                      <a:pt x="174" y="1554"/>
                    </a:lnTo>
                    <a:lnTo>
                      <a:pt x="180" y="1554"/>
                    </a:lnTo>
                    <a:lnTo>
                      <a:pt x="186" y="1548"/>
                    </a:lnTo>
                    <a:lnTo>
                      <a:pt x="198" y="1548"/>
                    </a:lnTo>
                    <a:lnTo>
                      <a:pt x="210" y="1542"/>
                    </a:lnTo>
                    <a:lnTo>
                      <a:pt x="222" y="1542"/>
                    </a:lnTo>
                    <a:lnTo>
                      <a:pt x="234" y="1536"/>
                    </a:lnTo>
                    <a:lnTo>
                      <a:pt x="240" y="1530"/>
                    </a:lnTo>
                    <a:lnTo>
                      <a:pt x="258" y="1530"/>
                    </a:lnTo>
                    <a:lnTo>
                      <a:pt x="258" y="1518"/>
                    </a:lnTo>
                    <a:lnTo>
                      <a:pt x="264" y="1518"/>
                    </a:lnTo>
                    <a:lnTo>
                      <a:pt x="270" y="1512"/>
                    </a:lnTo>
                    <a:lnTo>
                      <a:pt x="282" y="1512"/>
                    </a:lnTo>
                    <a:lnTo>
                      <a:pt x="300" y="1506"/>
                    </a:lnTo>
                    <a:lnTo>
                      <a:pt x="312" y="1506"/>
                    </a:lnTo>
                    <a:lnTo>
                      <a:pt x="330" y="1512"/>
                    </a:lnTo>
                    <a:lnTo>
                      <a:pt x="336" y="1518"/>
                    </a:lnTo>
                    <a:lnTo>
                      <a:pt x="330" y="1524"/>
                    </a:lnTo>
                    <a:lnTo>
                      <a:pt x="324" y="1524"/>
                    </a:lnTo>
                    <a:lnTo>
                      <a:pt x="318" y="1530"/>
                    </a:lnTo>
                    <a:lnTo>
                      <a:pt x="318" y="1560"/>
                    </a:lnTo>
                    <a:lnTo>
                      <a:pt x="306" y="1572"/>
                    </a:lnTo>
                    <a:lnTo>
                      <a:pt x="324" y="1590"/>
                    </a:lnTo>
                    <a:lnTo>
                      <a:pt x="330" y="1602"/>
                    </a:lnTo>
                    <a:lnTo>
                      <a:pt x="330" y="1620"/>
                    </a:lnTo>
                    <a:lnTo>
                      <a:pt x="312" y="1656"/>
                    </a:lnTo>
                    <a:lnTo>
                      <a:pt x="312" y="1698"/>
                    </a:lnTo>
                    <a:lnTo>
                      <a:pt x="306" y="1704"/>
                    </a:lnTo>
                    <a:lnTo>
                      <a:pt x="300" y="1716"/>
                    </a:lnTo>
                    <a:lnTo>
                      <a:pt x="300" y="1728"/>
                    </a:lnTo>
                    <a:lnTo>
                      <a:pt x="294" y="1740"/>
                    </a:lnTo>
                    <a:lnTo>
                      <a:pt x="294" y="1746"/>
                    </a:lnTo>
                    <a:lnTo>
                      <a:pt x="300" y="1752"/>
                    </a:lnTo>
                    <a:lnTo>
                      <a:pt x="312" y="1758"/>
                    </a:lnTo>
                    <a:lnTo>
                      <a:pt x="318" y="1764"/>
                    </a:lnTo>
                    <a:lnTo>
                      <a:pt x="324" y="1764"/>
                    </a:lnTo>
                    <a:lnTo>
                      <a:pt x="330" y="1770"/>
                    </a:lnTo>
                    <a:lnTo>
                      <a:pt x="330" y="1776"/>
                    </a:lnTo>
                    <a:lnTo>
                      <a:pt x="348" y="1776"/>
                    </a:lnTo>
                    <a:lnTo>
                      <a:pt x="354" y="1782"/>
                    </a:lnTo>
                    <a:lnTo>
                      <a:pt x="354" y="1794"/>
                    </a:lnTo>
                    <a:lnTo>
                      <a:pt x="342" y="1800"/>
                    </a:lnTo>
                    <a:lnTo>
                      <a:pt x="330" y="1812"/>
                    </a:lnTo>
                    <a:lnTo>
                      <a:pt x="318" y="1818"/>
                    </a:lnTo>
                    <a:lnTo>
                      <a:pt x="318" y="1830"/>
                    </a:lnTo>
                    <a:lnTo>
                      <a:pt x="312" y="1842"/>
                    </a:lnTo>
                    <a:lnTo>
                      <a:pt x="294" y="1860"/>
                    </a:lnTo>
                    <a:lnTo>
                      <a:pt x="282" y="1866"/>
                    </a:lnTo>
                    <a:lnTo>
                      <a:pt x="270" y="1878"/>
                    </a:lnTo>
                    <a:lnTo>
                      <a:pt x="252" y="1884"/>
                    </a:lnTo>
                    <a:lnTo>
                      <a:pt x="234" y="1896"/>
                    </a:lnTo>
                    <a:lnTo>
                      <a:pt x="228" y="1902"/>
                    </a:lnTo>
                    <a:lnTo>
                      <a:pt x="222" y="1914"/>
                    </a:lnTo>
                    <a:lnTo>
                      <a:pt x="222" y="1926"/>
                    </a:lnTo>
                    <a:lnTo>
                      <a:pt x="216" y="1932"/>
                    </a:lnTo>
                    <a:lnTo>
                      <a:pt x="216" y="1944"/>
                    </a:lnTo>
                    <a:lnTo>
                      <a:pt x="204" y="1956"/>
                    </a:lnTo>
                    <a:lnTo>
                      <a:pt x="210" y="1962"/>
                    </a:lnTo>
                    <a:lnTo>
                      <a:pt x="216" y="1962"/>
                    </a:lnTo>
                    <a:lnTo>
                      <a:pt x="216" y="1974"/>
                    </a:lnTo>
                    <a:lnTo>
                      <a:pt x="228" y="1986"/>
                    </a:lnTo>
                    <a:lnTo>
                      <a:pt x="240" y="1980"/>
                    </a:lnTo>
                    <a:lnTo>
                      <a:pt x="246" y="1968"/>
                    </a:lnTo>
                    <a:lnTo>
                      <a:pt x="258" y="1962"/>
                    </a:lnTo>
                    <a:lnTo>
                      <a:pt x="276" y="1956"/>
                    </a:lnTo>
                    <a:lnTo>
                      <a:pt x="294" y="1938"/>
                    </a:lnTo>
                    <a:lnTo>
                      <a:pt x="306" y="1938"/>
                    </a:lnTo>
                    <a:lnTo>
                      <a:pt x="306" y="1944"/>
                    </a:lnTo>
                    <a:lnTo>
                      <a:pt x="300" y="1950"/>
                    </a:lnTo>
                    <a:lnTo>
                      <a:pt x="288" y="1956"/>
                    </a:lnTo>
                    <a:lnTo>
                      <a:pt x="282" y="1956"/>
                    </a:lnTo>
                    <a:lnTo>
                      <a:pt x="276" y="1962"/>
                    </a:lnTo>
                    <a:lnTo>
                      <a:pt x="276" y="1974"/>
                    </a:lnTo>
                    <a:lnTo>
                      <a:pt x="282" y="1986"/>
                    </a:lnTo>
                    <a:lnTo>
                      <a:pt x="294" y="1998"/>
                    </a:lnTo>
                    <a:lnTo>
                      <a:pt x="252" y="1992"/>
                    </a:lnTo>
                    <a:lnTo>
                      <a:pt x="246" y="1998"/>
                    </a:lnTo>
                    <a:lnTo>
                      <a:pt x="240" y="2010"/>
                    </a:lnTo>
                    <a:lnTo>
                      <a:pt x="234" y="2016"/>
                    </a:lnTo>
                    <a:lnTo>
                      <a:pt x="228" y="2028"/>
                    </a:lnTo>
                    <a:lnTo>
                      <a:pt x="228" y="2034"/>
                    </a:lnTo>
                    <a:lnTo>
                      <a:pt x="234" y="2034"/>
                    </a:lnTo>
                    <a:lnTo>
                      <a:pt x="240" y="2040"/>
                    </a:lnTo>
                    <a:lnTo>
                      <a:pt x="252" y="2040"/>
                    </a:lnTo>
                    <a:lnTo>
                      <a:pt x="258" y="2046"/>
                    </a:lnTo>
                    <a:lnTo>
                      <a:pt x="252" y="2052"/>
                    </a:lnTo>
                    <a:lnTo>
                      <a:pt x="252" y="2058"/>
                    </a:lnTo>
                    <a:lnTo>
                      <a:pt x="246" y="2070"/>
                    </a:lnTo>
                    <a:lnTo>
                      <a:pt x="246" y="2076"/>
                    </a:lnTo>
                    <a:lnTo>
                      <a:pt x="252" y="2070"/>
                    </a:lnTo>
                    <a:lnTo>
                      <a:pt x="288" y="2052"/>
                    </a:lnTo>
                    <a:lnTo>
                      <a:pt x="306" y="2034"/>
                    </a:lnTo>
                    <a:lnTo>
                      <a:pt x="318" y="2028"/>
                    </a:lnTo>
                    <a:lnTo>
                      <a:pt x="318" y="2040"/>
                    </a:lnTo>
                    <a:lnTo>
                      <a:pt x="288" y="2058"/>
                    </a:lnTo>
                    <a:lnTo>
                      <a:pt x="312" y="2064"/>
                    </a:lnTo>
                    <a:lnTo>
                      <a:pt x="312" y="2076"/>
                    </a:lnTo>
                    <a:lnTo>
                      <a:pt x="294" y="2094"/>
                    </a:lnTo>
                    <a:lnTo>
                      <a:pt x="276" y="2076"/>
                    </a:lnTo>
                    <a:lnTo>
                      <a:pt x="270" y="2076"/>
                    </a:lnTo>
                    <a:lnTo>
                      <a:pt x="264" y="2082"/>
                    </a:lnTo>
                    <a:lnTo>
                      <a:pt x="240" y="2094"/>
                    </a:lnTo>
                    <a:lnTo>
                      <a:pt x="228" y="2094"/>
                    </a:lnTo>
                    <a:lnTo>
                      <a:pt x="216" y="2106"/>
                    </a:lnTo>
                    <a:lnTo>
                      <a:pt x="210" y="2118"/>
                    </a:lnTo>
                    <a:lnTo>
                      <a:pt x="204" y="2124"/>
                    </a:lnTo>
                    <a:lnTo>
                      <a:pt x="210" y="2118"/>
                    </a:lnTo>
                    <a:lnTo>
                      <a:pt x="222" y="2118"/>
                    </a:lnTo>
                    <a:lnTo>
                      <a:pt x="228" y="2112"/>
                    </a:lnTo>
                    <a:lnTo>
                      <a:pt x="276" y="2112"/>
                    </a:lnTo>
                    <a:lnTo>
                      <a:pt x="270" y="2112"/>
                    </a:lnTo>
                    <a:lnTo>
                      <a:pt x="264" y="2118"/>
                    </a:lnTo>
                    <a:lnTo>
                      <a:pt x="252" y="2118"/>
                    </a:lnTo>
                    <a:lnTo>
                      <a:pt x="240" y="2124"/>
                    </a:lnTo>
                    <a:lnTo>
                      <a:pt x="228" y="2124"/>
                    </a:lnTo>
                    <a:lnTo>
                      <a:pt x="216" y="2130"/>
                    </a:lnTo>
                    <a:lnTo>
                      <a:pt x="210" y="2130"/>
                    </a:lnTo>
                    <a:lnTo>
                      <a:pt x="210" y="2148"/>
                    </a:lnTo>
                    <a:lnTo>
                      <a:pt x="204" y="2148"/>
                    </a:lnTo>
                    <a:lnTo>
                      <a:pt x="198" y="2142"/>
                    </a:lnTo>
                    <a:lnTo>
                      <a:pt x="174" y="2142"/>
                    </a:lnTo>
                    <a:lnTo>
                      <a:pt x="174" y="2154"/>
                    </a:lnTo>
                    <a:lnTo>
                      <a:pt x="180" y="2166"/>
                    </a:lnTo>
                    <a:lnTo>
                      <a:pt x="192" y="2172"/>
                    </a:lnTo>
                    <a:lnTo>
                      <a:pt x="198" y="2178"/>
                    </a:lnTo>
                    <a:lnTo>
                      <a:pt x="246" y="2160"/>
                    </a:lnTo>
                    <a:lnTo>
                      <a:pt x="264" y="2184"/>
                    </a:lnTo>
                    <a:lnTo>
                      <a:pt x="300" y="2166"/>
                    </a:lnTo>
                    <a:lnTo>
                      <a:pt x="294" y="2172"/>
                    </a:lnTo>
                    <a:lnTo>
                      <a:pt x="288" y="2184"/>
                    </a:lnTo>
                    <a:lnTo>
                      <a:pt x="276" y="2190"/>
                    </a:lnTo>
                    <a:lnTo>
                      <a:pt x="270" y="2196"/>
                    </a:lnTo>
                    <a:lnTo>
                      <a:pt x="264" y="2208"/>
                    </a:lnTo>
                    <a:lnTo>
                      <a:pt x="264" y="2214"/>
                    </a:lnTo>
                    <a:lnTo>
                      <a:pt x="276" y="2214"/>
                    </a:lnTo>
                    <a:lnTo>
                      <a:pt x="282" y="2208"/>
                    </a:lnTo>
                    <a:lnTo>
                      <a:pt x="300" y="2202"/>
                    </a:lnTo>
                    <a:lnTo>
                      <a:pt x="318" y="2184"/>
                    </a:lnTo>
                    <a:lnTo>
                      <a:pt x="330" y="2178"/>
                    </a:lnTo>
                    <a:lnTo>
                      <a:pt x="306" y="2202"/>
                    </a:lnTo>
                    <a:lnTo>
                      <a:pt x="300" y="2214"/>
                    </a:lnTo>
                    <a:lnTo>
                      <a:pt x="294" y="2220"/>
                    </a:lnTo>
                    <a:lnTo>
                      <a:pt x="300" y="2220"/>
                    </a:lnTo>
                    <a:lnTo>
                      <a:pt x="312" y="2214"/>
                    </a:lnTo>
                    <a:lnTo>
                      <a:pt x="324" y="2214"/>
                    </a:lnTo>
                    <a:lnTo>
                      <a:pt x="318" y="2220"/>
                    </a:lnTo>
                    <a:lnTo>
                      <a:pt x="306" y="2226"/>
                    </a:lnTo>
                    <a:lnTo>
                      <a:pt x="300" y="2238"/>
                    </a:lnTo>
                    <a:lnTo>
                      <a:pt x="282" y="2256"/>
                    </a:lnTo>
                    <a:lnTo>
                      <a:pt x="288" y="2262"/>
                    </a:lnTo>
                    <a:lnTo>
                      <a:pt x="294" y="2262"/>
                    </a:lnTo>
                    <a:lnTo>
                      <a:pt x="342" y="2238"/>
                    </a:lnTo>
                    <a:lnTo>
                      <a:pt x="348" y="2232"/>
                    </a:lnTo>
                    <a:lnTo>
                      <a:pt x="324" y="2256"/>
                    </a:lnTo>
                    <a:lnTo>
                      <a:pt x="318" y="2268"/>
                    </a:lnTo>
                    <a:lnTo>
                      <a:pt x="318" y="2274"/>
                    </a:lnTo>
                    <a:lnTo>
                      <a:pt x="330" y="2280"/>
                    </a:lnTo>
                    <a:lnTo>
                      <a:pt x="342" y="2280"/>
                    </a:lnTo>
                    <a:lnTo>
                      <a:pt x="354" y="2292"/>
                    </a:lnTo>
                    <a:lnTo>
                      <a:pt x="354" y="2298"/>
                    </a:lnTo>
                    <a:lnTo>
                      <a:pt x="348" y="2304"/>
                    </a:lnTo>
                    <a:lnTo>
                      <a:pt x="348" y="2340"/>
                    </a:lnTo>
                    <a:lnTo>
                      <a:pt x="2058" y="2340"/>
                    </a:lnTo>
                    <a:lnTo>
                      <a:pt x="2064" y="2328"/>
                    </a:lnTo>
                    <a:lnTo>
                      <a:pt x="2064" y="2322"/>
                    </a:lnTo>
                    <a:lnTo>
                      <a:pt x="2070" y="2310"/>
                    </a:lnTo>
                    <a:lnTo>
                      <a:pt x="2076" y="2304"/>
                    </a:lnTo>
                    <a:lnTo>
                      <a:pt x="2088" y="2298"/>
                    </a:lnTo>
                    <a:lnTo>
                      <a:pt x="2100" y="2310"/>
                    </a:lnTo>
                    <a:lnTo>
                      <a:pt x="2088" y="2322"/>
                    </a:lnTo>
                    <a:lnTo>
                      <a:pt x="2082" y="2334"/>
                    </a:lnTo>
                    <a:lnTo>
                      <a:pt x="2082" y="2346"/>
                    </a:lnTo>
                    <a:lnTo>
                      <a:pt x="2094" y="2352"/>
                    </a:lnTo>
                    <a:lnTo>
                      <a:pt x="2112" y="2358"/>
                    </a:lnTo>
                    <a:lnTo>
                      <a:pt x="2124" y="2358"/>
                    </a:lnTo>
                    <a:lnTo>
                      <a:pt x="2142" y="2376"/>
                    </a:lnTo>
                    <a:lnTo>
                      <a:pt x="2154" y="2376"/>
                    </a:lnTo>
                    <a:lnTo>
                      <a:pt x="2154" y="2370"/>
                    </a:lnTo>
                    <a:lnTo>
                      <a:pt x="2166" y="2358"/>
                    </a:lnTo>
                    <a:lnTo>
                      <a:pt x="2178" y="2358"/>
                    </a:lnTo>
                    <a:lnTo>
                      <a:pt x="2190" y="2364"/>
                    </a:lnTo>
                    <a:lnTo>
                      <a:pt x="2202" y="2376"/>
                    </a:lnTo>
                    <a:lnTo>
                      <a:pt x="2202" y="2382"/>
                    </a:lnTo>
                    <a:lnTo>
                      <a:pt x="2208" y="2388"/>
                    </a:lnTo>
                    <a:lnTo>
                      <a:pt x="2238" y="2388"/>
                    </a:lnTo>
                    <a:lnTo>
                      <a:pt x="2256" y="2406"/>
                    </a:lnTo>
                    <a:lnTo>
                      <a:pt x="2268" y="2406"/>
                    </a:lnTo>
                    <a:lnTo>
                      <a:pt x="2280" y="2394"/>
                    </a:lnTo>
                    <a:lnTo>
                      <a:pt x="2292" y="2388"/>
                    </a:lnTo>
                    <a:lnTo>
                      <a:pt x="2298" y="2382"/>
                    </a:lnTo>
                    <a:lnTo>
                      <a:pt x="2298" y="2400"/>
                    </a:lnTo>
                    <a:lnTo>
                      <a:pt x="2346" y="2394"/>
                    </a:lnTo>
                    <a:lnTo>
                      <a:pt x="2346" y="2400"/>
                    </a:lnTo>
                    <a:lnTo>
                      <a:pt x="2352" y="2400"/>
                    </a:lnTo>
                    <a:lnTo>
                      <a:pt x="2364" y="2406"/>
                    </a:lnTo>
                    <a:lnTo>
                      <a:pt x="2382" y="2406"/>
                    </a:lnTo>
                    <a:lnTo>
                      <a:pt x="2394" y="2394"/>
                    </a:lnTo>
                    <a:lnTo>
                      <a:pt x="2406" y="2388"/>
                    </a:lnTo>
                    <a:lnTo>
                      <a:pt x="2412" y="2376"/>
                    </a:lnTo>
                    <a:lnTo>
                      <a:pt x="2412" y="2370"/>
                    </a:lnTo>
                    <a:lnTo>
                      <a:pt x="2430" y="2370"/>
                    </a:lnTo>
                    <a:lnTo>
                      <a:pt x="2436" y="2376"/>
                    </a:lnTo>
                    <a:lnTo>
                      <a:pt x="2442" y="2376"/>
                    </a:lnTo>
                    <a:lnTo>
                      <a:pt x="2454" y="2364"/>
                    </a:lnTo>
                    <a:lnTo>
                      <a:pt x="2460" y="2352"/>
                    </a:lnTo>
                    <a:lnTo>
                      <a:pt x="2466" y="2346"/>
                    </a:lnTo>
                    <a:lnTo>
                      <a:pt x="2472" y="2346"/>
                    </a:lnTo>
                    <a:lnTo>
                      <a:pt x="2472" y="2352"/>
                    </a:lnTo>
                    <a:lnTo>
                      <a:pt x="2478" y="2358"/>
                    </a:lnTo>
                    <a:lnTo>
                      <a:pt x="2502" y="2352"/>
                    </a:lnTo>
                    <a:lnTo>
                      <a:pt x="2496" y="2346"/>
                    </a:lnTo>
                    <a:lnTo>
                      <a:pt x="2496" y="2334"/>
                    </a:lnTo>
                    <a:lnTo>
                      <a:pt x="2502" y="2328"/>
                    </a:lnTo>
                    <a:lnTo>
                      <a:pt x="2514" y="2322"/>
                    </a:lnTo>
                    <a:lnTo>
                      <a:pt x="2532" y="2340"/>
                    </a:lnTo>
                    <a:lnTo>
                      <a:pt x="2556" y="2340"/>
                    </a:lnTo>
                    <a:lnTo>
                      <a:pt x="2562" y="2346"/>
                    </a:lnTo>
                    <a:lnTo>
                      <a:pt x="2580" y="2346"/>
                    </a:lnTo>
                    <a:lnTo>
                      <a:pt x="2604" y="2358"/>
                    </a:lnTo>
                    <a:lnTo>
                      <a:pt x="2604" y="2370"/>
                    </a:lnTo>
                    <a:lnTo>
                      <a:pt x="2598" y="2382"/>
                    </a:lnTo>
                    <a:lnTo>
                      <a:pt x="2598" y="2388"/>
                    </a:lnTo>
                    <a:lnTo>
                      <a:pt x="2592" y="2400"/>
                    </a:lnTo>
                    <a:lnTo>
                      <a:pt x="2604" y="2412"/>
                    </a:lnTo>
                    <a:lnTo>
                      <a:pt x="2592" y="2436"/>
                    </a:lnTo>
                    <a:lnTo>
                      <a:pt x="2598" y="2436"/>
                    </a:lnTo>
                    <a:lnTo>
                      <a:pt x="2604" y="2430"/>
                    </a:lnTo>
                    <a:lnTo>
                      <a:pt x="2616" y="2424"/>
                    </a:lnTo>
                    <a:lnTo>
                      <a:pt x="2634" y="2418"/>
                    </a:lnTo>
                    <a:lnTo>
                      <a:pt x="2646" y="2412"/>
                    </a:lnTo>
                    <a:lnTo>
                      <a:pt x="2670" y="2412"/>
                    </a:lnTo>
                    <a:lnTo>
                      <a:pt x="2670" y="2424"/>
                    </a:lnTo>
                    <a:lnTo>
                      <a:pt x="2658" y="2430"/>
                    </a:lnTo>
                    <a:lnTo>
                      <a:pt x="2652" y="2436"/>
                    </a:lnTo>
                    <a:lnTo>
                      <a:pt x="2646" y="2436"/>
                    </a:lnTo>
                    <a:lnTo>
                      <a:pt x="2640" y="2442"/>
                    </a:lnTo>
                    <a:lnTo>
                      <a:pt x="2646" y="2448"/>
                    </a:lnTo>
                    <a:lnTo>
                      <a:pt x="2652" y="2448"/>
                    </a:lnTo>
                    <a:lnTo>
                      <a:pt x="2664" y="2460"/>
                    </a:lnTo>
                    <a:lnTo>
                      <a:pt x="2640" y="2484"/>
                    </a:lnTo>
                    <a:lnTo>
                      <a:pt x="2640" y="2490"/>
                    </a:lnTo>
                    <a:lnTo>
                      <a:pt x="2652" y="2490"/>
                    </a:lnTo>
                    <a:lnTo>
                      <a:pt x="2652" y="2502"/>
                    </a:lnTo>
                    <a:lnTo>
                      <a:pt x="2640" y="2514"/>
                    </a:lnTo>
                    <a:lnTo>
                      <a:pt x="2640" y="2526"/>
                    </a:lnTo>
                    <a:lnTo>
                      <a:pt x="2658" y="2526"/>
                    </a:lnTo>
                    <a:lnTo>
                      <a:pt x="2652" y="2544"/>
                    </a:lnTo>
                    <a:lnTo>
                      <a:pt x="2658" y="2544"/>
                    </a:lnTo>
                    <a:lnTo>
                      <a:pt x="2670" y="2550"/>
                    </a:lnTo>
                    <a:lnTo>
                      <a:pt x="2754" y="2550"/>
                    </a:lnTo>
                    <a:lnTo>
                      <a:pt x="2766" y="2556"/>
                    </a:lnTo>
                    <a:lnTo>
                      <a:pt x="2784" y="2568"/>
                    </a:lnTo>
                    <a:lnTo>
                      <a:pt x="2838" y="2568"/>
                    </a:lnTo>
                    <a:lnTo>
                      <a:pt x="2850" y="2574"/>
                    </a:lnTo>
                    <a:lnTo>
                      <a:pt x="2856" y="2580"/>
                    </a:lnTo>
                    <a:lnTo>
                      <a:pt x="2856" y="2610"/>
                    </a:lnTo>
                    <a:lnTo>
                      <a:pt x="2874" y="2610"/>
                    </a:lnTo>
                    <a:lnTo>
                      <a:pt x="2874" y="2628"/>
                    </a:lnTo>
                    <a:lnTo>
                      <a:pt x="2862" y="2640"/>
                    </a:lnTo>
                    <a:lnTo>
                      <a:pt x="2862" y="2652"/>
                    </a:lnTo>
                    <a:lnTo>
                      <a:pt x="2874" y="2664"/>
                    </a:lnTo>
                    <a:lnTo>
                      <a:pt x="2880" y="2664"/>
                    </a:lnTo>
                    <a:lnTo>
                      <a:pt x="2856" y="2658"/>
                    </a:lnTo>
                    <a:lnTo>
                      <a:pt x="2856" y="2670"/>
                    </a:lnTo>
                    <a:lnTo>
                      <a:pt x="2850" y="2676"/>
                    </a:lnTo>
                    <a:lnTo>
                      <a:pt x="2844" y="2688"/>
                    </a:lnTo>
                    <a:lnTo>
                      <a:pt x="2838" y="2694"/>
                    </a:lnTo>
                    <a:lnTo>
                      <a:pt x="2832" y="2688"/>
                    </a:lnTo>
                    <a:lnTo>
                      <a:pt x="2820" y="2682"/>
                    </a:lnTo>
                    <a:lnTo>
                      <a:pt x="2802" y="2670"/>
                    </a:lnTo>
                    <a:lnTo>
                      <a:pt x="2790" y="2664"/>
                    </a:lnTo>
                    <a:lnTo>
                      <a:pt x="2784" y="2652"/>
                    </a:lnTo>
                    <a:lnTo>
                      <a:pt x="2784" y="2628"/>
                    </a:lnTo>
                    <a:lnTo>
                      <a:pt x="2766" y="2622"/>
                    </a:lnTo>
                    <a:lnTo>
                      <a:pt x="2772" y="2640"/>
                    </a:lnTo>
                    <a:lnTo>
                      <a:pt x="2772" y="2646"/>
                    </a:lnTo>
                    <a:lnTo>
                      <a:pt x="2778" y="2652"/>
                    </a:lnTo>
                    <a:lnTo>
                      <a:pt x="2778" y="2664"/>
                    </a:lnTo>
                    <a:lnTo>
                      <a:pt x="2772" y="2676"/>
                    </a:lnTo>
                    <a:lnTo>
                      <a:pt x="2760" y="2688"/>
                    </a:lnTo>
                    <a:lnTo>
                      <a:pt x="2754" y="2700"/>
                    </a:lnTo>
                    <a:lnTo>
                      <a:pt x="2736" y="2706"/>
                    </a:lnTo>
                    <a:lnTo>
                      <a:pt x="2718" y="2724"/>
                    </a:lnTo>
                    <a:lnTo>
                      <a:pt x="2712" y="2742"/>
                    </a:lnTo>
                    <a:lnTo>
                      <a:pt x="2700" y="2760"/>
                    </a:lnTo>
                    <a:lnTo>
                      <a:pt x="2694" y="2778"/>
                    </a:lnTo>
                    <a:lnTo>
                      <a:pt x="2688" y="2784"/>
                    </a:lnTo>
                    <a:lnTo>
                      <a:pt x="2664" y="2796"/>
                    </a:lnTo>
                    <a:lnTo>
                      <a:pt x="2652" y="2796"/>
                    </a:lnTo>
                    <a:lnTo>
                      <a:pt x="2646" y="2790"/>
                    </a:lnTo>
                    <a:lnTo>
                      <a:pt x="2640" y="2802"/>
                    </a:lnTo>
                    <a:lnTo>
                      <a:pt x="2634" y="2808"/>
                    </a:lnTo>
                    <a:lnTo>
                      <a:pt x="2634" y="2832"/>
                    </a:lnTo>
                    <a:lnTo>
                      <a:pt x="2628" y="2838"/>
                    </a:lnTo>
                    <a:lnTo>
                      <a:pt x="2622" y="2838"/>
                    </a:lnTo>
                    <a:lnTo>
                      <a:pt x="2586" y="2856"/>
                    </a:lnTo>
                    <a:lnTo>
                      <a:pt x="2562" y="2880"/>
                    </a:lnTo>
                    <a:lnTo>
                      <a:pt x="2562" y="2886"/>
                    </a:lnTo>
                    <a:lnTo>
                      <a:pt x="2568" y="2886"/>
                    </a:lnTo>
                    <a:lnTo>
                      <a:pt x="2580" y="2880"/>
                    </a:lnTo>
                    <a:lnTo>
                      <a:pt x="2592" y="2880"/>
                    </a:lnTo>
                    <a:lnTo>
                      <a:pt x="2598" y="2886"/>
                    </a:lnTo>
                    <a:lnTo>
                      <a:pt x="2610" y="2880"/>
                    </a:lnTo>
                    <a:lnTo>
                      <a:pt x="2616" y="2868"/>
                    </a:lnTo>
                    <a:lnTo>
                      <a:pt x="2628" y="2862"/>
                    </a:lnTo>
                    <a:lnTo>
                      <a:pt x="2658" y="2862"/>
                    </a:lnTo>
                    <a:lnTo>
                      <a:pt x="2658" y="2856"/>
                    </a:lnTo>
                    <a:lnTo>
                      <a:pt x="2664" y="2844"/>
                    </a:lnTo>
                    <a:lnTo>
                      <a:pt x="2676" y="2838"/>
                    </a:lnTo>
                    <a:lnTo>
                      <a:pt x="2682" y="2832"/>
                    </a:lnTo>
                    <a:lnTo>
                      <a:pt x="2754" y="2832"/>
                    </a:lnTo>
                    <a:lnTo>
                      <a:pt x="2766" y="2838"/>
                    </a:lnTo>
                    <a:lnTo>
                      <a:pt x="2790" y="2820"/>
                    </a:lnTo>
                    <a:lnTo>
                      <a:pt x="2856" y="2820"/>
                    </a:lnTo>
                    <a:lnTo>
                      <a:pt x="2862" y="2814"/>
                    </a:lnTo>
                    <a:lnTo>
                      <a:pt x="2862" y="2790"/>
                    </a:lnTo>
                    <a:lnTo>
                      <a:pt x="2844" y="2796"/>
                    </a:lnTo>
                    <a:lnTo>
                      <a:pt x="2832" y="2796"/>
                    </a:lnTo>
                    <a:lnTo>
                      <a:pt x="2826" y="2790"/>
                    </a:lnTo>
                    <a:lnTo>
                      <a:pt x="2826" y="2784"/>
                    </a:lnTo>
                    <a:lnTo>
                      <a:pt x="2832" y="2772"/>
                    </a:lnTo>
                    <a:lnTo>
                      <a:pt x="2850" y="2754"/>
                    </a:lnTo>
                    <a:lnTo>
                      <a:pt x="2868" y="2742"/>
                    </a:lnTo>
                    <a:lnTo>
                      <a:pt x="2880" y="2736"/>
                    </a:lnTo>
                    <a:lnTo>
                      <a:pt x="2910" y="2736"/>
                    </a:lnTo>
                    <a:lnTo>
                      <a:pt x="2928" y="2730"/>
                    </a:lnTo>
                    <a:lnTo>
                      <a:pt x="2952" y="2730"/>
                    </a:lnTo>
                    <a:lnTo>
                      <a:pt x="2964" y="2724"/>
                    </a:lnTo>
                    <a:lnTo>
                      <a:pt x="2970" y="2724"/>
                    </a:lnTo>
                    <a:lnTo>
                      <a:pt x="2976" y="2718"/>
                    </a:lnTo>
                    <a:lnTo>
                      <a:pt x="2982" y="2718"/>
                    </a:lnTo>
                    <a:lnTo>
                      <a:pt x="2994" y="2724"/>
                    </a:lnTo>
                    <a:lnTo>
                      <a:pt x="3000" y="2724"/>
                    </a:lnTo>
                    <a:lnTo>
                      <a:pt x="3012" y="2730"/>
                    </a:lnTo>
                    <a:lnTo>
                      <a:pt x="3018" y="2736"/>
                    </a:lnTo>
                    <a:lnTo>
                      <a:pt x="3024" y="2736"/>
                    </a:lnTo>
                    <a:lnTo>
                      <a:pt x="3030" y="2730"/>
                    </a:lnTo>
                    <a:lnTo>
                      <a:pt x="3030" y="2712"/>
                    </a:lnTo>
                    <a:lnTo>
                      <a:pt x="3036" y="2706"/>
                    </a:lnTo>
                    <a:lnTo>
                      <a:pt x="3048" y="2700"/>
                    </a:lnTo>
                    <a:lnTo>
                      <a:pt x="3060" y="2700"/>
                    </a:lnTo>
                    <a:lnTo>
                      <a:pt x="3066" y="2706"/>
                    </a:lnTo>
                    <a:lnTo>
                      <a:pt x="3072" y="2706"/>
                    </a:lnTo>
                    <a:lnTo>
                      <a:pt x="3072" y="2700"/>
                    </a:lnTo>
                    <a:lnTo>
                      <a:pt x="3102" y="2700"/>
                    </a:lnTo>
                    <a:lnTo>
                      <a:pt x="3114" y="2688"/>
                    </a:lnTo>
                    <a:lnTo>
                      <a:pt x="3126" y="2682"/>
                    </a:lnTo>
                    <a:lnTo>
                      <a:pt x="3150" y="2658"/>
                    </a:lnTo>
                    <a:lnTo>
                      <a:pt x="3162" y="2652"/>
                    </a:lnTo>
                    <a:lnTo>
                      <a:pt x="3174" y="2640"/>
                    </a:lnTo>
                    <a:lnTo>
                      <a:pt x="3408" y="2640"/>
                    </a:lnTo>
                    <a:lnTo>
                      <a:pt x="3408" y="2634"/>
                    </a:lnTo>
                    <a:lnTo>
                      <a:pt x="3420" y="2622"/>
                    </a:lnTo>
                    <a:lnTo>
                      <a:pt x="3438" y="2622"/>
                    </a:lnTo>
                    <a:lnTo>
                      <a:pt x="3450" y="2616"/>
                    </a:lnTo>
                    <a:lnTo>
                      <a:pt x="3456" y="2616"/>
                    </a:lnTo>
                    <a:lnTo>
                      <a:pt x="3456" y="2610"/>
                    </a:lnTo>
                    <a:lnTo>
                      <a:pt x="3468" y="2598"/>
                    </a:lnTo>
                    <a:lnTo>
                      <a:pt x="3480" y="2592"/>
                    </a:lnTo>
                    <a:lnTo>
                      <a:pt x="3486" y="2586"/>
                    </a:lnTo>
                    <a:lnTo>
                      <a:pt x="3498" y="2586"/>
                    </a:lnTo>
                    <a:lnTo>
                      <a:pt x="3504" y="2592"/>
                    </a:lnTo>
                    <a:lnTo>
                      <a:pt x="3510" y="2592"/>
                    </a:lnTo>
                    <a:lnTo>
                      <a:pt x="3510" y="2568"/>
                    </a:lnTo>
                    <a:lnTo>
                      <a:pt x="3516" y="2556"/>
                    </a:lnTo>
                    <a:lnTo>
                      <a:pt x="3528" y="2544"/>
                    </a:lnTo>
                    <a:lnTo>
                      <a:pt x="3534" y="2544"/>
                    </a:lnTo>
                    <a:lnTo>
                      <a:pt x="3546" y="2532"/>
                    </a:lnTo>
                    <a:lnTo>
                      <a:pt x="3546" y="2508"/>
                    </a:lnTo>
                    <a:lnTo>
                      <a:pt x="3588" y="2484"/>
                    </a:lnTo>
                    <a:lnTo>
                      <a:pt x="3594" y="2472"/>
                    </a:lnTo>
                    <a:lnTo>
                      <a:pt x="3618" y="2448"/>
                    </a:lnTo>
                    <a:lnTo>
                      <a:pt x="3630" y="2448"/>
                    </a:lnTo>
                    <a:lnTo>
                      <a:pt x="3636" y="2454"/>
                    </a:lnTo>
                    <a:lnTo>
                      <a:pt x="3636" y="2460"/>
                    </a:lnTo>
                    <a:lnTo>
                      <a:pt x="3642" y="2466"/>
                    </a:lnTo>
                    <a:lnTo>
                      <a:pt x="3654" y="2466"/>
                    </a:lnTo>
                    <a:lnTo>
                      <a:pt x="3666" y="2460"/>
                    </a:lnTo>
                    <a:lnTo>
                      <a:pt x="3702" y="2460"/>
                    </a:lnTo>
                    <a:lnTo>
                      <a:pt x="3708" y="2466"/>
                    </a:lnTo>
                    <a:lnTo>
                      <a:pt x="3708" y="2472"/>
                    </a:lnTo>
                    <a:lnTo>
                      <a:pt x="3702" y="2496"/>
                    </a:lnTo>
                    <a:lnTo>
                      <a:pt x="3690" y="2520"/>
                    </a:lnTo>
                    <a:lnTo>
                      <a:pt x="3678" y="2550"/>
                    </a:lnTo>
                    <a:lnTo>
                      <a:pt x="3666" y="2574"/>
                    </a:lnTo>
                    <a:lnTo>
                      <a:pt x="3666" y="2586"/>
                    </a:lnTo>
                    <a:lnTo>
                      <a:pt x="3672" y="2592"/>
                    </a:lnTo>
                    <a:lnTo>
                      <a:pt x="3678" y="2592"/>
                    </a:lnTo>
                    <a:lnTo>
                      <a:pt x="3684" y="2598"/>
                    </a:lnTo>
                    <a:lnTo>
                      <a:pt x="3672" y="2610"/>
                    </a:lnTo>
                    <a:lnTo>
                      <a:pt x="3666" y="2622"/>
                    </a:lnTo>
                    <a:lnTo>
                      <a:pt x="3666" y="2628"/>
                    </a:lnTo>
                    <a:lnTo>
                      <a:pt x="3690" y="2628"/>
                    </a:lnTo>
                    <a:lnTo>
                      <a:pt x="3690" y="2634"/>
                    </a:lnTo>
                    <a:lnTo>
                      <a:pt x="3696" y="2640"/>
                    </a:lnTo>
                    <a:lnTo>
                      <a:pt x="3714" y="2640"/>
                    </a:lnTo>
                    <a:lnTo>
                      <a:pt x="3750" y="2622"/>
                    </a:lnTo>
                    <a:lnTo>
                      <a:pt x="3768" y="2604"/>
                    </a:lnTo>
                    <a:lnTo>
                      <a:pt x="3780" y="2622"/>
                    </a:lnTo>
                    <a:lnTo>
                      <a:pt x="3786" y="2622"/>
                    </a:lnTo>
                    <a:lnTo>
                      <a:pt x="3792" y="2616"/>
                    </a:lnTo>
                    <a:lnTo>
                      <a:pt x="3816" y="2604"/>
                    </a:lnTo>
                    <a:lnTo>
                      <a:pt x="3828" y="2604"/>
                    </a:lnTo>
                    <a:lnTo>
                      <a:pt x="3840" y="2592"/>
                    </a:lnTo>
                    <a:lnTo>
                      <a:pt x="3852" y="2592"/>
                    </a:lnTo>
                    <a:lnTo>
                      <a:pt x="3864" y="2580"/>
                    </a:lnTo>
                    <a:lnTo>
                      <a:pt x="3870" y="2580"/>
                    </a:lnTo>
                    <a:lnTo>
                      <a:pt x="3888" y="2586"/>
                    </a:lnTo>
                    <a:lnTo>
                      <a:pt x="3846" y="2616"/>
                    </a:lnTo>
                    <a:lnTo>
                      <a:pt x="3936" y="2610"/>
                    </a:lnTo>
                    <a:lnTo>
                      <a:pt x="3918" y="2610"/>
                    </a:lnTo>
                    <a:lnTo>
                      <a:pt x="3906" y="2616"/>
                    </a:lnTo>
                    <a:lnTo>
                      <a:pt x="3894" y="2616"/>
                    </a:lnTo>
                    <a:lnTo>
                      <a:pt x="3888" y="2622"/>
                    </a:lnTo>
                    <a:lnTo>
                      <a:pt x="3888" y="2634"/>
                    </a:lnTo>
                    <a:lnTo>
                      <a:pt x="3882" y="2640"/>
                    </a:lnTo>
                    <a:lnTo>
                      <a:pt x="3876" y="2640"/>
                    </a:lnTo>
                    <a:lnTo>
                      <a:pt x="3870" y="2634"/>
                    </a:lnTo>
                    <a:lnTo>
                      <a:pt x="3864" y="2634"/>
                    </a:lnTo>
                    <a:lnTo>
                      <a:pt x="3852" y="2628"/>
                    </a:lnTo>
                    <a:lnTo>
                      <a:pt x="3846" y="2628"/>
                    </a:lnTo>
                    <a:lnTo>
                      <a:pt x="3828" y="2634"/>
                    </a:lnTo>
                    <a:lnTo>
                      <a:pt x="3738" y="2688"/>
                    </a:lnTo>
                    <a:lnTo>
                      <a:pt x="3726" y="2700"/>
                    </a:lnTo>
                    <a:lnTo>
                      <a:pt x="3720" y="2712"/>
                    </a:lnTo>
                    <a:lnTo>
                      <a:pt x="3720" y="2748"/>
                    </a:lnTo>
                    <a:lnTo>
                      <a:pt x="3726" y="2748"/>
                    </a:lnTo>
                    <a:lnTo>
                      <a:pt x="3732" y="2742"/>
                    </a:lnTo>
                    <a:lnTo>
                      <a:pt x="3738" y="2742"/>
                    </a:lnTo>
                    <a:lnTo>
                      <a:pt x="3738" y="2754"/>
                    </a:lnTo>
                    <a:lnTo>
                      <a:pt x="3744" y="2760"/>
                    </a:lnTo>
                    <a:lnTo>
                      <a:pt x="3756" y="2760"/>
                    </a:lnTo>
                    <a:lnTo>
                      <a:pt x="3762" y="2754"/>
                    </a:lnTo>
                    <a:lnTo>
                      <a:pt x="3768" y="2742"/>
                    </a:lnTo>
                    <a:lnTo>
                      <a:pt x="3774" y="2736"/>
                    </a:lnTo>
                    <a:lnTo>
                      <a:pt x="3786" y="2736"/>
                    </a:lnTo>
                    <a:lnTo>
                      <a:pt x="3804" y="2730"/>
                    </a:lnTo>
                    <a:lnTo>
                      <a:pt x="3816" y="2724"/>
                    </a:lnTo>
                    <a:lnTo>
                      <a:pt x="3834" y="2718"/>
                    </a:lnTo>
                    <a:lnTo>
                      <a:pt x="3846" y="2706"/>
                    </a:lnTo>
                    <a:lnTo>
                      <a:pt x="3852" y="2694"/>
                    </a:lnTo>
                    <a:lnTo>
                      <a:pt x="3870" y="2676"/>
                    </a:lnTo>
                    <a:lnTo>
                      <a:pt x="3876" y="2664"/>
                    </a:lnTo>
                    <a:lnTo>
                      <a:pt x="3876" y="2670"/>
                    </a:lnTo>
                    <a:lnTo>
                      <a:pt x="3882" y="2682"/>
                    </a:lnTo>
                    <a:lnTo>
                      <a:pt x="3888" y="2688"/>
                    </a:lnTo>
                    <a:lnTo>
                      <a:pt x="3894" y="2688"/>
                    </a:lnTo>
                    <a:lnTo>
                      <a:pt x="3930" y="2676"/>
                    </a:lnTo>
                    <a:lnTo>
                      <a:pt x="3954" y="2664"/>
                    </a:lnTo>
                    <a:lnTo>
                      <a:pt x="3972" y="2658"/>
                    </a:lnTo>
                    <a:lnTo>
                      <a:pt x="3984" y="2652"/>
                    </a:lnTo>
                    <a:lnTo>
                      <a:pt x="4008" y="2646"/>
                    </a:lnTo>
                    <a:lnTo>
                      <a:pt x="4068" y="2634"/>
                    </a:lnTo>
                    <a:lnTo>
                      <a:pt x="4080" y="2628"/>
                    </a:lnTo>
                    <a:lnTo>
                      <a:pt x="4068" y="2616"/>
                    </a:lnTo>
                    <a:lnTo>
                      <a:pt x="4074" y="2598"/>
                    </a:lnTo>
                    <a:lnTo>
                      <a:pt x="4038" y="2604"/>
                    </a:lnTo>
                    <a:lnTo>
                      <a:pt x="4038" y="2580"/>
                    </a:lnTo>
                    <a:lnTo>
                      <a:pt x="4026" y="2586"/>
                    </a:lnTo>
                    <a:lnTo>
                      <a:pt x="4020" y="2586"/>
                    </a:lnTo>
                    <a:lnTo>
                      <a:pt x="4008" y="2592"/>
                    </a:lnTo>
                    <a:lnTo>
                      <a:pt x="4002" y="2598"/>
                    </a:lnTo>
                    <a:lnTo>
                      <a:pt x="3990" y="2598"/>
                    </a:lnTo>
                    <a:lnTo>
                      <a:pt x="3990" y="2580"/>
                    </a:lnTo>
                    <a:lnTo>
                      <a:pt x="3930" y="2580"/>
                    </a:lnTo>
                    <a:lnTo>
                      <a:pt x="3924" y="2574"/>
                    </a:lnTo>
                    <a:lnTo>
                      <a:pt x="3924" y="2568"/>
                    </a:lnTo>
                    <a:lnTo>
                      <a:pt x="3918" y="2562"/>
                    </a:lnTo>
                    <a:lnTo>
                      <a:pt x="3918" y="2556"/>
                    </a:lnTo>
                    <a:lnTo>
                      <a:pt x="3930" y="2556"/>
                    </a:lnTo>
                    <a:lnTo>
                      <a:pt x="3918" y="2544"/>
                    </a:lnTo>
                    <a:lnTo>
                      <a:pt x="3888" y="2544"/>
                    </a:lnTo>
                    <a:lnTo>
                      <a:pt x="3882" y="2532"/>
                    </a:lnTo>
                    <a:lnTo>
                      <a:pt x="3882" y="2526"/>
                    </a:lnTo>
                    <a:lnTo>
                      <a:pt x="3876" y="2514"/>
                    </a:lnTo>
                    <a:lnTo>
                      <a:pt x="3876" y="2502"/>
                    </a:lnTo>
                    <a:lnTo>
                      <a:pt x="3894" y="2484"/>
                    </a:lnTo>
                    <a:lnTo>
                      <a:pt x="3870" y="2484"/>
                    </a:lnTo>
                    <a:lnTo>
                      <a:pt x="3876" y="2478"/>
                    </a:lnTo>
                    <a:lnTo>
                      <a:pt x="3888" y="2472"/>
                    </a:lnTo>
                    <a:lnTo>
                      <a:pt x="3894" y="2460"/>
                    </a:lnTo>
                    <a:lnTo>
                      <a:pt x="3906" y="2454"/>
                    </a:lnTo>
                    <a:lnTo>
                      <a:pt x="3918" y="2442"/>
                    </a:lnTo>
                    <a:lnTo>
                      <a:pt x="3924" y="2430"/>
                    </a:lnTo>
                    <a:lnTo>
                      <a:pt x="3936" y="2424"/>
                    </a:lnTo>
                    <a:lnTo>
                      <a:pt x="3942" y="2412"/>
                    </a:lnTo>
                    <a:lnTo>
                      <a:pt x="3948" y="2406"/>
                    </a:lnTo>
                    <a:lnTo>
                      <a:pt x="3936" y="2400"/>
                    </a:lnTo>
                    <a:lnTo>
                      <a:pt x="3912" y="2430"/>
                    </a:lnTo>
                    <a:lnTo>
                      <a:pt x="3894" y="2418"/>
                    </a:lnTo>
                    <a:lnTo>
                      <a:pt x="3864" y="2436"/>
                    </a:lnTo>
                    <a:lnTo>
                      <a:pt x="3858" y="2418"/>
                    </a:lnTo>
                    <a:lnTo>
                      <a:pt x="3828" y="2406"/>
                    </a:lnTo>
                    <a:lnTo>
                      <a:pt x="3810" y="2412"/>
                    </a:lnTo>
                    <a:lnTo>
                      <a:pt x="3864" y="2394"/>
                    </a:lnTo>
                    <a:lnTo>
                      <a:pt x="3870" y="2400"/>
                    </a:lnTo>
                    <a:lnTo>
                      <a:pt x="3882" y="2406"/>
                    </a:lnTo>
                    <a:lnTo>
                      <a:pt x="3900" y="2406"/>
                    </a:lnTo>
                    <a:lnTo>
                      <a:pt x="3918" y="2388"/>
                    </a:lnTo>
                    <a:lnTo>
                      <a:pt x="3930" y="2382"/>
                    </a:lnTo>
                    <a:lnTo>
                      <a:pt x="3936" y="2376"/>
                    </a:lnTo>
                    <a:lnTo>
                      <a:pt x="3978" y="2376"/>
                    </a:lnTo>
                    <a:lnTo>
                      <a:pt x="3978" y="2364"/>
                    </a:lnTo>
                    <a:lnTo>
                      <a:pt x="3972" y="2358"/>
                    </a:lnTo>
                    <a:lnTo>
                      <a:pt x="3966" y="2346"/>
                    </a:lnTo>
                    <a:lnTo>
                      <a:pt x="3990" y="2346"/>
                    </a:lnTo>
                    <a:lnTo>
                      <a:pt x="3978" y="2334"/>
                    </a:lnTo>
                    <a:lnTo>
                      <a:pt x="3972" y="2322"/>
                    </a:lnTo>
                    <a:lnTo>
                      <a:pt x="3960" y="2316"/>
                    </a:lnTo>
                    <a:lnTo>
                      <a:pt x="3942" y="2310"/>
                    </a:lnTo>
                    <a:lnTo>
                      <a:pt x="3918" y="2310"/>
                    </a:lnTo>
                    <a:lnTo>
                      <a:pt x="3852" y="2316"/>
                    </a:lnTo>
                    <a:lnTo>
                      <a:pt x="3792" y="2334"/>
                    </a:lnTo>
                    <a:lnTo>
                      <a:pt x="3744" y="2352"/>
                    </a:lnTo>
                    <a:lnTo>
                      <a:pt x="3684" y="2376"/>
                    </a:lnTo>
                    <a:lnTo>
                      <a:pt x="3660" y="2388"/>
                    </a:lnTo>
                    <a:lnTo>
                      <a:pt x="3642" y="2400"/>
                    </a:lnTo>
                    <a:lnTo>
                      <a:pt x="3624" y="2418"/>
                    </a:lnTo>
                    <a:lnTo>
                      <a:pt x="3606" y="2430"/>
                    </a:lnTo>
                    <a:lnTo>
                      <a:pt x="3594" y="2442"/>
                    </a:lnTo>
                    <a:lnTo>
                      <a:pt x="3576" y="2454"/>
                    </a:lnTo>
                    <a:lnTo>
                      <a:pt x="3564" y="2466"/>
                    </a:lnTo>
                    <a:lnTo>
                      <a:pt x="3528" y="2484"/>
                    </a:lnTo>
                    <a:lnTo>
                      <a:pt x="3516" y="2484"/>
                    </a:lnTo>
                    <a:lnTo>
                      <a:pt x="3498" y="2490"/>
                    </a:lnTo>
                    <a:lnTo>
                      <a:pt x="3486" y="2490"/>
                    </a:lnTo>
                    <a:lnTo>
                      <a:pt x="3492" y="2490"/>
                    </a:lnTo>
                    <a:lnTo>
                      <a:pt x="3498" y="2484"/>
                    </a:lnTo>
                    <a:lnTo>
                      <a:pt x="3510" y="2478"/>
                    </a:lnTo>
                    <a:lnTo>
                      <a:pt x="3522" y="2466"/>
                    </a:lnTo>
                    <a:lnTo>
                      <a:pt x="3540" y="2460"/>
                    </a:lnTo>
                    <a:lnTo>
                      <a:pt x="3552" y="2448"/>
                    </a:lnTo>
                    <a:lnTo>
                      <a:pt x="3576" y="2436"/>
                    </a:lnTo>
                    <a:lnTo>
                      <a:pt x="3600" y="2412"/>
                    </a:lnTo>
                    <a:lnTo>
                      <a:pt x="3606" y="2400"/>
                    </a:lnTo>
                    <a:lnTo>
                      <a:pt x="3582" y="2388"/>
                    </a:lnTo>
                    <a:lnTo>
                      <a:pt x="3588" y="2388"/>
                    </a:lnTo>
                    <a:lnTo>
                      <a:pt x="3594" y="2394"/>
                    </a:lnTo>
                    <a:lnTo>
                      <a:pt x="3624" y="2394"/>
                    </a:lnTo>
                    <a:lnTo>
                      <a:pt x="3642" y="2382"/>
                    </a:lnTo>
                    <a:lnTo>
                      <a:pt x="3702" y="2334"/>
                    </a:lnTo>
                    <a:lnTo>
                      <a:pt x="3750" y="2310"/>
                    </a:lnTo>
                    <a:lnTo>
                      <a:pt x="3768" y="2304"/>
                    </a:lnTo>
                    <a:lnTo>
                      <a:pt x="3804" y="2304"/>
                    </a:lnTo>
                    <a:lnTo>
                      <a:pt x="3852" y="2256"/>
                    </a:lnTo>
                    <a:lnTo>
                      <a:pt x="3870" y="2244"/>
                    </a:lnTo>
                    <a:lnTo>
                      <a:pt x="3888" y="2238"/>
                    </a:lnTo>
                    <a:lnTo>
                      <a:pt x="3936" y="2232"/>
                    </a:lnTo>
                    <a:lnTo>
                      <a:pt x="3990" y="2232"/>
                    </a:lnTo>
                    <a:lnTo>
                      <a:pt x="4044" y="2226"/>
                    </a:lnTo>
                    <a:lnTo>
                      <a:pt x="4074" y="2226"/>
                    </a:lnTo>
                    <a:lnTo>
                      <a:pt x="4104" y="2232"/>
                    </a:lnTo>
                    <a:lnTo>
                      <a:pt x="4176" y="2244"/>
                    </a:lnTo>
                    <a:lnTo>
                      <a:pt x="4200" y="2250"/>
                    </a:lnTo>
                    <a:lnTo>
                      <a:pt x="4212" y="2244"/>
                    </a:lnTo>
                    <a:lnTo>
                      <a:pt x="4248" y="2232"/>
                    </a:lnTo>
                    <a:lnTo>
                      <a:pt x="4260" y="2226"/>
                    </a:lnTo>
                    <a:lnTo>
                      <a:pt x="4278" y="2226"/>
                    </a:lnTo>
                    <a:lnTo>
                      <a:pt x="4296" y="2220"/>
                    </a:lnTo>
                    <a:lnTo>
                      <a:pt x="4320" y="2214"/>
                    </a:lnTo>
                    <a:lnTo>
                      <a:pt x="4338" y="2208"/>
                    </a:lnTo>
                    <a:lnTo>
                      <a:pt x="4374" y="2172"/>
                    </a:lnTo>
                    <a:lnTo>
                      <a:pt x="4392" y="2166"/>
                    </a:lnTo>
                    <a:lnTo>
                      <a:pt x="4404" y="2154"/>
                    </a:lnTo>
                    <a:lnTo>
                      <a:pt x="4410" y="2154"/>
                    </a:lnTo>
                    <a:lnTo>
                      <a:pt x="4422" y="2148"/>
                    </a:lnTo>
                    <a:lnTo>
                      <a:pt x="4452" y="2148"/>
                    </a:lnTo>
                    <a:lnTo>
                      <a:pt x="4458" y="2142"/>
                    </a:lnTo>
                    <a:lnTo>
                      <a:pt x="4470" y="2136"/>
                    </a:lnTo>
                    <a:lnTo>
                      <a:pt x="4476" y="2130"/>
                    </a:lnTo>
                    <a:lnTo>
                      <a:pt x="4494" y="2130"/>
                    </a:lnTo>
                    <a:lnTo>
                      <a:pt x="4500" y="2136"/>
                    </a:lnTo>
                    <a:lnTo>
                      <a:pt x="4518" y="2136"/>
                    </a:lnTo>
                    <a:lnTo>
                      <a:pt x="4530" y="2130"/>
                    </a:lnTo>
                    <a:lnTo>
                      <a:pt x="4536" y="2130"/>
                    </a:lnTo>
                    <a:lnTo>
                      <a:pt x="4542" y="2124"/>
                    </a:lnTo>
                    <a:lnTo>
                      <a:pt x="4596" y="2106"/>
                    </a:lnTo>
                    <a:lnTo>
                      <a:pt x="4620" y="2094"/>
                    </a:lnTo>
                    <a:lnTo>
                      <a:pt x="4620" y="2088"/>
                    </a:lnTo>
                    <a:lnTo>
                      <a:pt x="4614" y="2076"/>
                    </a:lnTo>
                    <a:lnTo>
                      <a:pt x="4602" y="2070"/>
                    </a:lnTo>
                    <a:lnTo>
                      <a:pt x="4584" y="2052"/>
                    </a:lnTo>
                    <a:lnTo>
                      <a:pt x="4578" y="2052"/>
                    </a:lnTo>
                    <a:lnTo>
                      <a:pt x="4602" y="2052"/>
                    </a:lnTo>
                    <a:lnTo>
                      <a:pt x="4614" y="2046"/>
                    </a:lnTo>
                    <a:lnTo>
                      <a:pt x="4614" y="2028"/>
                    </a:lnTo>
                    <a:lnTo>
                      <a:pt x="4608" y="2022"/>
                    </a:lnTo>
                    <a:lnTo>
                      <a:pt x="4608" y="2010"/>
                    </a:lnTo>
                    <a:lnTo>
                      <a:pt x="4632" y="2010"/>
                    </a:lnTo>
                    <a:lnTo>
                      <a:pt x="4644" y="1998"/>
                    </a:lnTo>
                    <a:lnTo>
                      <a:pt x="4644" y="1992"/>
                    </a:lnTo>
                    <a:lnTo>
                      <a:pt x="4632" y="1980"/>
                    </a:lnTo>
                    <a:lnTo>
                      <a:pt x="4626" y="1968"/>
                    </a:lnTo>
                    <a:lnTo>
                      <a:pt x="4608" y="1962"/>
                    </a:lnTo>
                    <a:lnTo>
                      <a:pt x="4602" y="1956"/>
                    </a:lnTo>
                    <a:lnTo>
                      <a:pt x="4590" y="1962"/>
                    </a:lnTo>
                    <a:close/>
                  </a:path>
                </a:pathLst>
              </a:custGeom>
              <a:solidFill>
                <a:srgbClr val="9D90A0">
                  <a:lumMod val="40000"/>
                  <a:lumOff val="60000"/>
                </a:srgbClr>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55" name="Brazil" descr="© INSCALE GmbH, 05.05.2010&#10;http://www.presentationload.com/">
                <a:extLst>
                  <a:ext uri="{FF2B5EF4-FFF2-40B4-BE49-F238E27FC236}">
                    <a16:creationId xmlns:a16="http://schemas.microsoft.com/office/drawing/2014/main" id="{D96DC8B3-B469-45E6-B68C-62E09901B552}"/>
                  </a:ext>
                </a:extLst>
              </p:cNvPr>
              <p:cNvSpPr>
                <a:spLocks noEditPoints="1"/>
              </p:cNvSpPr>
              <p:nvPr/>
            </p:nvSpPr>
            <p:spPr bwMode="gray">
              <a:xfrm>
                <a:off x="2136901" y="4365171"/>
                <a:ext cx="1101297" cy="1384427"/>
              </a:xfrm>
              <a:custGeom>
                <a:avLst/>
                <a:gdLst>
                  <a:gd name="T0" fmla="*/ 2147483647 w 2784"/>
                  <a:gd name="T1" fmla="*/ 2147483647 h 3150"/>
                  <a:gd name="T2" fmla="*/ 2147483647 w 2784"/>
                  <a:gd name="T3" fmla="*/ 2147483647 h 3150"/>
                  <a:gd name="T4" fmla="*/ 2147483647 w 2784"/>
                  <a:gd name="T5" fmla="*/ 2147483647 h 3150"/>
                  <a:gd name="T6" fmla="*/ 2147483647 w 2784"/>
                  <a:gd name="T7" fmla="*/ 2147483647 h 3150"/>
                  <a:gd name="T8" fmla="*/ 2147483647 w 2784"/>
                  <a:gd name="T9" fmla="*/ 2147483647 h 3150"/>
                  <a:gd name="T10" fmla="*/ 2147483647 w 2784"/>
                  <a:gd name="T11" fmla="*/ 2147483647 h 3150"/>
                  <a:gd name="T12" fmla="*/ 2147483647 w 2784"/>
                  <a:gd name="T13" fmla="*/ 2147483647 h 3150"/>
                  <a:gd name="T14" fmla="*/ 2147483647 w 2784"/>
                  <a:gd name="T15" fmla="*/ 2147483647 h 3150"/>
                  <a:gd name="T16" fmla="*/ 2147483647 w 2784"/>
                  <a:gd name="T17" fmla="*/ 2147483647 h 3150"/>
                  <a:gd name="T18" fmla="*/ 2147483647 w 2784"/>
                  <a:gd name="T19" fmla="*/ 2147483647 h 3150"/>
                  <a:gd name="T20" fmla="*/ 2147483647 w 2784"/>
                  <a:gd name="T21" fmla="*/ 2147483647 h 3150"/>
                  <a:gd name="T22" fmla="*/ 2147483647 w 2784"/>
                  <a:gd name="T23" fmla="*/ 2147483647 h 3150"/>
                  <a:gd name="T24" fmla="*/ 2147483647 w 2784"/>
                  <a:gd name="T25" fmla="*/ 2147483647 h 3150"/>
                  <a:gd name="T26" fmla="*/ 2147483647 w 2784"/>
                  <a:gd name="T27" fmla="*/ 2147483647 h 3150"/>
                  <a:gd name="T28" fmla="*/ 2147483647 w 2784"/>
                  <a:gd name="T29" fmla="*/ 2147483647 h 3150"/>
                  <a:gd name="T30" fmla="*/ 2147483647 w 2784"/>
                  <a:gd name="T31" fmla="*/ 2147483647 h 3150"/>
                  <a:gd name="T32" fmla="*/ 2147483647 w 2784"/>
                  <a:gd name="T33" fmla="*/ 2147483647 h 3150"/>
                  <a:gd name="T34" fmla="*/ 2147483647 w 2784"/>
                  <a:gd name="T35" fmla="*/ 2147483647 h 3150"/>
                  <a:gd name="T36" fmla="*/ 2147483647 w 2784"/>
                  <a:gd name="T37" fmla="*/ 2147483647 h 3150"/>
                  <a:gd name="T38" fmla="*/ 2147483647 w 2784"/>
                  <a:gd name="T39" fmla="*/ 2147483647 h 3150"/>
                  <a:gd name="T40" fmla="*/ 2147483647 w 2784"/>
                  <a:gd name="T41" fmla="*/ 2147483647 h 3150"/>
                  <a:gd name="T42" fmla="*/ 2147483647 w 2784"/>
                  <a:gd name="T43" fmla="*/ 2147483647 h 3150"/>
                  <a:gd name="T44" fmla="*/ 2147483647 w 2784"/>
                  <a:gd name="T45" fmla="*/ 2147483647 h 3150"/>
                  <a:gd name="T46" fmla="*/ 2147483647 w 2784"/>
                  <a:gd name="T47" fmla="*/ 2147483647 h 3150"/>
                  <a:gd name="T48" fmla="*/ 2147483647 w 2784"/>
                  <a:gd name="T49" fmla="*/ 2147483647 h 3150"/>
                  <a:gd name="T50" fmla="*/ 2147483647 w 2784"/>
                  <a:gd name="T51" fmla="*/ 2147483647 h 3150"/>
                  <a:gd name="T52" fmla="*/ 2147483647 w 2784"/>
                  <a:gd name="T53" fmla="*/ 2147483647 h 3150"/>
                  <a:gd name="T54" fmla="*/ 2147483647 w 2784"/>
                  <a:gd name="T55" fmla="*/ 2147483647 h 3150"/>
                  <a:gd name="T56" fmla="*/ 2147483647 w 2784"/>
                  <a:gd name="T57" fmla="*/ 2147483647 h 3150"/>
                  <a:gd name="T58" fmla="*/ 2147483647 w 2784"/>
                  <a:gd name="T59" fmla="*/ 2147483647 h 3150"/>
                  <a:gd name="T60" fmla="*/ 2147483647 w 2784"/>
                  <a:gd name="T61" fmla="*/ 2147483647 h 3150"/>
                  <a:gd name="T62" fmla="*/ 2147483647 w 2784"/>
                  <a:gd name="T63" fmla="*/ 2147483647 h 3150"/>
                  <a:gd name="T64" fmla="*/ 2147483647 w 2784"/>
                  <a:gd name="T65" fmla="*/ 2147483647 h 3150"/>
                  <a:gd name="T66" fmla="*/ 2147483647 w 2784"/>
                  <a:gd name="T67" fmla="*/ 2147483647 h 3150"/>
                  <a:gd name="T68" fmla="*/ 2147483647 w 2784"/>
                  <a:gd name="T69" fmla="*/ 2147483647 h 3150"/>
                  <a:gd name="T70" fmla="*/ 2147483647 w 2784"/>
                  <a:gd name="T71" fmla="*/ 2147483647 h 3150"/>
                  <a:gd name="T72" fmla="*/ 2147483647 w 2784"/>
                  <a:gd name="T73" fmla="*/ 2147483647 h 3150"/>
                  <a:gd name="T74" fmla="*/ 2147483647 w 2784"/>
                  <a:gd name="T75" fmla="*/ 2147483647 h 3150"/>
                  <a:gd name="T76" fmla="*/ 2147483647 w 2784"/>
                  <a:gd name="T77" fmla="*/ 2147483647 h 3150"/>
                  <a:gd name="T78" fmla="*/ 2147483647 w 2784"/>
                  <a:gd name="T79" fmla="*/ 2147483647 h 3150"/>
                  <a:gd name="T80" fmla="*/ 2147483647 w 2784"/>
                  <a:gd name="T81" fmla="*/ 2147483647 h 3150"/>
                  <a:gd name="T82" fmla="*/ 2147483647 w 2784"/>
                  <a:gd name="T83" fmla="*/ 2147483647 h 3150"/>
                  <a:gd name="T84" fmla="*/ 2147483647 w 2784"/>
                  <a:gd name="T85" fmla="*/ 2147483647 h 3150"/>
                  <a:gd name="T86" fmla="*/ 2147483647 w 2784"/>
                  <a:gd name="T87" fmla="*/ 2147483647 h 3150"/>
                  <a:gd name="T88" fmla="*/ 2147483647 w 2784"/>
                  <a:gd name="T89" fmla="*/ 2147483647 h 3150"/>
                  <a:gd name="T90" fmla="*/ 2147483647 w 2784"/>
                  <a:gd name="T91" fmla="*/ 2147483647 h 3150"/>
                  <a:gd name="T92" fmla="*/ 2147483647 w 2784"/>
                  <a:gd name="T93" fmla="*/ 2147483647 h 3150"/>
                  <a:gd name="T94" fmla="*/ 2147483647 w 2784"/>
                  <a:gd name="T95" fmla="*/ 2147483647 h 3150"/>
                  <a:gd name="T96" fmla="*/ 2147483647 w 2784"/>
                  <a:gd name="T97" fmla="*/ 2147483647 h 3150"/>
                  <a:gd name="T98" fmla="*/ 2147483647 w 2784"/>
                  <a:gd name="T99" fmla="*/ 2147483647 h 3150"/>
                  <a:gd name="T100" fmla="*/ 2147483647 w 2784"/>
                  <a:gd name="T101" fmla="*/ 2147483647 h 3150"/>
                  <a:gd name="T102" fmla="*/ 2147483647 w 2784"/>
                  <a:gd name="T103" fmla="*/ 2147483647 h 3150"/>
                  <a:gd name="T104" fmla="*/ 2147483647 w 2784"/>
                  <a:gd name="T105" fmla="*/ 2147483647 h 3150"/>
                  <a:gd name="T106" fmla="*/ 2147483647 w 2784"/>
                  <a:gd name="T107" fmla="*/ 2147483647 h 3150"/>
                  <a:gd name="T108" fmla="*/ 2147483647 w 2784"/>
                  <a:gd name="T109" fmla="*/ 2147483647 h 3150"/>
                  <a:gd name="T110" fmla="*/ 2147483647 w 2784"/>
                  <a:gd name="T111" fmla="*/ 2147483647 h 3150"/>
                  <a:gd name="T112" fmla="*/ 2147483647 w 2784"/>
                  <a:gd name="T113" fmla="*/ 2147483647 h 3150"/>
                  <a:gd name="T114" fmla="*/ 2147483647 w 2784"/>
                  <a:gd name="T115" fmla="*/ 2147483647 h 3150"/>
                  <a:gd name="T116" fmla="*/ 2147483647 w 2784"/>
                  <a:gd name="T117" fmla="*/ 2147483647 h 3150"/>
                  <a:gd name="T118" fmla="*/ 2147483647 w 2784"/>
                  <a:gd name="T119" fmla="*/ 2147483647 h 315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784"/>
                  <a:gd name="T181" fmla="*/ 0 h 3150"/>
                  <a:gd name="T182" fmla="*/ 2784 w 2784"/>
                  <a:gd name="T183" fmla="*/ 3150 h 315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784" h="3150">
                    <a:moveTo>
                      <a:pt x="1716" y="450"/>
                    </a:moveTo>
                    <a:lnTo>
                      <a:pt x="1710" y="450"/>
                    </a:lnTo>
                    <a:lnTo>
                      <a:pt x="1698" y="444"/>
                    </a:lnTo>
                    <a:lnTo>
                      <a:pt x="1680" y="444"/>
                    </a:lnTo>
                    <a:lnTo>
                      <a:pt x="1662" y="438"/>
                    </a:lnTo>
                    <a:lnTo>
                      <a:pt x="1650" y="438"/>
                    </a:lnTo>
                    <a:lnTo>
                      <a:pt x="1644" y="444"/>
                    </a:lnTo>
                    <a:lnTo>
                      <a:pt x="1644" y="450"/>
                    </a:lnTo>
                    <a:lnTo>
                      <a:pt x="1650" y="462"/>
                    </a:lnTo>
                    <a:lnTo>
                      <a:pt x="1650" y="468"/>
                    </a:lnTo>
                    <a:lnTo>
                      <a:pt x="1656" y="480"/>
                    </a:lnTo>
                    <a:lnTo>
                      <a:pt x="1638" y="480"/>
                    </a:lnTo>
                    <a:lnTo>
                      <a:pt x="1638" y="504"/>
                    </a:lnTo>
                    <a:lnTo>
                      <a:pt x="1656" y="516"/>
                    </a:lnTo>
                    <a:lnTo>
                      <a:pt x="1644" y="528"/>
                    </a:lnTo>
                    <a:lnTo>
                      <a:pt x="1644" y="540"/>
                    </a:lnTo>
                    <a:lnTo>
                      <a:pt x="1656" y="564"/>
                    </a:lnTo>
                    <a:lnTo>
                      <a:pt x="1668" y="570"/>
                    </a:lnTo>
                    <a:lnTo>
                      <a:pt x="1674" y="576"/>
                    </a:lnTo>
                    <a:lnTo>
                      <a:pt x="1686" y="576"/>
                    </a:lnTo>
                    <a:lnTo>
                      <a:pt x="1698" y="570"/>
                    </a:lnTo>
                    <a:lnTo>
                      <a:pt x="1710" y="570"/>
                    </a:lnTo>
                    <a:lnTo>
                      <a:pt x="1716" y="564"/>
                    </a:lnTo>
                    <a:lnTo>
                      <a:pt x="1716" y="558"/>
                    </a:lnTo>
                    <a:lnTo>
                      <a:pt x="1728" y="558"/>
                    </a:lnTo>
                    <a:lnTo>
                      <a:pt x="1740" y="552"/>
                    </a:lnTo>
                    <a:lnTo>
                      <a:pt x="1758" y="552"/>
                    </a:lnTo>
                    <a:lnTo>
                      <a:pt x="1770" y="546"/>
                    </a:lnTo>
                    <a:lnTo>
                      <a:pt x="1776" y="534"/>
                    </a:lnTo>
                    <a:lnTo>
                      <a:pt x="1788" y="492"/>
                    </a:lnTo>
                    <a:lnTo>
                      <a:pt x="1794" y="480"/>
                    </a:lnTo>
                    <a:lnTo>
                      <a:pt x="1794" y="474"/>
                    </a:lnTo>
                    <a:lnTo>
                      <a:pt x="1800" y="462"/>
                    </a:lnTo>
                    <a:lnTo>
                      <a:pt x="1800" y="444"/>
                    </a:lnTo>
                    <a:lnTo>
                      <a:pt x="1794" y="438"/>
                    </a:lnTo>
                    <a:lnTo>
                      <a:pt x="1752" y="438"/>
                    </a:lnTo>
                    <a:lnTo>
                      <a:pt x="1740" y="444"/>
                    </a:lnTo>
                    <a:lnTo>
                      <a:pt x="1734" y="444"/>
                    </a:lnTo>
                    <a:lnTo>
                      <a:pt x="1722" y="450"/>
                    </a:lnTo>
                    <a:lnTo>
                      <a:pt x="1716" y="450"/>
                    </a:lnTo>
                    <a:close/>
                    <a:moveTo>
                      <a:pt x="1716" y="438"/>
                    </a:moveTo>
                    <a:lnTo>
                      <a:pt x="1740" y="432"/>
                    </a:lnTo>
                    <a:lnTo>
                      <a:pt x="1722" y="414"/>
                    </a:lnTo>
                    <a:lnTo>
                      <a:pt x="1698" y="438"/>
                    </a:lnTo>
                    <a:lnTo>
                      <a:pt x="1716" y="438"/>
                    </a:lnTo>
                    <a:close/>
                    <a:moveTo>
                      <a:pt x="1686" y="408"/>
                    </a:moveTo>
                    <a:lnTo>
                      <a:pt x="1662" y="408"/>
                    </a:lnTo>
                    <a:lnTo>
                      <a:pt x="1662" y="426"/>
                    </a:lnTo>
                    <a:lnTo>
                      <a:pt x="1698" y="426"/>
                    </a:lnTo>
                    <a:lnTo>
                      <a:pt x="1716" y="402"/>
                    </a:lnTo>
                    <a:lnTo>
                      <a:pt x="1698" y="384"/>
                    </a:lnTo>
                    <a:lnTo>
                      <a:pt x="1686" y="408"/>
                    </a:lnTo>
                    <a:close/>
                    <a:moveTo>
                      <a:pt x="1572" y="492"/>
                    </a:moveTo>
                    <a:lnTo>
                      <a:pt x="1572" y="510"/>
                    </a:lnTo>
                    <a:lnTo>
                      <a:pt x="1554" y="546"/>
                    </a:lnTo>
                    <a:lnTo>
                      <a:pt x="1584" y="528"/>
                    </a:lnTo>
                    <a:lnTo>
                      <a:pt x="1590" y="516"/>
                    </a:lnTo>
                    <a:lnTo>
                      <a:pt x="1596" y="510"/>
                    </a:lnTo>
                    <a:lnTo>
                      <a:pt x="1608" y="486"/>
                    </a:lnTo>
                    <a:lnTo>
                      <a:pt x="1608" y="480"/>
                    </a:lnTo>
                    <a:lnTo>
                      <a:pt x="1602" y="474"/>
                    </a:lnTo>
                    <a:lnTo>
                      <a:pt x="1596" y="474"/>
                    </a:lnTo>
                    <a:lnTo>
                      <a:pt x="1584" y="480"/>
                    </a:lnTo>
                    <a:lnTo>
                      <a:pt x="1572" y="492"/>
                    </a:lnTo>
                    <a:close/>
                    <a:moveTo>
                      <a:pt x="1632" y="426"/>
                    </a:moveTo>
                    <a:lnTo>
                      <a:pt x="1608" y="450"/>
                    </a:lnTo>
                    <a:lnTo>
                      <a:pt x="1626" y="456"/>
                    </a:lnTo>
                    <a:lnTo>
                      <a:pt x="1644" y="432"/>
                    </a:lnTo>
                    <a:lnTo>
                      <a:pt x="1632" y="426"/>
                    </a:lnTo>
                    <a:close/>
                    <a:moveTo>
                      <a:pt x="2778" y="1002"/>
                    </a:moveTo>
                    <a:lnTo>
                      <a:pt x="2778" y="984"/>
                    </a:lnTo>
                    <a:lnTo>
                      <a:pt x="2772" y="972"/>
                    </a:lnTo>
                    <a:lnTo>
                      <a:pt x="2760" y="954"/>
                    </a:lnTo>
                    <a:lnTo>
                      <a:pt x="2754" y="936"/>
                    </a:lnTo>
                    <a:lnTo>
                      <a:pt x="2754" y="870"/>
                    </a:lnTo>
                    <a:lnTo>
                      <a:pt x="2724" y="840"/>
                    </a:lnTo>
                    <a:lnTo>
                      <a:pt x="2694" y="834"/>
                    </a:lnTo>
                    <a:lnTo>
                      <a:pt x="2646" y="840"/>
                    </a:lnTo>
                    <a:lnTo>
                      <a:pt x="2628" y="822"/>
                    </a:lnTo>
                    <a:lnTo>
                      <a:pt x="2610" y="822"/>
                    </a:lnTo>
                    <a:lnTo>
                      <a:pt x="2592" y="798"/>
                    </a:lnTo>
                    <a:lnTo>
                      <a:pt x="2568" y="798"/>
                    </a:lnTo>
                    <a:lnTo>
                      <a:pt x="2538" y="768"/>
                    </a:lnTo>
                    <a:lnTo>
                      <a:pt x="2526" y="750"/>
                    </a:lnTo>
                    <a:lnTo>
                      <a:pt x="2490" y="714"/>
                    </a:lnTo>
                    <a:lnTo>
                      <a:pt x="2418" y="666"/>
                    </a:lnTo>
                    <a:lnTo>
                      <a:pt x="2394" y="660"/>
                    </a:lnTo>
                    <a:lnTo>
                      <a:pt x="2316" y="660"/>
                    </a:lnTo>
                    <a:lnTo>
                      <a:pt x="2316" y="672"/>
                    </a:lnTo>
                    <a:lnTo>
                      <a:pt x="2310" y="672"/>
                    </a:lnTo>
                    <a:lnTo>
                      <a:pt x="2298" y="660"/>
                    </a:lnTo>
                    <a:lnTo>
                      <a:pt x="2286" y="654"/>
                    </a:lnTo>
                    <a:lnTo>
                      <a:pt x="2274" y="654"/>
                    </a:lnTo>
                    <a:lnTo>
                      <a:pt x="2262" y="648"/>
                    </a:lnTo>
                    <a:lnTo>
                      <a:pt x="2232" y="648"/>
                    </a:lnTo>
                    <a:lnTo>
                      <a:pt x="2226" y="642"/>
                    </a:lnTo>
                    <a:lnTo>
                      <a:pt x="2214" y="636"/>
                    </a:lnTo>
                    <a:lnTo>
                      <a:pt x="2196" y="630"/>
                    </a:lnTo>
                    <a:lnTo>
                      <a:pt x="2184" y="624"/>
                    </a:lnTo>
                    <a:lnTo>
                      <a:pt x="2166" y="618"/>
                    </a:lnTo>
                    <a:lnTo>
                      <a:pt x="2154" y="618"/>
                    </a:lnTo>
                    <a:lnTo>
                      <a:pt x="2142" y="624"/>
                    </a:lnTo>
                    <a:lnTo>
                      <a:pt x="2112" y="654"/>
                    </a:lnTo>
                    <a:lnTo>
                      <a:pt x="2106" y="666"/>
                    </a:lnTo>
                    <a:lnTo>
                      <a:pt x="2088" y="642"/>
                    </a:lnTo>
                    <a:lnTo>
                      <a:pt x="2088" y="678"/>
                    </a:lnTo>
                    <a:lnTo>
                      <a:pt x="2058" y="702"/>
                    </a:lnTo>
                    <a:lnTo>
                      <a:pt x="2076" y="636"/>
                    </a:lnTo>
                    <a:lnTo>
                      <a:pt x="2082" y="636"/>
                    </a:lnTo>
                    <a:lnTo>
                      <a:pt x="2094" y="624"/>
                    </a:lnTo>
                    <a:lnTo>
                      <a:pt x="2094" y="606"/>
                    </a:lnTo>
                    <a:lnTo>
                      <a:pt x="2088" y="600"/>
                    </a:lnTo>
                    <a:lnTo>
                      <a:pt x="2082" y="600"/>
                    </a:lnTo>
                    <a:lnTo>
                      <a:pt x="2064" y="618"/>
                    </a:lnTo>
                    <a:lnTo>
                      <a:pt x="2076" y="582"/>
                    </a:lnTo>
                    <a:lnTo>
                      <a:pt x="2070" y="582"/>
                    </a:lnTo>
                    <a:lnTo>
                      <a:pt x="2064" y="576"/>
                    </a:lnTo>
                    <a:lnTo>
                      <a:pt x="2064" y="570"/>
                    </a:lnTo>
                    <a:lnTo>
                      <a:pt x="2040" y="546"/>
                    </a:lnTo>
                    <a:lnTo>
                      <a:pt x="2034" y="546"/>
                    </a:lnTo>
                    <a:lnTo>
                      <a:pt x="2022" y="564"/>
                    </a:lnTo>
                    <a:lnTo>
                      <a:pt x="2016" y="552"/>
                    </a:lnTo>
                    <a:lnTo>
                      <a:pt x="2004" y="546"/>
                    </a:lnTo>
                    <a:lnTo>
                      <a:pt x="1998" y="534"/>
                    </a:lnTo>
                    <a:lnTo>
                      <a:pt x="1986" y="528"/>
                    </a:lnTo>
                    <a:lnTo>
                      <a:pt x="1980" y="522"/>
                    </a:lnTo>
                    <a:lnTo>
                      <a:pt x="1968" y="516"/>
                    </a:lnTo>
                    <a:lnTo>
                      <a:pt x="1944" y="516"/>
                    </a:lnTo>
                    <a:lnTo>
                      <a:pt x="1932" y="510"/>
                    </a:lnTo>
                    <a:lnTo>
                      <a:pt x="1926" y="510"/>
                    </a:lnTo>
                    <a:lnTo>
                      <a:pt x="1914" y="498"/>
                    </a:lnTo>
                    <a:lnTo>
                      <a:pt x="1902" y="492"/>
                    </a:lnTo>
                    <a:lnTo>
                      <a:pt x="1896" y="480"/>
                    </a:lnTo>
                    <a:lnTo>
                      <a:pt x="1884" y="474"/>
                    </a:lnTo>
                    <a:lnTo>
                      <a:pt x="1878" y="486"/>
                    </a:lnTo>
                    <a:lnTo>
                      <a:pt x="1824" y="486"/>
                    </a:lnTo>
                    <a:lnTo>
                      <a:pt x="1812" y="498"/>
                    </a:lnTo>
                    <a:lnTo>
                      <a:pt x="1806" y="510"/>
                    </a:lnTo>
                    <a:lnTo>
                      <a:pt x="1806" y="522"/>
                    </a:lnTo>
                    <a:lnTo>
                      <a:pt x="1800" y="528"/>
                    </a:lnTo>
                    <a:lnTo>
                      <a:pt x="1800" y="534"/>
                    </a:lnTo>
                    <a:lnTo>
                      <a:pt x="1812" y="552"/>
                    </a:lnTo>
                    <a:lnTo>
                      <a:pt x="1776" y="552"/>
                    </a:lnTo>
                    <a:lnTo>
                      <a:pt x="1770" y="564"/>
                    </a:lnTo>
                    <a:lnTo>
                      <a:pt x="1758" y="576"/>
                    </a:lnTo>
                    <a:lnTo>
                      <a:pt x="1752" y="588"/>
                    </a:lnTo>
                    <a:lnTo>
                      <a:pt x="1752" y="594"/>
                    </a:lnTo>
                    <a:lnTo>
                      <a:pt x="1746" y="600"/>
                    </a:lnTo>
                    <a:lnTo>
                      <a:pt x="1746" y="612"/>
                    </a:lnTo>
                    <a:lnTo>
                      <a:pt x="1740" y="624"/>
                    </a:lnTo>
                    <a:lnTo>
                      <a:pt x="1728" y="636"/>
                    </a:lnTo>
                    <a:lnTo>
                      <a:pt x="1722" y="636"/>
                    </a:lnTo>
                    <a:lnTo>
                      <a:pt x="1728" y="630"/>
                    </a:lnTo>
                    <a:lnTo>
                      <a:pt x="1728" y="618"/>
                    </a:lnTo>
                    <a:lnTo>
                      <a:pt x="1734" y="606"/>
                    </a:lnTo>
                    <a:lnTo>
                      <a:pt x="1734" y="600"/>
                    </a:lnTo>
                    <a:lnTo>
                      <a:pt x="1740" y="588"/>
                    </a:lnTo>
                    <a:lnTo>
                      <a:pt x="1740" y="582"/>
                    </a:lnTo>
                    <a:lnTo>
                      <a:pt x="1734" y="576"/>
                    </a:lnTo>
                    <a:lnTo>
                      <a:pt x="1728" y="576"/>
                    </a:lnTo>
                    <a:lnTo>
                      <a:pt x="1722" y="582"/>
                    </a:lnTo>
                    <a:lnTo>
                      <a:pt x="1716" y="582"/>
                    </a:lnTo>
                    <a:lnTo>
                      <a:pt x="1704" y="594"/>
                    </a:lnTo>
                    <a:lnTo>
                      <a:pt x="1692" y="588"/>
                    </a:lnTo>
                    <a:lnTo>
                      <a:pt x="1656" y="588"/>
                    </a:lnTo>
                    <a:lnTo>
                      <a:pt x="1644" y="582"/>
                    </a:lnTo>
                    <a:lnTo>
                      <a:pt x="1632" y="570"/>
                    </a:lnTo>
                    <a:lnTo>
                      <a:pt x="1632" y="522"/>
                    </a:lnTo>
                    <a:lnTo>
                      <a:pt x="1626" y="516"/>
                    </a:lnTo>
                    <a:lnTo>
                      <a:pt x="1626" y="504"/>
                    </a:lnTo>
                    <a:lnTo>
                      <a:pt x="1620" y="504"/>
                    </a:lnTo>
                    <a:lnTo>
                      <a:pt x="1614" y="510"/>
                    </a:lnTo>
                    <a:lnTo>
                      <a:pt x="1602" y="516"/>
                    </a:lnTo>
                    <a:lnTo>
                      <a:pt x="1596" y="522"/>
                    </a:lnTo>
                    <a:lnTo>
                      <a:pt x="1590" y="534"/>
                    </a:lnTo>
                    <a:lnTo>
                      <a:pt x="1584" y="540"/>
                    </a:lnTo>
                    <a:lnTo>
                      <a:pt x="1560" y="552"/>
                    </a:lnTo>
                    <a:lnTo>
                      <a:pt x="1554" y="558"/>
                    </a:lnTo>
                    <a:lnTo>
                      <a:pt x="1512" y="558"/>
                    </a:lnTo>
                    <a:lnTo>
                      <a:pt x="1500" y="552"/>
                    </a:lnTo>
                    <a:lnTo>
                      <a:pt x="1542" y="540"/>
                    </a:lnTo>
                    <a:lnTo>
                      <a:pt x="1548" y="528"/>
                    </a:lnTo>
                    <a:lnTo>
                      <a:pt x="1566" y="510"/>
                    </a:lnTo>
                    <a:lnTo>
                      <a:pt x="1566" y="492"/>
                    </a:lnTo>
                    <a:lnTo>
                      <a:pt x="1572" y="486"/>
                    </a:lnTo>
                    <a:lnTo>
                      <a:pt x="1590" y="450"/>
                    </a:lnTo>
                    <a:lnTo>
                      <a:pt x="1626" y="414"/>
                    </a:lnTo>
                    <a:lnTo>
                      <a:pt x="1638" y="408"/>
                    </a:lnTo>
                    <a:lnTo>
                      <a:pt x="1656" y="390"/>
                    </a:lnTo>
                    <a:lnTo>
                      <a:pt x="1656" y="378"/>
                    </a:lnTo>
                    <a:lnTo>
                      <a:pt x="1662" y="366"/>
                    </a:lnTo>
                    <a:lnTo>
                      <a:pt x="1674" y="354"/>
                    </a:lnTo>
                    <a:lnTo>
                      <a:pt x="1686" y="348"/>
                    </a:lnTo>
                    <a:lnTo>
                      <a:pt x="1692" y="342"/>
                    </a:lnTo>
                    <a:lnTo>
                      <a:pt x="1704" y="336"/>
                    </a:lnTo>
                    <a:lnTo>
                      <a:pt x="1680" y="330"/>
                    </a:lnTo>
                    <a:lnTo>
                      <a:pt x="1698" y="312"/>
                    </a:lnTo>
                    <a:lnTo>
                      <a:pt x="1698" y="294"/>
                    </a:lnTo>
                    <a:lnTo>
                      <a:pt x="1692" y="288"/>
                    </a:lnTo>
                    <a:lnTo>
                      <a:pt x="1680" y="282"/>
                    </a:lnTo>
                    <a:lnTo>
                      <a:pt x="1662" y="282"/>
                    </a:lnTo>
                    <a:lnTo>
                      <a:pt x="1650" y="276"/>
                    </a:lnTo>
                    <a:lnTo>
                      <a:pt x="1644" y="270"/>
                    </a:lnTo>
                    <a:lnTo>
                      <a:pt x="1638" y="252"/>
                    </a:lnTo>
                    <a:lnTo>
                      <a:pt x="1632" y="216"/>
                    </a:lnTo>
                    <a:lnTo>
                      <a:pt x="1626" y="168"/>
                    </a:lnTo>
                    <a:lnTo>
                      <a:pt x="1620" y="138"/>
                    </a:lnTo>
                    <a:lnTo>
                      <a:pt x="1614" y="114"/>
                    </a:lnTo>
                    <a:lnTo>
                      <a:pt x="1608" y="96"/>
                    </a:lnTo>
                    <a:lnTo>
                      <a:pt x="1602" y="84"/>
                    </a:lnTo>
                    <a:lnTo>
                      <a:pt x="1590" y="78"/>
                    </a:lnTo>
                    <a:lnTo>
                      <a:pt x="1584" y="78"/>
                    </a:lnTo>
                    <a:lnTo>
                      <a:pt x="1584" y="90"/>
                    </a:lnTo>
                    <a:lnTo>
                      <a:pt x="1590" y="96"/>
                    </a:lnTo>
                    <a:lnTo>
                      <a:pt x="1590" y="108"/>
                    </a:lnTo>
                    <a:lnTo>
                      <a:pt x="1572" y="108"/>
                    </a:lnTo>
                    <a:lnTo>
                      <a:pt x="1572" y="102"/>
                    </a:lnTo>
                    <a:lnTo>
                      <a:pt x="1566" y="108"/>
                    </a:lnTo>
                    <a:lnTo>
                      <a:pt x="1560" y="120"/>
                    </a:lnTo>
                    <a:lnTo>
                      <a:pt x="1560" y="126"/>
                    </a:lnTo>
                    <a:lnTo>
                      <a:pt x="1554" y="132"/>
                    </a:lnTo>
                    <a:lnTo>
                      <a:pt x="1548" y="144"/>
                    </a:lnTo>
                    <a:lnTo>
                      <a:pt x="1536" y="156"/>
                    </a:lnTo>
                    <a:lnTo>
                      <a:pt x="1518" y="192"/>
                    </a:lnTo>
                    <a:lnTo>
                      <a:pt x="1518" y="210"/>
                    </a:lnTo>
                    <a:lnTo>
                      <a:pt x="1494" y="246"/>
                    </a:lnTo>
                    <a:lnTo>
                      <a:pt x="1488" y="246"/>
                    </a:lnTo>
                    <a:lnTo>
                      <a:pt x="1482" y="252"/>
                    </a:lnTo>
                    <a:lnTo>
                      <a:pt x="1464" y="252"/>
                    </a:lnTo>
                    <a:lnTo>
                      <a:pt x="1452" y="240"/>
                    </a:lnTo>
                    <a:lnTo>
                      <a:pt x="1446" y="246"/>
                    </a:lnTo>
                    <a:lnTo>
                      <a:pt x="1434" y="246"/>
                    </a:lnTo>
                    <a:lnTo>
                      <a:pt x="1428" y="240"/>
                    </a:lnTo>
                    <a:lnTo>
                      <a:pt x="1416" y="240"/>
                    </a:lnTo>
                    <a:lnTo>
                      <a:pt x="1410" y="246"/>
                    </a:lnTo>
                    <a:lnTo>
                      <a:pt x="1410" y="252"/>
                    </a:lnTo>
                    <a:lnTo>
                      <a:pt x="1404" y="258"/>
                    </a:lnTo>
                    <a:lnTo>
                      <a:pt x="1380" y="258"/>
                    </a:lnTo>
                    <a:lnTo>
                      <a:pt x="1368" y="246"/>
                    </a:lnTo>
                    <a:lnTo>
                      <a:pt x="1368" y="240"/>
                    </a:lnTo>
                    <a:lnTo>
                      <a:pt x="1350" y="234"/>
                    </a:lnTo>
                    <a:lnTo>
                      <a:pt x="1344" y="228"/>
                    </a:lnTo>
                    <a:lnTo>
                      <a:pt x="1338" y="216"/>
                    </a:lnTo>
                    <a:lnTo>
                      <a:pt x="1332" y="216"/>
                    </a:lnTo>
                    <a:lnTo>
                      <a:pt x="1320" y="222"/>
                    </a:lnTo>
                    <a:lnTo>
                      <a:pt x="1314" y="228"/>
                    </a:lnTo>
                    <a:lnTo>
                      <a:pt x="1302" y="234"/>
                    </a:lnTo>
                    <a:lnTo>
                      <a:pt x="1278" y="234"/>
                    </a:lnTo>
                    <a:lnTo>
                      <a:pt x="1278" y="222"/>
                    </a:lnTo>
                    <a:lnTo>
                      <a:pt x="1272" y="222"/>
                    </a:lnTo>
                    <a:lnTo>
                      <a:pt x="1260" y="228"/>
                    </a:lnTo>
                    <a:lnTo>
                      <a:pt x="1260" y="252"/>
                    </a:lnTo>
                    <a:lnTo>
                      <a:pt x="1272" y="264"/>
                    </a:lnTo>
                    <a:lnTo>
                      <a:pt x="1272" y="270"/>
                    </a:lnTo>
                    <a:lnTo>
                      <a:pt x="1278" y="276"/>
                    </a:lnTo>
                    <a:lnTo>
                      <a:pt x="1272" y="282"/>
                    </a:lnTo>
                    <a:lnTo>
                      <a:pt x="1254" y="282"/>
                    </a:lnTo>
                    <a:lnTo>
                      <a:pt x="1230" y="270"/>
                    </a:lnTo>
                    <a:lnTo>
                      <a:pt x="1224" y="270"/>
                    </a:lnTo>
                    <a:lnTo>
                      <a:pt x="1212" y="264"/>
                    </a:lnTo>
                    <a:lnTo>
                      <a:pt x="1212" y="270"/>
                    </a:lnTo>
                    <a:lnTo>
                      <a:pt x="1206" y="276"/>
                    </a:lnTo>
                    <a:lnTo>
                      <a:pt x="1200" y="276"/>
                    </a:lnTo>
                    <a:lnTo>
                      <a:pt x="1188" y="264"/>
                    </a:lnTo>
                    <a:lnTo>
                      <a:pt x="1176" y="264"/>
                    </a:lnTo>
                    <a:lnTo>
                      <a:pt x="1158" y="282"/>
                    </a:lnTo>
                    <a:lnTo>
                      <a:pt x="1158" y="288"/>
                    </a:lnTo>
                    <a:lnTo>
                      <a:pt x="1128" y="288"/>
                    </a:lnTo>
                    <a:lnTo>
                      <a:pt x="1122" y="300"/>
                    </a:lnTo>
                    <a:lnTo>
                      <a:pt x="1104" y="300"/>
                    </a:lnTo>
                    <a:lnTo>
                      <a:pt x="1092" y="312"/>
                    </a:lnTo>
                    <a:lnTo>
                      <a:pt x="1092" y="324"/>
                    </a:lnTo>
                    <a:lnTo>
                      <a:pt x="1086" y="330"/>
                    </a:lnTo>
                    <a:lnTo>
                      <a:pt x="1050" y="330"/>
                    </a:lnTo>
                    <a:lnTo>
                      <a:pt x="1044" y="318"/>
                    </a:lnTo>
                    <a:lnTo>
                      <a:pt x="1032" y="318"/>
                    </a:lnTo>
                    <a:lnTo>
                      <a:pt x="1002" y="282"/>
                    </a:lnTo>
                    <a:lnTo>
                      <a:pt x="1002" y="252"/>
                    </a:lnTo>
                    <a:lnTo>
                      <a:pt x="978" y="228"/>
                    </a:lnTo>
                    <a:lnTo>
                      <a:pt x="972" y="216"/>
                    </a:lnTo>
                    <a:lnTo>
                      <a:pt x="972" y="210"/>
                    </a:lnTo>
                    <a:lnTo>
                      <a:pt x="978" y="198"/>
                    </a:lnTo>
                    <a:lnTo>
                      <a:pt x="978" y="192"/>
                    </a:lnTo>
                    <a:lnTo>
                      <a:pt x="984" y="180"/>
                    </a:lnTo>
                    <a:lnTo>
                      <a:pt x="996" y="138"/>
                    </a:lnTo>
                    <a:lnTo>
                      <a:pt x="1008" y="126"/>
                    </a:lnTo>
                    <a:lnTo>
                      <a:pt x="1014" y="114"/>
                    </a:lnTo>
                    <a:lnTo>
                      <a:pt x="1014" y="102"/>
                    </a:lnTo>
                    <a:lnTo>
                      <a:pt x="1008" y="102"/>
                    </a:lnTo>
                    <a:lnTo>
                      <a:pt x="1002" y="96"/>
                    </a:lnTo>
                    <a:lnTo>
                      <a:pt x="1002" y="66"/>
                    </a:lnTo>
                    <a:lnTo>
                      <a:pt x="996" y="66"/>
                    </a:lnTo>
                    <a:lnTo>
                      <a:pt x="984" y="72"/>
                    </a:lnTo>
                    <a:lnTo>
                      <a:pt x="978" y="72"/>
                    </a:lnTo>
                    <a:lnTo>
                      <a:pt x="972" y="66"/>
                    </a:lnTo>
                    <a:lnTo>
                      <a:pt x="972" y="60"/>
                    </a:lnTo>
                    <a:lnTo>
                      <a:pt x="978" y="54"/>
                    </a:lnTo>
                    <a:lnTo>
                      <a:pt x="984" y="42"/>
                    </a:lnTo>
                    <a:lnTo>
                      <a:pt x="984" y="24"/>
                    </a:lnTo>
                    <a:lnTo>
                      <a:pt x="978" y="12"/>
                    </a:lnTo>
                    <a:lnTo>
                      <a:pt x="966" y="0"/>
                    </a:lnTo>
                    <a:lnTo>
                      <a:pt x="960" y="12"/>
                    </a:lnTo>
                    <a:lnTo>
                      <a:pt x="936" y="6"/>
                    </a:lnTo>
                    <a:lnTo>
                      <a:pt x="936" y="42"/>
                    </a:lnTo>
                    <a:lnTo>
                      <a:pt x="930" y="48"/>
                    </a:lnTo>
                    <a:lnTo>
                      <a:pt x="918" y="48"/>
                    </a:lnTo>
                    <a:lnTo>
                      <a:pt x="918" y="60"/>
                    </a:lnTo>
                    <a:lnTo>
                      <a:pt x="894" y="60"/>
                    </a:lnTo>
                    <a:lnTo>
                      <a:pt x="882" y="66"/>
                    </a:lnTo>
                    <a:lnTo>
                      <a:pt x="858" y="90"/>
                    </a:lnTo>
                    <a:lnTo>
                      <a:pt x="846" y="96"/>
                    </a:lnTo>
                    <a:lnTo>
                      <a:pt x="828" y="96"/>
                    </a:lnTo>
                    <a:lnTo>
                      <a:pt x="822" y="90"/>
                    </a:lnTo>
                    <a:lnTo>
                      <a:pt x="804" y="90"/>
                    </a:lnTo>
                    <a:lnTo>
                      <a:pt x="798" y="96"/>
                    </a:lnTo>
                    <a:lnTo>
                      <a:pt x="798" y="108"/>
                    </a:lnTo>
                    <a:lnTo>
                      <a:pt x="792" y="120"/>
                    </a:lnTo>
                    <a:lnTo>
                      <a:pt x="792" y="138"/>
                    </a:lnTo>
                    <a:lnTo>
                      <a:pt x="786" y="144"/>
                    </a:lnTo>
                    <a:lnTo>
                      <a:pt x="774" y="138"/>
                    </a:lnTo>
                    <a:lnTo>
                      <a:pt x="762" y="126"/>
                    </a:lnTo>
                    <a:lnTo>
                      <a:pt x="756" y="114"/>
                    </a:lnTo>
                    <a:lnTo>
                      <a:pt x="750" y="108"/>
                    </a:lnTo>
                    <a:lnTo>
                      <a:pt x="738" y="108"/>
                    </a:lnTo>
                    <a:lnTo>
                      <a:pt x="732" y="114"/>
                    </a:lnTo>
                    <a:lnTo>
                      <a:pt x="720" y="108"/>
                    </a:lnTo>
                    <a:lnTo>
                      <a:pt x="708" y="114"/>
                    </a:lnTo>
                    <a:lnTo>
                      <a:pt x="696" y="114"/>
                    </a:lnTo>
                    <a:lnTo>
                      <a:pt x="696" y="96"/>
                    </a:lnTo>
                    <a:lnTo>
                      <a:pt x="690" y="90"/>
                    </a:lnTo>
                    <a:lnTo>
                      <a:pt x="648" y="90"/>
                    </a:lnTo>
                    <a:lnTo>
                      <a:pt x="648" y="84"/>
                    </a:lnTo>
                    <a:lnTo>
                      <a:pt x="642" y="78"/>
                    </a:lnTo>
                    <a:lnTo>
                      <a:pt x="642" y="108"/>
                    </a:lnTo>
                    <a:lnTo>
                      <a:pt x="660" y="126"/>
                    </a:lnTo>
                    <a:lnTo>
                      <a:pt x="672" y="132"/>
                    </a:lnTo>
                    <a:lnTo>
                      <a:pt x="678" y="138"/>
                    </a:lnTo>
                    <a:lnTo>
                      <a:pt x="678" y="168"/>
                    </a:lnTo>
                    <a:lnTo>
                      <a:pt x="672" y="174"/>
                    </a:lnTo>
                    <a:lnTo>
                      <a:pt x="684" y="186"/>
                    </a:lnTo>
                    <a:lnTo>
                      <a:pt x="690" y="198"/>
                    </a:lnTo>
                    <a:lnTo>
                      <a:pt x="690" y="228"/>
                    </a:lnTo>
                    <a:lnTo>
                      <a:pt x="738" y="234"/>
                    </a:lnTo>
                    <a:lnTo>
                      <a:pt x="744" y="240"/>
                    </a:lnTo>
                    <a:lnTo>
                      <a:pt x="744" y="246"/>
                    </a:lnTo>
                    <a:lnTo>
                      <a:pt x="738" y="258"/>
                    </a:lnTo>
                    <a:lnTo>
                      <a:pt x="732" y="264"/>
                    </a:lnTo>
                    <a:lnTo>
                      <a:pt x="690" y="264"/>
                    </a:lnTo>
                    <a:lnTo>
                      <a:pt x="690" y="294"/>
                    </a:lnTo>
                    <a:lnTo>
                      <a:pt x="684" y="306"/>
                    </a:lnTo>
                    <a:lnTo>
                      <a:pt x="648" y="324"/>
                    </a:lnTo>
                    <a:lnTo>
                      <a:pt x="642" y="330"/>
                    </a:lnTo>
                    <a:lnTo>
                      <a:pt x="624" y="330"/>
                    </a:lnTo>
                    <a:lnTo>
                      <a:pt x="612" y="342"/>
                    </a:lnTo>
                    <a:lnTo>
                      <a:pt x="600" y="366"/>
                    </a:lnTo>
                    <a:lnTo>
                      <a:pt x="588" y="378"/>
                    </a:lnTo>
                    <a:lnTo>
                      <a:pt x="582" y="378"/>
                    </a:lnTo>
                    <a:lnTo>
                      <a:pt x="582" y="354"/>
                    </a:lnTo>
                    <a:lnTo>
                      <a:pt x="576" y="348"/>
                    </a:lnTo>
                    <a:lnTo>
                      <a:pt x="570" y="354"/>
                    </a:lnTo>
                    <a:lnTo>
                      <a:pt x="558" y="360"/>
                    </a:lnTo>
                    <a:lnTo>
                      <a:pt x="552" y="366"/>
                    </a:lnTo>
                    <a:lnTo>
                      <a:pt x="540" y="372"/>
                    </a:lnTo>
                    <a:lnTo>
                      <a:pt x="534" y="372"/>
                    </a:lnTo>
                    <a:lnTo>
                      <a:pt x="522" y="366"/>
                    </a:lnTo>
                    <a:lnTo>
                      <a:pt x="516" y="366"/>
                    </a:lnTo>
                    <a:lnTo>
                      <a:pt x="504" y="354"/>
                    </a:lnTo>
                    <a:lnTo>
                      <a:pt x="504" y="348"/>
                    </a:lnTo>
                    <a:lnTo>
                      <a:pt x="498" y="336"/>
                    </a:lnTo>
                    <a:lnTo>
                      <a:pt x="492" y="330"/>
                    </a:lnTo>
                    <a:lnTo>
                      <a:pt x="468" y="330"/>
                    </a:lnTo>
                    <a:lnTo>
                      <a:pt x="468" y="300"/>
                    </a:lnTo>
                    <a:lnTo>
                      <a:pt x="462" y="288"/>
                    </a:lnTo>
                    <a:lnTo>
                      <a:pt x="462" y="276"/>
                    </a:lnTo>
                    <a:lnTo>
                      <a:pt x="456" y="270"/>
                    </a:lnTo>
                    <a:lnTo>
                      <a:pt x="456" y="258"/>
                    </a:lnTo>
                    <a:lnTo>
                      <a:pt x="450" y="258"/>
                    </a:lnTo>
                    <a:lnTo>
                      <a:pt x="420" y="288"/>
                    </a:lnTo>
                    <a:lnTo>
                      <a:pt x="396" y="264"/>
                    </a:lnTo>
                    <a:lnTo>
                      <a:pt x="390" y="264"/>
                    </a:lnTo>
                    <a:lnTo>
                      <a:pt x="384" y="270"/>
                    </a:lnTo>
                    <a:lnTo>
                      <a:pt x="384" y="288"/>
                    </a:lnTo>
                    <a:lnTo>
                      <a:pt x="318" y="294"/>
                    </a:lnTo>
                    <a:lnTo>
                      <a:pt x="306" y="282"/>
                    </a:lnTo>
                    <a:lnTo>
                      <a:pt x="288" y="282"/>
                    </a:lnTo>
                    <a:lnTo>
                      <a:pt x="282" y="288"/>
                    </a:lnTo>
                    <a:lnTo>
                      <a:pt x="276" y="300"/>
                    </a:lnTo>
                    <a:lnTo>
                      <a:pt x="276" y="312"/>
                    </a:lnTo>
                    <a:lnTo>
                      <a:pt x="282" y="324"/>
                    </a:lnTo>
                    <a:lnTo>
                      <a:pt x="282" y="336"/>
                    </a:lnTo>
                    <a:lnTo>
                      <a:pt x="306" y="348"/>
                    </a:lnTo>
                    <a:lnTo>
                      <a:pt x="318" y="342"/>
                    </a:lnTo>
                    <a:lnTo>
                      <a:pt x="330" y="354"/>
                    </a:lnTo>
                    <a:lnTo>
                      <a:pt x="330" y="360"/>
                    </a:lnTo>
                    <a:lnTo>
                      <a:pt x="336" y="366"/>
                    </a:lnTo>
                    <a:lnTo>
                      <a:pt x="336" y="372"/>
                    </a:lnTo>
                    <a:lnTo>
                      <a:pt x="330" y="378"/>
                    </a:lnTo>
                    <a:lnTo>
                      <a:pt x="300" y="378"/>
                    </a:lnTo>
                    <a:lnTo>
                      <a:pt x="294" y="372"/>
                    </a:lnTo>
                    <a:lnTo>
                      <a:pt x="264" y="378"/>
                    </a:lnTo>
                    <a:lnTo>
                      <a:pt x="258" y="444"/>
                    </a:lnTo>
                    <a:lnTo>
                      <a:pt x="264" y="444"/>
                    </a:lnTo>
                    <a:lnTo>
                      <a:pt x="276" y="456"/>
                    </a:lnTo>
                    <a:lnTo>
                      <a:pt x="288" y="462"/>
                    </a:lnTo>
                    <a:lnTo>
                      <a:pt x="294" y="468"/>
                    </a:lnTo>
                    <a:lnTo>
                      <a:pt x="294" y="492"/>
                    </a:lnTo>
                    <a:lnTo>
                      <a:pt x="300" y="498"/>
                    </a:lnTo>
                    <a:lnTo>
                      <a:pt x="300" y="504"/>
                    </a:lnTo>
                    <a:lnTo>
                      <a:pt x="312" y="516"/>
                    </a:lnTo>
                    <a:lnTo>
                      <a:pt x="318" y="528"/>
                    </a:lnTo>
                    <a:lnTo>
                      <a:pt x="318" y="540"/>
                    </a:lnTo>
                    <a:lnTo>
                      <a:pt x="312" y="552"/>
                    </a:lnTo>
                    <a:lnTo>
                      <a:pt x="300" y="564"/>
                    </a:lnTo>
                    <a:lnTo>
                      <a:pt x="306" y="612"/>
                    </a:lnTo>
                    <a:lnTo>
                      <a:pt x="288" y="660"/>
                    </a:lnTo>
                    <a:lnTo>
                      <a:pt x="282" y="732"/>
                    </a:lnTo>
                    <a:lnTo>
                      <a:pt x="282" y="762"/>
                    </a:lnTo>
                    <a:lnTo>
                      <a:pt x="276" y="774"/>
                    </a:lnTo>
                    <a:lnTo>
                      <a:pt x="270" y="780"/>
                    </a:lnTo>
                    <a:lnTo>
                      <a:pt x="252" y="780"/>
                    </a:lnTo>
                    <a:lnTo>
                      <a:pt x="252" y="774"/>
                    </a:lnTo>
                    <a:lnTo>
                      <a:pt x="240" y="762"/>
                    </a:lnTo>
                    <a:lnTo>
                      <a:pt x="222" y="762"/>
                    </a:lnTo>
                    <a:lnTo>
                      <a:pt x="216" y="768"/>
                    </a:lnTo>
                    <a:lnTo>
                      <a:pt x="210" y="780"/>
                    </a:lnTo>
                    <a:lnTo>
                      <a:pt x="204" y="786"/>
                    </a:lnTo>
                    <a:lnTo>
                      <a:pt x="174" y="780"/>
                    </a:lnTo>
                    <a:lnTo>
                      <a:pt x="168" y="792"/>
                    </a:lnTo>
                    <a:lnTo>
                      <a:pt x="138" y="792"/>
                    </a:lnTo>
                    <a:lnTo>
                      <a:pt x="126" y="798"/>
                    </a:lnTo>
                    <a:lnTo>
                      <a:pt x="120" y="804"/>
                    </a:lnTo>
                    <a:lnTo>
                      <a:pt x="108" y="810"/>
                    </a:lnTo>
                    <a:lnTo>
                      <a:pt x="96" y="822"/>
                    </a:lnTo>
                    <a:lnTo>
                      <a:pt x="96" y="828"/>
                    </a:lnTo>
                    <a:lnTo>
                      <a:pt x="90" y="834"/>
                    </a:lnTo>
                    <a:lnTo>
                      <a:pt x="90" y="840"/>
                    </a:lnTo>
                    <a:lnTo>
                      <a:pt x="66" y="840"/>
                    </a:lnTo>
                    <a:lnTo>
                      <a:pt x="66" y="894"/>
                    </a:lnTo>
                    <a:lnTo>
                      <a:pt x="48" y="912"/>
                    </a:lnTo>
                    <a:lnTo>
                      <a:pt x="48" y="924"/>
                    </a:lnTo>
                    <a:lnTo>
                      <a:pt x="54" y="930"/>
                    </a:lnTo>
                    <a:lnTo>
                      <a:pt x="54" y="948"/>
                    </a:lnTo>
                    <a:lnTo>
                      <a:pt x="60" y="954"/>
                    </a:lnTo>
                    <a:lnTo>
                      <a:pt x="54" y="954"/>
                    </a:lnTo>
                    <a:lnTo>
                      <a:pt x="48" y="948"/>
                    </a:lnTo>
                    <a:lnTo>
                      <a:pt x="18" y="978"/>
                    </a:lnTo>
                    <a:lnTo>
                      <a:pt x="12" y="990"/>
                    </a:lnTo>
                    <a:lnTo>
                      <a:pt x="12" y="1014"/>
                    </a:lnTo>
                    <a:lnTo>
                      <a:pt x="18" y="1020"/>
                    </a:lnTo>
                    <a:lnTo>
                      <a:pt x="6" y="1026"/>
                    </a:lnTo>
                    <a:lnTo>
                      <a:pt x="0" y="1032"/>
                    </a:lnTo>
                    <a:lnTo>
                      <a:pt x="0" y="1044"/>
                    </a:lnTo>
                    <a:lnTo>
                      <a:pt x="6" y="1050"/>
                    </a:lnTo>
                    <a:lnTo>
                      <a:pt x="18" y="1056"/>
                    </a:lnTo>
                    <a:lnTo>
                      <a:pt x="24" y="1080"/>
                    </a:lnTo>
                    <a:lnTo>
                      <a:pt x="24" y="1086"/>
                    </a:lnTo>
                    <a:lnTo>
                      <a:pt x="30" y="1092"/>
                    </a:lnTo>
                    <a:lnTo>
                      <a:pt x="42" y="1116"/>
                    </a:lnTo>
                    <a:lnTo>
                      <a:pt x="54" y="1128"/>
                    </a:lnTo>
                    <a:lnTo>
                      <a:pt x="66" y="1134"/>
                    </a:lnTo>
                    <a:lnTo>
                      <a:pt x="90" y="1158"/>
                    </a:lnTo>
                    <a:lnTo>
                      <a:pt x="84" y="1164"/>
                    </a:lnTo>
                    <a:lnTo>
                      <a:pt x="78" y="1176"/>
                    </a:lnTo>
                    <a:lnTo>
                      <a:pt x="66" y="1182"/>
                    </a:lnTo>
                    <a:lnTo>
                      <a:pt x="60" y="1188"/>
                    </a:lnTo>
                    <a:lnTo>
                      <a:pt x="102" y="1188"/>
                    </a:lnTo>
                    <a:lnTo>
                      <a:pt x="114" y="1194"/>
                    </a:lnTo>
                    <a:lnTo>
                      <a:pt x="120" y="1194"/>
                    </a:lnTo>
                    <a:lnTo>
                      <a:pt x="126" y="1200"/>
                    </a:lnTo>
                    <a:lnTo>
                      <a:pt x="126" y="1212"/>
                    </a:lnTo>
                    <a:lnTo>
                      <a:pt x="132" y="1224"/>
                    </a:lnTo>
                    <a:lnTo>
                      <a:pt x="138" y="1230"/>
                    </a:lnTo>
                    <a:lnTo>
                      <a:pt x="138" y="1236"/>
                    </a:lnTo>
                    <a:lnTo>
                      <a:pt x="198" y="1230"/>
                    </a:lnTo>
                    <a:lnTo>
                      <a:pt x="252" y="1182"/>
                    </a:lnTo>
                    <a:lnTo>
                      <a:pt x="252" y="1194"/>
                    </a:lnTo>
                    <a:lnTo>
                      <a:pt x="258" y="1206"/>
                    </a:lnTo>
                    <a:lnTo>
                      <a:pt x="258" y="1224"/>
                    </a:lnTo>
                    <a:lnTo>
                      <a:pt x="252" y="1230"/>
                    </a:lnTo>
                    <a:lnTo>
                      <a:pt x="252" y="1242"/>
                    </a:lnTo>
                    <a:lnTo>
                      <a:pt x="246" y="1254"/>
                    </a:lnTo>
                    <a:lnTo>
                      <a:pt x="246" y="1266"/>
                    </a:lnTo>
                    <a:lnTo>
                      <a:pt x="252" y="1284"/>
                    </a:lnTo>
                    <a:lnTo>
                      <a:pt x="252" y="1314"/>
                    </a:lnTo>
                    <a:lnTo>
                      <a:pt x="264" y="1308"/>
                    </a:lnTo>
                    <a:lnTo>
                      <a:pt x="264" y="1314"/>
                    </a:lnTo>
                    <a:lnTo>
                      <a:pt x="270" y="1320"/>
                    </a:lnTo>
                    <a:lnTo>
                      <a:pt x="282" y="1320"/>
                    </a:lnTo>
                    <a:lnTo>
                      <a:pt x="282" y="1314"/>
                    </a:lnTo>
                    <a:lnTo>
                      <a:pt x="288" y="1314"/>
                    </a:lnTo>
                    <a:lnTo>
                      <a:pt x="294" y="1308"/>
                    </a:lnTo>
                    <a:lnTo>
                      <a:pt x="324" y="1308"/>
                    </a:lnTo>
                    <a:lnTo>
                      <a:pt x="336" y="1314"/>
                    </a:lnTo>
                    <a:lnTo>
                      <a:pt x="366" y="1314"/>
                    </a:lnTo>
                    <a:lnTo>
                      <a:pt x="372" y="1320"/>
                    </a:lnTo>
                    <a:lnTo>
                      <a:pt x="372" y="1326"/>
                    </a:lnTo>
                    <a:lnTo>
                      <a:pt x="390" y="1326"/>
                    </a:lnTo>
                    <a:lnTo>
                      <a:pt x="414" y="1314"/>
                    </a:lnTo>
                    <a:lnTo>
                      <a:pt x="420" y="1308"/>
                    </a:lnTo>
                    <a:lnTo>
                      <a:pt x="432" y="1290"/>
                    </a:lnTo>
                    <a:lnTo>
                      <a:pt x="468" y="1290"/>
                    </a:lnTo>
                    <a:lnTo>
                      <a:pt x="474" y="1260"/>
                    </a:lnTo>
                    <a:lnTo>
                      <a:pt x="510" y="1260"/>
                    </a:lnTo>
                    <a:lnTo>
                      <a:pt x="510" y="1254"/>
                    </a:lnTo>
                    <a:lnTo>
                      <a:pt x="516" y="1248"/>
                    </a:lnTo>
                    <a:lnTo>
                      <a:pt x="522" y="1236"/>
                    </a:lnTo>
                    <a:lnTo>
                      <a:pt x="528" y="1230"/>
                    </a:lnTo>
                    <a:lnTo>
                      <a:pt x="540" y="1224"/>
                    </a:lnTo>
                    <a:lnTo>
                      <a:pt x="576" y="1224"/>
                    </a:lnTo>
                    <a:lnTo>
                      <a:pt x="588" y="1212"/>
                    </a:lnTo>
                    <a:lnTo>
                      <a:pt x="600" y="1224"/>
                    </a:lnTo>
                    <a:lnTo>
                      <a:pt x="606" y="1224"/>
                    </a:lnTo>
                    <a:lnTo>
                      <a:pt x="606" y="1218"/>
                    </a:lnTo>
                    <a:lnTo>
                      <a:pt x="618" y="1212"/>
                    </a:lnTo>
                    <a:lnTo>
                      <a:pt x="630" y="1212"/>
                    </a:lnTo>
                    <a:lnTo>
                      <a:pt x="630" y="1242"/>
                    </a:lnTo>
                    <a:lnTo>
                      <a:pt x="624" y="1248"/>
                    </a:lnTo>
                    <a:lnTo>
                      <a:pt x="624" y="1254"/>
                    </a:lnTo>
                    <a:lnTo>
                      <a:pt x="618" y="1260"/>
                    </a:lnTo>
                    <a:lnTo>
                      <a:pt x="618" y="1290"/>
                    </a:lnTo>
                    <a:lnTo>
                      <a:pt x="624" y="1296"/>
                    </a:lnTo>
                    <a:lnTo>
                      <a:pt x="630" y="1308"/>
                    </a:lnTo>
                    <a:lnTo>
                      <a:pt x="630" y="1326"/>
                    </a:lnTo>
                    <a:lnTo>
                      <a:pt x="624" y="1332"/>
                    </a:lnTo>
                    <a:lnTo>
                      <a:pt x="624" y="1344"/>
                    </a:lnTo>
                    <a:lnTo>
                      <a:pt x="636" y="1356"/>
                    </a:lnTo>
                    <a:lnTo>
                      <a:pt x="648" y="1362"/>
                    </a:lnTo>
                    <a:lnTo>
                      <a:pt x="654" y="1368"/>
                    </a:lnTo>
                    <a:lnTo>
                      <a:pt x="660" y="1398"/>
                    </a:lnTo>
                    <a:lnTo>
                      <a:pt x="684" y="1398"/>
                    </a:lnTo>
                    <a:lnTo>
                      <a:pt x="690" y="1404"/>
                    </a:lnTo>
                    <a:lnTo>
                      <a:pt x="690" y="1410"/>
                    </a:lnTo>
                    <a:lnTo>
                      <a:pt x="696" y="1422"/>
                    </a:lnTo>
                    <a:lnTo>
                      <a:pt x="696" y="1428"/>
                    </a:lnTo>
                    <a:lnTo>
                      <a:pt x="702" y="1434"/>
                    </a:lnTo>
                    <a:lnTo>
                      <a:pt x="714" y="1440"/>
                    </a:lnTo>
                    <a:lnTo>
                      <a:pt x="744" y="1440"/>
                    </a:lnTo>
                    <a:lnTo>
                      <a:pt x="750" y="1434"/>
                    </a:lnTo>
                    <a:lnTo>
                      <a:pt x="756" y="1446"/>
                    </a:lnTo>
                    <a:lnTo>
                      <a:pt x="768" y="1452"/>
                    </a:lnTo>
                    <a:lnTo>
                      <a:pt x="780" y="1452"/>
                    </a:lnTo>
                    <a:lnTo>
                      <a:pt x="786" y="1446"/>
                    </a:lnTo>
                    <a:lnTo>
                      <a:pt x="798" y="1446"/>
                    </a:lnTo>
                    <a:lnTo>
                      <a:pt x="798" y="1452"/>
                    </a:lnTo>
                    <a:lnTo>
                      <a:pt x="804" y="1464"/>
                    </a:lnTo>
                    <a:lnTo>
                      <a:pt x="816" y="1470"/>
                    </a:lnTo>
                    <a:lnTo>
                      <a:pt x="828" y="1482"/>
                    </a:lnTo>
                    <a:lnTo>
                      <a:pt x="840" y="1488"/>
                    </a:lnTo>
                    <a:lnTo>
                      <a:pt x="864" y="1488"/>
                    </a:lnTo>
                    <a:lnTo>
                      <a:pt x="864" y="1494"/>
                    </a:lnTo>
                    <a:lnTo>
                      <a:pt x="876" y="1506"/>
                    </a:lnTo>
                    <a:lnTo>
                      <a:pt x="888" y="1512"/>
                    </a:lnTo>
                    <a:lnTo>
                      <a:pt x="894" y="1518"/>
                    </a:lnTo>
                    <a:lnTo>
                      <a:pt x="954" y="1518"/>
                    </a:lnTo>
                    <a:lnTo>
                      <a:pt x="978" y="1530"/>
                    </a:lnTo>
                    <a:lnTo>
                      <a:pt x="984" y="1542"/>
                    </a:lnTo>
                    <a:lnTo>
                      <a:pt x="990" y="1548"/>
                    </a:lnTo>
                    <a:lnTo>
                      <a:pt x="990" y="1578"/>
                    </a:lnTo>
                    <a:lnTo>
                      <a:pt x="996" y="1590"/>
                    </a:lnTo>
                    <a:lnTo>
                      <a:pt x="1002" y="1596"/>
                    </a:lnTo>
                    <a:lnTo>
                      <a:pt x="1008" y="1608"/>
                    </a:lnTo>
                    <a:lnTo>
                      <a:pt x="1008" y="1638"/>
                    </a:lnTo>
                    <a:lnTo>
                      <a:pt x="990" y="1638"/>
                    </a:lnTo>
                    <a:lnTo>
                      <a:pt x="990" y="1644"/>
                    </a:lnTo>
                    <a:lnTo>
                      <a:pt x="996" y="1650"/>
                    </a:lnTo>
                    <a:lnTo>
                      <a:pt x="1002" y="1662"/>
                    </a:lnTo>
                    <a:lnTo>
                      <a:pt x="1014" y="1668"/>
                    </a:lnTo>
                    <a:lnTo>
                      <a:pt x="1020" y="1674"/>
                    </a:lnTo>
                    <a:lnTo>
                      <a:pt x="1014" y="1686"/>
                    </a:lnTo>
                    <a:lnTo>
                      <a:pt x="1014" y="1728"/>
                    </a:lnTo>
                    <a:lnTo>
                      <a:pt x="1020" y="1734"/>
                    </a:lnTo>
                    <a:lnTo>
                      <a:pt x="1050" y="1740"/>
                    </a:lnTo>
                    <a:lnTo>
                      <a:pt x="1098" y="1746"/>
                    </a:lnTo>
                    <a:lnTo>
                      <a:pt x="1158" y="1746"/>
                    </a:lnTo>
                    <a:lnTo>
                      <a:pt x="1158" y="1752"/>
                    </a:lnTo>
                    <a:lnTo>
                      <a:pt x="1152" y="1758"/>
                    </a:lnTo>
                    <a:lnTo>
                      <a:pt x="1152" y="1770"/>
                    </a:lnTo>
                    <a:lnTo>
                      <a:pt x="1146" y="1788"/>
                    </a:lnTo>
                    <a:lnTo>
                      <a:pt x="1146" y="1800"/>
                    </a:lnTo>
                    <a:lnTo>
                      <a:pt x="1152" y="1812"/>
                    </a:lnTo>
                    <a:lnTo>
                      <a:pt x="1164" y="1818"/>
                    </a:lnTo>
                    <a:lnTo>
                      <a:pt x="1170" y="1824"/>
                    </a:lnTo>
                    <a:lnTo>
                      <a:pt x="1194" y="1836"/>
                    </a:lnTo>
                    <a:lnTo>
                      <a:pt x="1206" y="1848"/>
                    </a:lnTo>
                    <a:lnTo>
                      <a:pt x="1212" y="1860"/>
                    </a:lnTo>
                    <a:lnTo>
                      <a:pt x="1224" y="1896"/>
                    </a:lnTo>
                    <a:lnTo>
                      <a:pt x="1224" y="1908"/>
                    </a:lnTo>
                    <a:lnTo>
                      <a:pt x="1218" y="1920"/>
                    </a:lnTo>
                    <a:lnTo>
                      <a:pt x="1218" y="1944"/>
                    </a:lnTo>
                    <a:lnTo>
                      <a:pt x="1212" y="1950"/>
                    </a:lnTo>
                    <a:lnTo>
                      <a:pt x="1212" y="1956"/>
                    </a:lnTo>
                    <a:lnTo>
                      <a:pt x="1218" y="1968"/>
                    </a:lnTo>
                    <a:lnTo>
                      <a:pt x="1212" y="1980"/>
                    </a:lnTo>
                    <a:lnTo>
                      <a:pt x="1206" y="1986"/>
                    </a:lnTo>
                    <a:lnTo>
                      <a:pt x="1200" y="1998"/>
                    </a:lnTo>
                    <a:lnTo>
                      <a:pt x="1200" y="2022"/>
                    </a:lnTo>
                    <a:lnTo>
                      <a:pt x="1206" y="2028"/>
                    </a:lnTo>
                    <a:lnTo>
                      <a:pt x="1218" y="2034"/>
                    </a:lnTo>
                    <a:lnTo>
                      <a:pt x="1212" y="2040"/>
                    </a:lnTo>
                    <a:lnTo>
                      <a:pt x="1200" y="2046"/>
                    </a:lnTo>
                    <a:lnTo>
                      <a:pt x="1194" y="2052"/>
                    </a:lnTo>
                    <a:lnTo>
                      <a:pt x="1194" y="2064"/>
                    </a:lnTo>
                    <a:lnTo>
                      <a:pt x="1200" y="2070"/>
                    </a:lnTo>
                    <a:lnTo>
                      <a:pt x="1212" y="2076"/>
                    </a:lnTo>
                    <a:lnTo>
                      <a:pt x="1212" y="2112"/>
                    </a:lnTo>
                    <a:lnTo>
                      <a:pt x="1224" y="2112"/>
                    </a:lnTo>
                    <a:lnTo>
                      <a:pt x="1224" y="2130"/>
                    </a:lnTo>
                    <a:lnTo>
                      <a:pt x="1218" y="2142"/>
                    </a:lnTo>
                    <a:lnTo>
                      <a:pt x="1218" y="2184"/>
                    </a:lnTo>
                    <a:lnTo>
                      <a:pt x="1224" y="2196"/>
                    </a:lnTo>
                    <a:lnTo>
                      <a:pt x="1230" y="2202"/>
                    </a:lnTo>
                    <a:lnTo>
                      <a:pt x="1266" y="2214"/>
                    </a:lnTo>
                    <a:lnTo>
                      <a:pt x="1308" y="2220"/>
                    </a:lnTo>
                    <a:lnTo>
                      <a:pt x="1380" y="2220"/>
                    </a:lnTo>
                    <a:lnTo>
                      <a:pt x="1392" y="2226"/>
                    </a:lnTo>
                    <a:lnTo>
                      <a:pt x="1398" y="2232"/>
                    </a:lnTo>
                    <a:lnTo>
                      <a:pt x="1398" y="2256"/>
                    </a:lnTo>
                    <a:lnTo>
                      <a:pt x="1404" y="2274"/>
                    </a:lnTo>
                    <a:lnTo>
                      <a:pt x="1404" y="2298"/>
                    </a:lnTo>
                    <a:lnTo>
                      <a:pt x="1410" y="2316"/>
                    </a:lnTo>
                    <a:lnTo>
                      <a:pt x="1410" y="2334"/>
                    </a:lnTo>
                    <a:lnTo>
                      <a:pt x="1422" y="2358"/>
                    </a:lnTo>
                    <a:lnTo>
                      <a:pt x="1434" y="2364"/>
                    </a:lnTo>
                    <a:lnTo>
                      <a:pt x="1446" y="2364"/>
                    </a:lnTo>
                    <a:lnTo>
                      <a:pt x="1464" y="2346"/>
                    </a:lnTo>
                    <a:lnTo>
                      <a:pt x="1476" y="2346"/>
                    </a:lnTo>
                    <a:lnTo>
                      <a:pt x="1488" y="2352"/>
                    </a:lnTo>
                    <a:lnTo>
                      <a:pt x="1500" y="2364"/>
                    </a:lnTo>
                    <a:lnTo>
                      <a:pt x="1506" y="2376"/>
                    </a:lnTo>
                    <a:lnTo>
                      <a:pt x="1506" y="2394"/>
                    </a:lnTo>
                    <a:lnTo>
                      <a:pt x="1500" y="2412"/>
                    </a:lnTo>
                    <a:lnTo>
                      <a:pt x="1500" y="2442"/>
                    </a:lnTo>
                    <a:lnTo>
                      <a:pt x="1494" y="2448"/>
                    </a:lnTo>
                    <a:lnTo>
                      <a:pt x="1494" y="2454"/>
                    </a:lnTo>
                    <a:lnTo>
                      <a:pt x="1488" y="2466"/>
                    </a:lnTo>
                    <a:lnTo>
                      <a:pt x="1488" y="2478"/>
                    </a:lnTo>
                    <a:lnTo>
                      <a:pt x="1494" y="2496"/>
                    </a:lnTo>
                    <a:lnTo>
                      <a:pt x="1506" y="2490"/>
                    </a:lnTo>
                    <a:lnTo>
                      <a:pt x="1512" y="2484"/>
                    </a:lnTo>
                    <a:lnTo>
                      <a:pt x="1530" y="2484"/>
                    </a:lnTo>
                    <a:lnTo>
                      <a:pt x="1536" y="2490"/>
                    </a:lnTo>
                    <a:lnTo>
                      <a:pt x="1548" y="2514"/>
                    </a:lnTo>
                    <a:lnTo>
                      <a:pt x="1548" y="2526"/>
                    </a:lnTo>
                    <a:lnTo>
                      <a:pt x="1554" y="2526"/>
                    </a:lnTo>
                    <a:lnTo>
                      <a:pt x="1560" y="2532"/>
                    </a:lnTo>
                    <a:lnTo>
                      <a:pt x="1560" y="2562"/>
                    </a:lnTo>
                    <a:lnTo>
                      <a:pt x="1566" y="2580"/>
                    </a:lnTo>
                    <a:lnTo>
                      <a:pt x="1566" y="2616"/>
                    </a:lnTo>
                    <a:lnTo>
                      <a:pt x="1512" y="2634"/>
                    </a:lnTo>
                    <a:lnTo>
                      <a:pt x="1506" y="2640"/>
                    </a:lnTo>
                    <a:lnTo>
                      <a:pt x="1500" y="2652"/>
                    </a:lnTo>
                    <a:lnTo>
                      <a:pt x="1500" y="2670"/>
                    </a:lnTo>
                    <a:lnTo>
                      <a:pt x="1464" y="2670"/>
                    </a:lnTo>
                    <a:lnTo>
                      <a:pt x="1464" y="2688"/>
                    </a:lnTo>
                    <a:lnTo>
                      <a:pt x="1458" y="2694"/>
                    </a:lnTo>
                    <a:lnTo>
                      <a:pt x="1452" y="2718"/>
                    </a:lnTo>
                    <a:lnTo>
                      <a:pt x="1428" y="2724"/>
                    </a:lnTo>
                    <a:lnTo>
                      <a:pt x="1428" y="2736"/>
                    </a:lnTo>
                    <a:lnTo>
                      <a:pt x="1422" y="2748"/>
                    </a:lnTo>
                    <a:lnTo>
                      <a:pt x="1422" y="2760"/>
                    </a:lnTo>
                    <a:lnTo>
                      <a:pt x="1404" y="2778"/>
                    </a:lnTo>
                    <a:lnTo>
                      <a:pt x="1392" y="2778"/>
                    </a:lnTo>
                    <a:lnTo>
                      <a:pt x="1392" y="2802"/>
                    </a:lnTo>
                    <a:lnTo>
                      <a:pt x="1386" y="2808"/>
                    </a:lnTo>
                    <a:lnTo>
                      <a:pt x="1380" y="2820"/>
                    </a:lnTo>
                    <a:lnTo>
                      <a:pt x="1374" y="2826"/>
                    </a:lnTo>
                    <a:lnTo>
                      <a:pt x="1356" y="2826"/>
                    </a:lnTo>
                    <a:lnTo>
                      <a:pt x="1350" y="2832"/>
                    </a:lnTo>
                    <a:lnTo>
                      <a:pt x="1350" y="2844"/>
                    </a:lnTo>
                    <a:lnTo>
                      <a:pt x="1344" y="2856"/>
                    </a:lnTo>
                    <a:lnTo>
                      <a:pt x="1344" y="2868"/>
                    </a:lnTo>
                    <a:lnTo>
                      <a:pt x="1368" y="2868"/>
                    </a:lnTo>
                    <a:lnTo>
                      <a:pt x="1374" y="2862"/>
                    </a:lnTo>
                    <a:lnTo>
                      <a:pt x="1386" y="2856"/>
                    </a:lnTo>
                    <a:lnTo>
                      <a:pt x="1398" y="2856"/>
                    </a:lnTo>
                    <a:lnTo>
                      <a:pt x="1404" y="2862"/>
                    </a:lnTo>
                    <a:lnTo>
                      <a:pt x="1428" y="2874"/>
                    </a:lnTo>
                    <a:lnTo>
                      <a:pt x="1434" y="2886"/>
                    </a:lnTo>
                    <a:lnTo>
                      <a:pt x="1446" y="2892"/>
                    </a:lnTo>
                    <a:lnTo>
                      <a:pt x="1452" y="2898"/>
                    </a:lnTo>
                    <a:lnTo>
                      <a:pt x="1458" y="2910"/>
                    </a:lnTo>
                    <a:lnTo>
                      <a:pt x="1470" y="2922"/>
                    </a:lnTo>
                    <a:lnTo>
                      <a:pt x="1470" y="2934"/>
                    </a:lnTo>
                    <a:lnTo>
                      <a:pt x="1482" y="2934"/>
                    </a:lnTo>
                    <a:lnTo>
                      <a:pt x="1482" y="2928"/>
                    </a:lnTo>
                    <a:lnTo>
                      <a:pt x="1494" y="2916"/>
                    </a:lnTo>
                    <a:lnTo>
                      <a:pt x="1500" y="2916"/>
                    </a:lnTo>
                    <a:lnTo>
                      <a:pt x="1512" y="2922"/>
                    </a:lnTo>
                    <a:lnTo>
                      <a:pt x="1518" y="2934"/>
                    </a:lnTo>
                    <a:lnTo>
                      <a:pt x="1536" y="2952"/>
                    </a:lnTo>
                    <a:lnTo>
                      <a:pt x="1554" y="2952"/>
                    </a:lnTo>
                    <a:lnTo>
                      <a:pt x="1572" y="2970"/>
                    </a:lnTo>
                    <a:lnTo>
                      <a:pt x="1578" y="2970"/>
                    </a:lnTo>
                    <a:lnTo>
                      <a:pt x="1578" y="2982"/>
                    </a:lnTo>
                    <a:lnTo>
                      <a:pt x="1584" y="2988"/>
                    </a:lnTo>
                    <a:lnTo>
                      <a:pt x="1596" y="2994"/>
                    </a:lnTo>
                    <a:lnTo>
                      <a:pt x="1614" y="3000"/>
                    </a:lnTo>
                    <a:lnTo>
                      <a:pt x="1626" y="3000"/>
                    </a:lnTo>
                    <a:lnTo>
                      <a:pt x="1632" y="3012"/>
                    </a:lnTo>
                    <a:lnTo>
                      <a:pt x="1638" y="3018"/>
                    </a:lnTo>
                    <a:lnTo>
                      <a:pt x="1644" y="3030"/>
                    </a:lnTo>
                    <a:lnTo>
                      <a:pt x="1662" y="3048"/>
                    </a:lnTo>
                    <a:lnTo>
                      <a:pt x="1668" y="3048"/>
                    </a:lnTo>
                    <a:lnTo>
                      <a:pt x="1680" y="3054"/>
                    </a:lnTo>
                    <a:lnTo>
                      <a:pt x="1686" y="3054"/>
                    </a:lnTo>
                    <a:lnTo>
                      <a:pt x="1686" y="3066"/>
                    </a:lnTo>
                    <a:lnTo>
                      <a:pt x="1674" y="3090"/>
                    </a:lnTo>
                    <a:lnTo>
                      <a:pt x="1668" y="3096"/>
                    </a:lnTo>
                    <a:lnTo>
                      <a:pt x="1668" y="3120"/>
                    </a:lnTo>
                    <a:lnTo>
                      <a:pt x="1674" y="3120"/>
                    </a:lnTo>
                    <a:lnTo>
                      <a:pt x="1674" y="3150"/>
                    </a:lnTo>
                    <a:lnTo>
                      <a:pt x="1692" y="3150"/>
                    </a:lnTo>
                    <a:lnTo>
                      <a:pt x="1692" y="3144"/>
                    </a:lnTo>
                    <a:lnTo>
                      <a:pt x="1698" y="3132"/>
                    </a:lnTo>
                    <a:lnTo>
                      <a:pt x="1710" y="3126"/>
                    </a:lnTo>
                    <a:lnTo>
                      <a:pt x="1716" y="3114"/>
                    </a:lnTo>
                    <a:lnTo>
                      <a:pt x="1728" y="3102"/>
                    </a:lnTo>
                    <a:lnTo>
                      <a:pt x="1734" y="3090"/>
                    </a:lnTo>
                    <a:lnTo>
                      <a:pt x="1734" y="3060"/>
                    </a:lnTo>
                    <a:lnTo>
                      <a:pt x="1728" y="3054"/>
                    </a:lnTo>
                    <a:lnTo>
                      <a:pt x="1728" y="3048"/>
                    </a:lnTo>
                    <a:lnTo>
                      <a:pt x="1746" y="3018"/>
                    </a:lnTo>
                    <a:lnTo>
                      <a:pt x="1734" y="3012"/>
                    </a:lnTo>
                    <a:lnTo>
                      <a:pt x="1728" y="3000"/>
                    </a:lnTo>
                    <a:lnTo>
                      <a:pt x="1728" y="2988"/>
                    </a:lnTo>
                    <a:lnTo>
                      <a:pt x="1740" y="2976"/>
                    </a:lnTo>
                    <a:lnTo>
                      <a:pt x="1746" y="2976"/>
                    </a:lnTo>
                    <a:lnTo>
                      <a:pt x="1746" y="2952"/>
                    </a:lnTo>
                    <a:lnTo>
                      <a:pt x="1764" y="2952"/>
                    </a:lnTo>
                    <a:lnTo>
                      <a:pt x="1776" y="2940"/>
                    </a:lnTo>
                    <a:lnTo>
                      <a:pt x="1776" y="2904"/>
                    </a:lnTo>
                    <a:lnTo>
                      <a:pt x="1782" y="2898"/>
                    </a:lnTo>
                    <a:lnTo>
                      <a:pt x="1788" y="2886"/>
                    </a:lnTo>
                    <a:lnTo>
                      <a:pt x="1800" y="2874"/>
                    </a:lnTo>
                    <a:lnTo>
                      <a:pt x="1812" y="2868"/>
                    </a:lnTo>
                    <a:lnTo>
                      <a:pt x="1818" y="2862"/>
                    </a:lnTo>
                    <a:lnTo>
                      <a:pt x="1824" y="2862"/>
                    </a:lnTo>
                    <a:lnTo>
                      <a:pt x="1824" y="2898"/>
                    </a:lnTo>
                    <a:lnTo>
                      <a:pt x="1818" y="2904"/>
                    </a:lnTo>
                    <a:lnTo>
                      <a:pt x="1818" y="2910"/>
                    </a:lnTo>
                    <a:lnTo>
                      <a:pt x="1812" y="2916"/>
                    </a:lnTo>
                    <a:lnTo>
                      <a:pt x="1812" y="2934"/>
                    </a:lnTo>
                    <a:lnTo>
                      <a:pt x="1800" y="2940"/>
                    </a:lnTo>
                    <a:lnTo>
                      <a:pt x="1800" y="2952"/>
                    </a:lnTo>
                    <a:lnTo>
                      <a:pt x="1776" y="2982"/>
                    </a:lnTo>
                    <a:lnTo>
                      <a:pt x="1746" y="3006"/>
                    </a:lnTo>
                    <a:lnTo>
                      <a:pt x="1752" y="3012"/>
                    </a:lnTo>
                    <a:lnTo>
                      <a:pt x="1770" y="3012"/>
                    </a:lnTo>
                    <a:lnTo>
                      <a:pt x="1770" y="2994"/>
                    </a:lnTo>
                    <a:lnTo>
                      <a:pt x="1776" y="2988"/>
                    </a:lnTo>
                    <a:lnTo>
                      <a:pt x="1788" y="2988"/>
                    </a:lnTo>
                    <a:lnTo>
                      <a:pt x="1794" y="2982"/>
                    </a:lnTo>
                    <a:lnTo>
                      <a:pt x="1800" y="2982"/>
                    </a:lnTo>
                    <a:lnTo>
                      <a:pt x="1812" y="2964"/>
                    </a:lnTo>
                    <a:lnTo>
                      <a:pt x="1824" y="2940"/>
                    </a:lnTo>
                    <a:lnTo>
                      <a:pt x="1848" y="2880"/>
                    </a:lnTo>
                    <a:lnTo>
                      <a:pt x="1860" y="2832"/>
                    </a:lnTo>
                    <a:lnTo>
                      <a:pt x="1872" y="2808"/>
                    </a:lnTo>
                    <a:lnTo>
                      <a:pt x="1878" y="2790"/>
                    </a:lnTo>
                    <a:lnTo>
                      <a:pt x="1884" y="2778"/>
                    </a:lnTo>
                    <a:lnTo>
                      <a:pt x="1896" y="2772"/>
                    </a:lnTo>
                    <a:lnTo>
                      <a:pt x="1902" y="2760"/>
                    </a:lnTo>
                    <a:lnTo>
                      <a:pt x="1926" y="2736"/>
                    </a:lnTo>
                    <a:lnTo>
                      <a:pt x="1926" y="2724"/>
                    </a:lnTo>
                    <a:lnTo>
                      <a:pt x="1920" y="2718"/>
                    </a:lnTo>
                    <a:lnTo>
                      <a:pt x="1938" y="2706"/>
                    </a:lnTo>
                    <a:lnTo>
                      <a:pt x="1932" y="2670"/>
                    </a:lnTo>
                    <a:lnTo>
                      <a:pt x="1938" y="2646"/>
                    </a:lnTo>
                    <a:lnTo>
                      <a:pt x="1926" y="2640"/>
                    </a:lnTo>
                    <a:lnTo>
                      <a:pt x="1932" y="2634"/>
                    </a:lnTo>
                    <a:lnTo>
                      <a:pt x="1938" y="2622"/>
                    </a:lnTo>
                    <a:lnTo>
                      <a:pt x="1938" y="2610"/>
                    </a:lnTo>
                    <a:lnTo>
                      <a:pt x="1932" y="2604"/>
                    </a:lnTo>
                    <a:lnTo>
                      <a:pt x="1920" y="2598"/>
                    </a:lnTo>
                    <a:lnTo>
                      <a:pt x="1914" y="2592"/>
                    </a:lnTo>
                    <a:lnTo>
                      <a:pt x="1914" y="2556"/>
                    </a:lnTo>
                    <a:lnTo>
                      <a:pt x="1896" y="2544"/>
                    </a:lnTo>
                    <a:lnTo>
                      <a:pt x="1920" y="2544"/>
                    </a:lnTo>
                    <a:lnTo>
                      <a:pt x="1914" y="2520"/>
                    </a:lnTo>
                    <a:lnTo>
                      <a:pt x="1902" y="2508"/>
                    </a:lnTo>
                    <a:lnTo>
                      <a:pt x="1908" y="2508"/>
                    </a:lnTo>
                    <a:lnTo>
                      <a:pt x="1920" y="2502"/>
                    </a:lnTo>
                    <a:lnTo>
                      <a:pt x="1920" y="2490"/>
                    </a:lnTo>
                    <a:lnTo>
                      <a:pt x="1914" y="2490"/>
                    </a:lnTo>
                    <a:lnTo>
                      <a:pt x="1902" y="2484"/>
                    </a:lnTo>
                    <a:lnTo>
                      <a:pt x="1896" y="2478"/>
                    </a:lnTo>
                    <a:lnTo>
                      <a:pt x="1920" y="2460"/>
                    </a:lnTo>
                    <a:lnTo>
                      <a:pt x="1932" y="2472"/>
                    </a:lnTo>
                    <a:lnTo>
                      <a:pt x="1944" y="2478"/>
                    </a:lnTo>
                    <a:lnTo>
                      <a:pt x="1950" y="2478"/>
                    </a:lnTo>
                    <a:lnTo>
                      <a:pt x="1950" y="2448"/>
                    </a:lnTo>
                    <a:lnTo>
                      <a:pt x="1962" y="2424"/>
                    </a:lnTo>
                    <a:lnTo>
                      <a:pt x="1974" y="2418"/>
                    </a:lnTo>
                    <a:lnTo>
                      <a:pt x="1980" y="2418"/>
                    </a:lnTo>
                    <a:lnTo>
                      <a:pt x="2004" y="2406"/>
                    </a:lnTo>
                    <a:lnTo>
                      <a:pt x="2010" y="2394"/>
                    </a:lnTo>
                    <a:lnTo>
                      <a:pt x="2010" y="2382"/>
                    </a:lnTo>
                    <a:lnTo>
                      <a:pt x="2016" y="2376"/>
                    </a:lnTo>
                    <a:lnTo>
                      <a:pt x="2028" y="2376"/>
                    </a:lnTo>
                    <a:lnTo>
                      <a:pt x="2034" y="2370"/>
                    </a:lnTo>
                    <a:lnTo>
                      <a:pt x="2046" y="2370"/>
                    </a:lnTo>
                    <a:lnTo>
                      <a:pt x="2046" y="2358"/>
                    </a:lnTo>
                    <a:lnTo>
                      <a:pt x="2070" y="2358"/>
                    </a:lnTo>
                    <a:lnTo>
                      <a:pt x="2070" y="2340"/>
                    </a:lnTo>
                    <a:lnTo>
                      <a:pt x="2118" y="2340"/>
                    </a:lnTo>
                    <a:lnTo>
                      <a:pt x="2124" y="2358"/>
                    </a:lnTo>
                    <a:lnTo>
                      <a:pt x="2136" y="2352"/>
                    </a:lnTo>
                    <a:lnTo>
                      <a:pt x="2118" y="2334"/>
                    </a:lnTo>
                    <a:lnTo>
                      <a:pt x="2136" y="2316"/>
                    </a:lnTo>
                    <a:lnTo>
                      <a:pt x="2142" y="2316"/>
                    </a:lnTo>
                    <a:lnTo>
                      <a:pt x="2154" y="2310"/>
                    </a:lnTo>
                    <a:lnTo>
                      <a:pt x="2178" y="2310"/>
                    </a:lnTo>
                    <a:lnTo>
                      <a:pt x="2160" y="2292"/>
                    </a:lnTo>
                    <a:lnTo>
                      <a:pt x="2172" y="2286"/>
                    </a:lnTo>
                    <a:lnTo>
                      <a:pt x="2178" y="2280"/>
                    </a:lnTo>
                    <a:lnTo>
                      <a:pt x="2190" y="2280"/>
                    </a:lnTo>
                    <a:lnTo>
                      <a:pt x="2190" y="2304"/>
                    </a:lnTo>
                    <a:lnTo>
                      <a:pt x="2196" y="2304"/>
                    </a:lnTo>
                    <a:lnTo>
                      <a:pt x="2196" y="2298"/>
                    </a:lnTo>
                    <a:lnTo>
                      <a:pt x="2202" y="2286"/>
                    </a:lnTo>
                    <a:lnTo>
                      <a:pt x="2208" y="2280"/>
                    </a:lnTo>
                    <a:lnTo>
                      <a:pt x="2244" y="2286"/>
                    </a:lnTo>
                    <a:lnTo>
                      <a:pt x="2244" y="2280"/>
                    </a:lnTo>
                    <a:lnTo>
                      <a:pt x="2250" y="2274"/>
                    </a:lnTo>
                    <a:lnTo>
                      <a:pt x="2250" y="2268"/>
                    </a:lnTo>
                    <a:lnTo>
                      <a:pt x="2256" y="2262"/>
                    </a:lnTo>
                    <a:lnTo>
                      <a:pt x="2268" y="2256"/>
                    </a:lnTo>
                    <a:lnTo>
                      <a:pt x="2274" y="2256"/>
                    </a:lnTo>
                    <a:lnTo>
                      <a:pt x="2280" y="2262"/>
                    </a:lnTo>
                    <a:lnTo>
                      <a:pt x="2280" y="2286"/>
                    </a:lnTo>
                    <a:lnTo>
                      <a:pt x="2346" y="2280"/>
                    </a:lnTo>
                    <a:lnTo>
                      <a:pt x="2352" y="2262"/>
                    </a:lnTo>
                    <a:lnTo>
                      <a:pt x="2346" y="2250"/>
                    </a:lnTo>
                    <a:lnTo>
                      <a:pt x="2352" y="2244"/>
                    </a:lnTo>
                    <a:lnTo>
                      <a:pt x="2358" y="2232"/>
                    </a:lnTo>
                    <a:lnTo>
                      <a:pt x="2370" y="2220"/>
                    </a:lnTo>
                    <a:lnTo>
                      <a:pt x="2406" y="2202"/>
                    </a:lnTo>
                    <a:lnTo>
                      <a:pt x="2418" y="2202"/>
                    </a:lnTo>
                    <a:lnTo>
                      <a:pt x="2412" y="2190"/>
                    </a:lnTo>
                    <a:lnTo>
                      <a:pt x="2412" y="2112"/>
                    </a:lnTo>
                    <a:lnTo>
                      <a:pt x="2442" y="2082"/>
                    </a:lnTo>
                    <a:lnTo>
                      <a:pt x="2442" y="2058"/>
                    </a:lnTo>
                    <a:lnTo>
                      <a:pt x="2460" y="2052"/>
                    </a:lnTo>
                    <a:lnTo>
                      <a:pt x="2460" y="2022"/>
                    </a:lnTo>
                    <a:lnTo>
                      <a:pt x="2466" y="2022"/>
                    </a:lnTo>
                    <a:lnTo>
                      <a:pt x="2472" y="2016"/>
                    </a:lnTo>
                    <a:lnTo>
                      <a:pt x="2478" y="2016"/>
                    </a:lnTo>
                    <a:lnTo>
                      <a:pt x="2478" y="2010"/>
                    </a:lnTo>
                    <a:lnTo>
                      <a:pt x="2484" y="2004"/>
                    </a:lnTo>
                    <a:lnTo>
                      <a:pt x="2484" y="1956"/>
                    </a:lnTo>
                    <a:lnTo>
                      <a:pt x="2478" y="1944"/>
                    </a:lnTo>
                    <a:lnTo>
                      <a:pt x="2478" y="1926"/>
                    </a:lnTo>
                    <a:lnTo>
                      <a:pt x="2472" y="1908"/>
                    </a:lnTo>
                    <a:lnTo>
                      <a:pt x="2484" y="1884"/>
                    </a:lnTo>
                    <a:lnTo>
                      <a:pt x="2514" y="1854"/>
                    </a:lnTo>
                    <a:lnTo>
                      <a:pt x="2514" y="1848"/>
                    </a:lnTo>
                    <a:lnTo>
                      <a:pt x="2508" y="1836"/>
                    </a:lnTo>
                    <a:lnTo>
                      <a:pt x="2508" y="1830"/>
                    </a:lnTo>
                    <a:lnTo>
                      <a:pt x="2502" y="1818"/>
                    </a:lnTo>
                    <a:lnTo>
                      <a:pt x="2508" y="1764"/>
                    </a:lnTo>
                    <a:lnTo>
                      <a:pt x="2508" y="1758"/>
                    </a:lnTo>
                    <a:lnTo>
                      <a:pt x="2514" y="1752"/>
                    </a:lnTo>
                    <a:lnTo>
                      <a:pt x="2514" y="1722"/>
                    </a:lnTo>
                    <a:lnTo>
                      <a:pt x="2520" y="1710"/>
                    </a:lnTo>
                    <a:lnTo>
                      <a:pt x="2520" y="1680"/>
                    </a:lnTo>
                    <a:lnTo>
                      <a:pt x="2508" y="1644"/>
                    </a:lnTo>
                    <a:lnTo>
                      <a:pt x="2502" y="1608"/>
                    </a:lnTo>
                    <a:lnTo>
                      <a:pt x="2502" y="1596"/>
                    </a:lnTo>
                    <a:lnTo>
                      <a:pt x="2508" y="1560"/>
                    </a:lnTo>
                    <a:lnTo>
                      <a:pt x="2508" y="1548"/>
                    </a:lnTo>
                    <a:lnTo>
                      <a:pt x="2502" y="1536"/>
                    </a:lnTo>
                    <a:lnTo>
                      <a:pt x="2502" y="1500"/>
                    </a:lnTo>
                    <a:lnTo>
                      <a:pt x="2508" y="1488"/>
                    </a:lnTo>
                    <a:lnTo>
                      <a:pt x="2520" y="1476"/>
                    </a:lnTo>
                    <a:lnTo>
                      <a:pt x="2508" y="1458"/>
                    </a:lnTo>
                    <a:lnTo>
                      <a:pt x="2520" y="1446"/>
                    </a:lnTo>
                    <a:lnTo>
                      <a:pt x="2532" y="1446"/>
                    </a:lnTo>
                    <a:lnTo>
                      <a:pt x="2532" y="1452"/>
                    </a:lnTo>
                    <a:lnTo>
                      <a:pt x="2538" y="1464"/>
                    </a:lnTo>
                    <a:lnTo>
                      <a:pt x="2544" y="1470"/>
                    </a:lnTo>
                    <a:lnTo>
                      <a:pt x="2556" y="1464"/>
                    </a:lnTo>
                    <a:lnTo>
                      <a:pt x="2562" y="1452"/>
                    </a:lnTo>
                    <a:lnTo>
                      <a:pt x="2574" y="1446"/>
                    </a:lnTo>
                    <a:lnTo>
                      <a:pt x="2580" y="1434"/>
                    </a:lnTo>
                    <a:lnTo>
                      <a:pt x="2586" y="1428"/>
                    </a:lnTo>
                    <a:lnTo>
                      <a:pt x="2592" y="1416"/>
                    </a:lnTo>
                    <a:lnTo>
                      <a:pt x="2592" y="1404"/>
                    </a:lnTo>
                    <a:lnTo>
                      <a:pt x="2598" y="1386"/>
                    </a:lnTo>
                    <a:lnTo>
                      <a:pt x="2598" y="1374"/>
                    </a:lnTo>
                    <a:lnTo>
                      <a:pt x="2604" y="1356"/>
                    </a:lnTo>
                    <a:lnTo>
                      <a:pt x="2604" y="1344"/>
                    </a:lnTo>
                    <a:lnTo>
                      <a:pt x="2610" y="1338"/>
                    </a:lnTo>
                    <a:lnTo>
                      <a:pt x="2616" y="1338"/>
                    </a:lnTo>
                    <a:lnTo>
                      <a:pt x="2628" y="1326"/>
                    </a:lnTo>
                    <a:lnTo>
                      <a:pt x="2634" y="1314"/>
                    </a:lnTo>
                    <a:lnTo>
                      <a:pt x="2640" y="1308"/>
                    </a:lnTo>
                    <a:lnTo>
                      <a:pt x="2640" y="1296"/>
                    </a:lnTo>
                    <a:lnTo>
                      <a:pt x="2652" y="1290"/>
                    </a:lnTo>
                    <a:lnTo>
                      <a:pt x="2658" y="1284"/>
                    </a:lnTo>
                    <a:lnTo>
                      <a:pt x="2670" y="1284"/>
                    </a:lnTo>
                    <a:lnTo>
                      <a:pt x="2682" y="1272"/>
                    </a:lnTo>
                    <a:lnTo>
                      <a:pt x="2682" y="1254"/>
                    </a:lnTo>
                    <a:lnTo>
                      <a:pt x="2688" y="1254"/>
                    </a:lnTo>
                    <a:lnTo>
                      <a:pt x="2724" y="1218"/>
                    </a:lnTo>
                    <a:lnTo>
                      <a:pt x="2736" y="1188"/>
                    </a:lnTo>
                    <a:lnTo>
                      <a:pt x="2754" y="1158"/>
                    </a:lnTo>
                    <a:lnTo>
                      <a:pt x="2760" y="1134"/>
                    </a:lnTo>
                    <a:lnTo>
                      <a:pt x="2766" y="1122"/>
                    </a:lnTo>
                    <a:lnTo>
                      <a:pt x="2772" y="1116"/>
                    </a:lnTo>
                    <a:lnTo>
                      <a:pt x="2778" y="1104"/>
                    </a:lnTo>
                    <a:lnTo>
                      <a:pt x="2784" y="1098"/>
                    </a:lnTo>
                    <a:lnTo>
                      <a:pt x="2784" y="1080"/>
                    </a:lnTo>
                    <a:lnTo>
                      <a:pt x="2778" y="1068"/>
                    </a:lnTo>
                    <a:lnTo>
                      <a:pt x="2778" y="1002"/>
                    </a:lnTo>
                    <a:close/>
                  </a:path>
                </a:pathLst>
              </a:custGeom>
              <a:solidFill>
                <a:srgbClr val="4A66AC"/>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dirty="0">
                  <a:solidFill>
                    <a:prstClr val="black"/>
                  </a:solidFill>
                </a:endParaRPr>
              </a:p>
            </p:txBody>
          </p:sp>
          <p:sp>
            <p:nvSpPr>
              <p:cNvPr id="56" name="Bolivia" descr="© INSCALE GmbH, 05.05.2010&#10;http://www.presentationload.com/">
                <a:extLst>
                  <a:ext uri="{FF2B5EF4-FFF2-40B4-BE49-F238E27FC236}">
                    <a16:creationId xmlns:a16="http://schemas.microsoft.com/office/drawing/2014/main" id="{745162CA-30E7-4C85-852B-92146511E5AD}"/>
                  </a:ext>
                </a:extLst>
              </p:cNvPr>
              <p:cNvSpPr>
                <a:spLocks/>
              </p:cNvSpPr>
              <p:nvPr/>
            </p:nvSpPr>
            <p:spPr bwMode="gray">
              <a:xfrm>
                <a:off x="2267933" y="4897109"/>
                <a:ext cx="352540" cy="466096"/>
              </a:xfrm>
              <a:custGeom>
                <a:avLst/>
                <a:gdLst>
                  <a:gd name="T0" fmla="*/ 2147483647 w 894"/>
                  <a:gd name="T1" fmla="*/ 2147483647 h 1056"/>
                  <a:gd name="T2" fmla="*/ 2147483647 w 894"/>
                  <a:gd name="T3" fmla="*/ 2147483647 h 1056"/>
                  <a:gd name="T4" fmla="*/ 2147483647 w 894"/>
                  <a:gd name="T5" fmla="*/ 2147483647 h 1056"/>
                  <a:gd name="T6" fmla="*/ 2147483647 w 894"/>
                  <a:gd name="T7" fmla="*/ 2147483647 h 1056"/>
                  <a:gd name="T8" fmla="*/ 2147483647 w 894"/>
                  <a:gd name="T9" fmla="*/ 2147483647 h 1056"/>
                  <a:gd name="T10" fmla="*/ 2147483647 w 894"/>
                  <a:gd name="T11" fmla="*/ 2147483647 h 1056"/>
                  <a:gd name="T12" fmla="*/ 2147483647 w 894"/>
                  <a:gd name="T13" fmla="*/ 2147483647 h 1056"/>
                  <a:gd name="T14" fmla="*/ 2147483647 w 894"/>
                  <a:gd name="T15" fmla="*/ 2147483647 h 1056"/>
                  <a:gd name="T16" fmla="*/ 2147483647 w 894"/>
                  <a:gd name="T17" fmla="*/ 2147483647 h 1056"/>
                  <a:gd name="T18" fmla="*/ 2147483647 w 894"/>
                  <a:gd name="T19" fmla="*/ 2147483647 h 1056"/>
                  <a:gd name="T20" fmla="*/ 2147483647 w 894"/>
                  <a:gd name="T21" fmla="*/ 2147483647 h 1056"/>
                  <a:gd name="T22" fmla="*/ 2147483647 w 894"/>
                  <a:gd name="T23" fmla="*/ 2147483647 h 1056"/>
                  <a:gd name="T24" fmla="*/ 2147483647 w 894"/>
                  <a:gd name="T25" fmla="*/ 2147483647 h 1056"/>
                  <a:gd name="T26" fmla="*/ 2147483647 w 894"/>
                  <a:gd name="T27" fmla="*/ 2147483647 h 1056"/>
                  <a:gd name="T28" fmla="*/ 2147483647 w 894"/>
                  <a:gd name="T29" fmla="*/ 2147483647 h 1056"/>
                  <a:gd name="T30" fmla="*/ 2147483647 w 894"/>
                  <a:gd name="T31" fmla="*/ 2147483647 h 1056"/>
                  <a:gd name="T32" fmla="*/ 2147483647 w 894"/>
                  <a:gd name="T33" fmla="*/ 2147483647 h 1056"/>
                  <a:gd name="T34" fmla="*/ 2147483647 w 894"/>
                  <a:gd name="T35" fmla="*/ 2147483647 h 1056"/>
                  <a:gd name="T36" fmla="*/ 2147483647 w 894"/>
                  <a:gd name="T37" fmla="*/ 2147483647 h 1056"/>
                  <a:gd name="T38" fmla="*/ 2147483647 w 894"/>
                  <a:gd name="T39" fmla="*/ 2147483647 h 1056"/>
                  <a:gd name="T40" fmla="*/ 2147483647 w 894"/>
                  <a:gd name="T41" fmla="*/ 2147483647 h 1056"/>
                  <a:gd name="T42" fmla="*/ 2147483647 w 894"/>
                  <a:gd name="T43" fmla="*/ 2147483647 h 1056"/>
                  <a:gd name="T44" fmla="*/ 2147483647 w 894"/>
                  <a:gd name="T45" fmla="*/ 2147483647 h 1056"/>
                  <a:gd name="T46" fmla="*/ 2147483647 w 894"/>
                  <a:gd name="T47" fmla="*/ 2147483647 h 1056"/>
                  <a:gd name="T48" fmla="*/ 0 w 894"/>
                  <a:gd name="T49" fmla="*/ 2147483647 h 1056"/>
                  <a:gd name="T50" fmla="*/ 2147483647 w 894"/>
                  <a:gd name="T51" fmla="*/ 2147483647 h 1056"/>
                  <a:gd name="T52" fmla="*/ 2147483647 w 894"/>
                  <a:gd name="T53" fmla="*/ 2147483647 h 1056"/>
                  <a:gd name="T54" fmla="*/ 2147483647 w 894"/>
                  <a:gd name="T55" fmla="*/ 2147483647 h 1056"/>
                  <a:gd name="T56" fmla="*/ 2147483647 w 894"/>
                  <a:gd name="T57" fmla="*/ 2147483647 h 1056"/>
                  <a:gd name="T58" fmla="*/ 2147483647 w 894"/>
                  <a:gd name="T59" fmla="*/ 2147483647 h 1056"/>
                  <a:gd name="T60" fmla="*/ 2147483647 w 894"/>
                  <a:gd name="T61" fmla="*/ 2147483647 h 1056"/>
                  <a:gd name="T62" fmla="*/ 2147483647 w 894"/>
                  <a:gd name="T63" fmla="*/ 2147483647 h 1056"/>
                  <a:gd name="T64" fmla="*/ 2147483647 w 894"/>
                  <a:gd name="T65" fmla="*/ 2147483647 h 1056"/>
                  <a:gd name="T66" fmla="*/ 2147483647 w 894"/>
                  <a:gd name="T67" fmla="*/ 2147483647 h 1056"/>
                  <a:gd name="T68" fmla="*/ 2147483647 w 894"/>
                  <a:gd name="T69" fmla="*/ 2147483647 h 1056"/>
                  <a:gd name="T70" fmla="*/ 2147483647 w 894"/>
                  <a:gd name="T71" fmla="*/ 2147483647 h 1056"/>
                  <a:gd name="T72" fmla="*/ 2147483647 w 894"/>
                  <a:gd name="T73" fmla="*/ 2147483647 h 1056"/>
                  <a:gd name="T74" fmla="*/ 2147483647 w 894"/>
                  <a:gd name="T75" fmla="*/ 2147483647 h 1056"/>
                  <a:gd name="T76" fmla="*/ 2147483647 w 894"/>
                  <a:gd name="T77" fmla="*/ 2147483647 h 1056"/>
                  <a:gd name="T78" fmla="*/ 2147483647 w 894"/>
                  <a:gd name="T79" fmla="*/ 2147483647 h 1056"/>
                  <a:gd name="T80" fmla="*/ 2147483647 w 894"/>
                  <a:gd name="T81" fmla="*/ 2147483647 h 1056"/>
                  <a:gd name="T82" fmla="*/ 2147483647 w 894"/>
                  <a:gd name="T83" fmla="*/ 2147483647 h 1056"/>
                  <a:gd name="T84" fmla="*/ 2147483647 w 894"/>
                  <a:gd name="T85" fmla="*/ 2147483647 h 1056"/>
                  <a:gd name="T86" fmla="*/ 2147483647 w 894"/>
                  <a:gd name="T87" fmla="*/ 2147483647 h 1056"/>
                  <a:gd name="T88" fmla="*/ 2147483647 w 894"/>
                  <a:gd name="T89" fmla="*/ 2147483647 h 1056"/>
                  <a:gd name="T90" fmla="*/ 2147483647 w 894"/>
                  <a:gd name="T91" fmla="*/ 2147483647 h 1056"/>
                  <a:gd name="T92" fmla="*/ 2147483647 w 894"/>
                  <a:gd name="T93" fmla="*/ 2147483647 h 1056"/>
                  <a:gd name="T94" fmla="*/ 2147483647 w 894"/>
                  <a:gd name="T95" fmla="*/ 2147483647 h 1056"/>
                  <a:gd name="T96" fmla="*/ 2147483647 w 894"/>
                  <a:gd name="T97" fmla="*/ 2147483647 h 1056"/>
                  <a:gd name="T98" fmla="*/ 2147483647 w 894"/>
                  <a:gd name="T99" fmla="*/ 2147483647 h 1056"/>
                  <a:gd name="T100" fmla="*/ 2147483647 w 894"/>
                  <a:gd name="T101" fmla="*/ 2147483647 h 105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894"/>
                  <a:gd name="T154" fmla="*/ 0 h 1056"/>
                  <a:gd name="T155" fmla="*/ 894 w 894"/>
                  <a:gd name="T156" fmla="*/ 1056 h 105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894" h="1056">
                    <a:moveTo>
                      <a:pt x="882" y="744"/>
                    </a:moveTo>
                    <a:lnTo>
                      <a:pt x="882" y="738"/>
                    </a:lnTo>
                    <a:lnTo>
                      <a:pt x="888" y="732"/>
                    </a:lnTo>
                    <a:lnTo>
                      <a:pt x="888" y="708"/>
                    </a:lnTo>
                    <a:lnTo>
                      <a:pt x="894" y="696"/>
                    </a:lnTo>
                    <a:lnTo>
                      <a:pt x="894" y="684"/>
                    </a:lnTo>
                    <a:lnTo>
                      <a:pt x="882" y="648"/>
                    </a:lnTo>
                    <a:lnTo>
                      <a:pt x="876" y="636"/>
                    </a:lnTo>
                    <a:lnTo>
                      <a:pt x="864" y="624"/>
                    </a:lnTo>
                    <a:lnTo>
                      <a:pt x="840" y="612"/>
                    </a:lnTo>
                    <a:lnTo>
                      <a:pt x="834" y="606"/>
                    </a:lnTo>
                    <a:lnTo>
                      <a:pt x="822" y="600"/>
                    </a:lnTo>
                    <a:lnTo>
                      <a:pt x="816" y="588"/>
                    </a:lnTo>
                    <a:lnTo>
                      <a:pt x="816" y="576"/>
                    </a:lnTo>
                    <a:lnTo>
                      <a:pt x="822" y="558"/>
                    </a:lnTo>
                    <a:lnTo>
                      <a:pt x="822" y="546"/>
                    </a:lnTo>
                    <a:lnTo>
                      <a:pt x="828" y="540"/>
                    </a:lnTo>
                    <a:lnTo>
                      <a:pt x="828" y="534"/>
                    </a:lnTo>
                    <a:lnTo>
                      <a:pt x="768" y="534"/>
                    </a:lnTo>
                    <a:lnTo>
                      <a:pt x="720" y="528"/>
                    </a:lnTo>
                    <a:lnTo>
                      <a:pt x="690" y="522"/>
                    </a:lnTo>
                    <a:lnTo>
                      <a:pt x="684" y="516"/>
                    </a:lnTo>
                    <a:lnTo>
                      <a:pt x="684" y="474"/>
                    </a:lnTo>
                    <a:lnTo>
                      <a:pt x="690" y="462"/>
                    </a:lnTo>
                    <a:lnTo>
                      <a:pt x="684" y="456"/>
                    </a:lnTo>
                    <a:lnTo>
                      <a:pt x="672" y="450"/>
                    </a:lnTo>
                    <a:lnTo>
                      <a:pt x="666" y="438"/>
                    </a:lnTo>
                    <a:lnTo>
                      <a:pt x="660" y="432"/>
                    </a:lnTo>
                    <a:lnTo>
                      <a:pt x="660" y="426"/>
                    </a:lnTo>
                    <a:lnTo>
                      <a:pt x="678" y="426"/>
                    </a:lnTo>
                    <a:lnTo>
                      <a:pt x="678" y="396"/>
                    </a:lnTo>
                    <a:lnTo>
                      <a:pt x="672" y="384"/>
                    </a:lnTo>
                    <a:lnTo>
                      <a:pt x="666" y="378"/>
                    </a:lnTo>
                    <a:lnTo>
                      <a:pt x="660" y="366"/>
                    </a:lnTo>
                    <a:lnTo>
                      <a:pt x="660" y="336"/>
                    </a:lnTo>
                    <a:lnTo>
                      <a:pt x="654" y="330"/>
                    </a:lnTo>
                    <a:lnTo>
                      <a:pt x="648" y="318"/>
                    </a:lnTo>
                    <a:lnTo>
                      <a:pt x="624" y="306"/>
                    </a:lnTo>
                    <a:lnTo>
                      <a:pt x="564" y="306"/>
                    </a:lnTo>
                    <a:lnTo>
                      <a:pt x="558" y="300"/>
                    </a:lnTo>
                    <a:lnTo>
                      <a:pt x="546" y="294"/>
                    </a:lnTo>
                    <a:lnTo>
                      <a:pt x="534" y="282"/>
                    </a:lnTo>
                    <a:lnTo>
                      <a:pt x="534" y="276"/>
                    </a:lnTo>
                    <a:lnTo>
                      <a:pt x="510" y="276"/>
                    </a:lnTo>
                    <a:lnTo>
                      <a:pt x="498" y="270"/>
                    </a:lnTo>
                    <a:lnTo>
                      <a:pt x="486" y="258"/>
                    </a:lnTo>
                    <a:lnTo>
                      <a:pt x="474" y="252"/>
                    </a:lnTo>
                    <a:lnTo>
                      <a:pt x="468" y="240"/>
                    </a:lnTo>
                    <a:lnTo>
                      <a:pt x="468" y="234"/>
                    </a:lnTo>
                    <a:lnTo>
                      <a:pt x="456" y="234"/>
                    </a:lnTo>
                    <a:lnTo>
                      <a:pt x="450" y="240"/>
                    </a:lnTo>
                    <a:lnTo>
                      <a:pt x="438" y="240"/>
                    </a:lnTo>
                    <a:lnTo>
                      <a:pt x="426" y="234"/>
                    </a:lnTo>
                    <a:lnTo>
                      <a:pt x="420" y="222"/>
                    </a:lnTo>
                    <a:lnTo>
                      <a:pt x="414" y="228"/>
                    </a:lnTo>
                    <a:lnTo>
                      <a:pt x="384" y="228"/>
                    </a:lnTo>
                    <a:lnTo>
                      <a:pt x="372" y="222"/>
                    </a:lnTo>
                    <a:lnTo>
                      <a:pt x="366" y="216"/>
                    </a:lnTo>
                    <a:lnTo>
                      <a:pt x="366" y="210"/>
                    </a:lnTo>
                    <a:lnTo>
                      <a:pt x="360" y="198"/>
                    </a:lnTo>
                    <a:lnTo>
                      <a:pt x="360" y="192"/>
                    </a:lnTo>
                    <a:lnTo>
                      <a:pt x="354" y="186"/>
                    </a:lnTo>
                    <a:lnTo>
                      <a:pt x="330" y="186"/>
                    </a:lnTo>
                    <a:lnTo>
                      <a:pt x="324" y="156"/>
                    </a:lnTo>
                    <a:lnTo>
                      <a:pt x="318" y="150"/>
                    </a:lnTo>
                    <a:lnTo>
                      <a:pt x="306" y="144"/>
                    </a:lnTo>
                    <a:lnTo>
                      <a:pt x="294" y="132"/>
                    </a:lnTo>
                    <a:lnTo>
                      <a:pt x="294" y="120"/>
                    </a:lnTo>
                    <a:lnTo>
                      <a:pt x="300" y="114"/>
                    </a:lnTo>
                    <a:lnTo>
                      <a:pt x="300" y="96"/>
                    </a:lnTo>
                    <a:lnTo>
                      <a:pt x="294" y="84"/>
                    </a:lnTo>
                    <a:lnTo>
                      <a:pt x="288" y="78"/>
                    </a:lnTo>
                    <a:lnTo>
                      <a:pt x="288" y="48"/>
                    </a:lnTo>
                    <a:lnTo>
                      <a:pt x="294" y="42"/>
                    </a:lnTo>
                    <a:lnTo>
                      <a:pt x="294" y="36"/>
                    </a:lnTo>
                    <a:lnTo>
                      <a:pt x="300" y="30"/>
                    </a:lnTo>
                    <a:lnTo>
                      <a:pt x="300" y="0"/>
                    </a:lnTo>
                    <a:lnTo>
                      <a:pt x="288" y="0"/>
                    </a:lnTo>
                    <a:lnTo>
                      <a:pt x="276" y="6"/>
                    </a:lnTo>
                    <a:lnTo>
                      <a:pt x="276" y="12"/>
                    </a:lnTo>
                    <a:lnTo>
                      <a:pt x="270" y="12"/>
                    </a:lnTo>
                    <a:lnTo>
                      <a:pt x="258" y="0"/>
                    </a:lnTo>
                    <a:lnTo>
                      <a:pt x="246" y="12"/>
                    </a:lnTo>
                    <a:lnTo>
                      <a:pt x="210" y="12"/>
                    </a:lnTo>
                    <a:lnTo>
                      <a:pt x="198" y="18"/>
                    </a:lnTo>
                    <a:lnTo>
                      <a:pt x="192" y="24"/>
                    </a:lnTo>
                    <a:lnTo>
                      <a:pt x="186" y="36"/>
                    </a:lnTo>
                    <a:lnTo>
                      <a:pt x="180" y="42"/>
                    </a:lnTo>
                    <a:lnTo>
                      <a:pt x="180" y="48"/>
                    </a:lnTo>
                    <a:lnTo>
                      <a:pt x="144" y="48"/>
                    </a:lnTo>
                    <a:lnTo>
                      <a:pt x="138" y="78"/>
                    </a:lnTo>
                    <a:lnTo>
                      <a:pt x="102" y="78"/>
                    </a:lnTo>
                    <a:lnTo>
                      <a:pt x="90" y="96"/>
                    </a:lnTo>
                    <a:lnTo>
                      <a:pt x="84" y="102"/>
                    </a:lnTo>
                    <a:lnTo>
                      <a:pt x="60" y="114"/>
                    </a:lnTo>
                    <a:lnTo>
                      <a:pt x="42" y="114"/>
                    </a:lnTo>
                    <a:lnTo>
                      <a:pt x="42" y="108"/>
                    </a:lnTo>
                    <a:lnTo>
                      <a:pt x="36" y="102"/>
                    </a:lnTo>
                    <a:lnTo>
                      <a:pt x="12" y="102"/>
                    </a:lnTo>
                    <a:lnTo>
                      <a:pt x="0" y="96"/>
                    </a:lnTo>
                    <a:lnTo>
                      <a:pt x="0" y="114"/>
                    </a:lnTo>
                    <a:lnTo>
                      <a:pt x="6" y="132"/>
                    </a:lnTo>
                    <a:lnTo>
                      <a:pt x="18" y="144"/>
                    </a:lnTo>
                    <a:lnTo>
                      <a:pt x="30" y="162"/>
                    </a:lnTo>
                    <a:lnTo>
                      <a:pt x="42" y="174"/>
                    </a:lnTo>
                    <a:lnTo>
                      <a:pt x="54" y="192"/>
                    </a:lnTo>
                    <a:lnTo>
                      <a:pt x="66" y="216"/>
                    </a:lnTo>
                    <a:lnTo>
                      <a:pt x="66" y="228"/>
                    </a:lnTo>
                    <a:lnTo>
                      <a:pt x="60" y="234"/>
                    </a:lnTo>
                    <a:lnTo>
                      <a:pt x="54" y="246"/>
                    </a:lnTo>
                    <a:lnTo>
                      <a:pt x="48" y="252"/>
                    </a:lnTo>
                    <a:lnTo>
                      <a:pt x="60" y="300"/>
                    </a:lnTo>
                    <a:lnTo>
                      <a:pt x="42" y="330"/>
                    </a:lnTo>
                    <a:lnTo>
                      <a:pt x="48" y="330"/>
                    </a:lnTo>
                    <a:lnTo>
                      <a:pt x="60" y="342"/>
                    </a:lnTo>
                    <a:lnTo>
                      <a:pt x="66" y="354"/>
                    </a:lnTo>
                    <a:lnTo>
                      <a:pt x="66" y="360"/>
                    </a:lnTo>
                    <a:lnTo>
                      <a:pt x="60" y="372"/>
                    </a:lnTo>
                    <a:lnTo>
                      <a:pt x="48" y="384"/>
                    </a:lnTo>
                    <a:lnTo>
                      <a:pt x="36" y="408"/>
                    </a:lnTo>
                    <a:lnTo>
                      <a:pt x="42" y="426"/>
                    </a:lnTo>
                    <a:lnTo>
                      <a:pt x="48" y="438"/>
                    </a:lnTo>
                    <a:lnTo>
                      <a:pt x="54" y="444"/>
                    </a:lnTo>
                    <a:lnTo>
                      <a:pt x="54" y="450"/>
                    </a:lnTo>
                    <a:lnTo>
                      <a:pt x="42" y="468"/>
                    </a:lnTo>
                    <a:lnTo>
                      <a:pt x="54" y="480"/>
                    </a:lnTo>
                    <a:lnTo>
                      <a:pt x="78" y="498"/>
                    </a:lnTo>
                    <a:lnTo>
                      <a:pt x="78" y="516"/>
                    </a:lnTo>
                    <a:lnTo>
                      <a:pt x="102" y="528"/>
                    </a:lnTo>
                    <a:lnTo>
                      <a:pt x="90" y="558"/>
                    </a:lnTo>
                    <a:lnTo>
                      <a:pt x="78" y="546"/>
                    </a:lnTo>
                    <a:lnTo>
                      <a:pt x="78" y="558"/>
                    </a:lnTo>
                    <a:lnTo>
                      <a:pt x="66" y="582"/>
                    </a:lnTo>
                    <a:lnTo>
                      <a:pt x="54" y="588"/>
                    </a:lnTo>
                    <a:lnTo>
                      <a:pt x="36" y="606"/>
                    </a:lnTo>
                    <a:lnTo>
                      <a:pt x="48" y="630"/>
                    </a:lnTo>
                    <a:lnTo>
                      <a:pt x="42" y="636"/>
                    </a:lnTo>
                    <a:lnTo>
                      <a:pt x="60" y="666"/>
                    </a:lnTo>
                    <a:lnTo>
                      <a:pt x="84" y="666"/>
                    </a:lnTo>
                    <a:lnTo>
                      <a:pt x="96" y="744"/>
                    </a:lnTo>
                    <a:lnTo>
                      <a:pt x="108" y="750"/>
                    </a:lnTo>
                    <a:lnTo>
                      <a:pt x="114" y="750"/>
                    </a:lnTo>
                    <a:lnTo>
                      <a:pt x="138" y="762"/>
                    </a:lnTo>
                    <a:lnTo>
                      <a:pt x="144" y="774"/>
                    </a:lnTo>
                    <a:lnTo>
                      <a:pt x="144" y="780"/>
                    </a:lnTo>
                    <a:lnTo>
                      <a:pt x="138" y="792"/>
                    </a:lnTo>
                    <a:lnTo>
                      <a:pt x="126" y="804"/>
                    </a:lnTo>
                    <a:lnTo>
                      <a:pt x="144" y="822"/>
                    </a:lnTo>
                    <a:lnTo>
                      <a:pt x="138" y="828"/>
                    </a:lnTo>
                    <a:lnTo>
                      <a:pt x="132" y="840"/>
                    </a:lnTo>
                    <a:lnTo>
                      <a:pt x="126" y="846"/>
                    </a:lnTo>
                    <a:lnTo>
                      <a:pt x="126" y="858"/>
                    </a:lnTo>
                    <a:lnTo>
                      <a:pt x="132" y="870"/>
                    </a:lnTo>
                    <a:lnTo>
                      <a:pt x="138" y="876"/>
                    </a:lnTo>
                    <a:lnTo>
                      <a:pt x="138" y="900"/>
                    </a:lnTo>
                    <a:lnTo>
                      <a:pt x="144" y="900"/>
                    </a:lnTo>
                    <a:lnTo>
                      <a:pt x="150" y="906"/>
                    </a:lnTo>
                    <a:lnTo>
                      <a:pt x="162" y="912"/>
                    </a:lnTo>
                    <a:lnTo>
                      <a:pt x="168" y="918"/>
                    </a:lnTo>
                    <a:lnTo>
                      <a:pt x="180" y="924"/>
                    </a:lnTo>
                    <a:lnTo>
                      <a:pt x="186" y="930"/>
                    </a:lnTo>
                    <a:lnTo>
                      <a:pt x="186" y="996"/>
                    </a:lnTo>
                    <a:lnTo>
                      <a:pt x="210" y="1020"/>
                    </a:lnTo>
                    <a:lnTo>
                      <a:pt x="210" y="1044"/>
                    </a:lnTo>
                    <a:lnTo>
                      <a:pt x="216" y="1056"/>
                    </a:lnTo>
                    <a:lnTo>
                      <a:pt x="270" y="1056"/>
                    </a:lnTo>
                    <a:lnTo>
                      <a:pt x="270" y="1026"/>
                    </a:lnTo>
                    <a:lnTo>
                      <a:pt x="282" y="1026"/>
                    </a:lnTo>
                    <a:lnTo>
                      <a:pt x="282" y="1008"/>
                    </a:lnTo>
                    <a:lnTo>
                      <a:pt x="306" y="1002"/>
                    </a:lnTo>
                    <a:lnTo>
                      <a:pt x="318" y="978"/>
                    </a:lnTo>
                    <a:lnTo>
                      <a:pt x="324" y="984"/>
                    </a:lnTo>
                    <a:lnTo>
                      <a:pt x="348" y="996"/>
                    </a:lnTo>
                    <a:lnTo>
                      <a:pt x="360" y="996"/>
                    </a:lnTo>
                    <a:lnTo>
                      <a:pt x="378" y="1002"/>
                    </a:lnTo>
                    <a:lnTo>
                      <a:pt x="432" y="1002"/>
                    </a:lnTo>
                    <a:lnTo>
                      <a:pt x="462" y="1050"/>
                    </a:lnTo>
                    <a:lnTo>
                      <a:pt x="474" y="996"/>
                    </a:lnTo>
                    <a:lnTo>
                      <a:pt x="546" y="990"/>
                    </a:lnTo>
                    <a:lnTo>
                      <a:pt x="582" y="1014"/>
                    </a:lnTo>
                    <a:lnTo>
                      <a:pt x="582" y="996"/>
                    </a:lnTo>
                    <a:lnTo>
                      <a:pt x="594" y="924"/>
                    </a:lnTo>
                    <a:lnTo>
                      <a:pt x="594" y="900"/>
                    </a:lnTo>
                    <a:lnTo>
                      <a:pt x="588" y="894"/>
                    </a:lnTo>
                    <a:lnTo>
                      <a:pt x="588" y="888"/>
                    </a:lnTo>
                    <a:lnTo>
                      <a:pt x="576" y="864"/>
                    </a:lnTo>
                    <a:lnTo>
                      <a:pt x="576" y="852"/>
                    </a:lnTo>
                    <a:lnTo>
                      <a:pt x="582" y="846"/>
                    </a:lnTo>
                    <a:lnTo>
                      <a:pt x="594" y="840"/>
                    </a:lnTo>
                    <a:lnTo>
                      <a:pt x="606" y="828"/>
                    </a:lnTo>
                    <a:lnTo>
                      <a:pt x="612" y="798"/>
                    </a:lnTo>
                    <a:lnTo>
                      <a:pt x="714" y="780"/>
                    </a:lnTo>
                    <a:lnTo>
                      <a:pt x="792" y="768"/>
                    </a:lnTo>
                    <a:lnTo>
                      <a:pt x="846" y="810"/>
                    </a:lnTo>
                    <a:lnTo>
                      <a:pt x="864" y="846"/>
                    </a:lnTo>
                    <a:lnTo>
                      <a:pt x="864" y="840"/>
                    </a:lnTo>
                    <a:lnTo>
                      <a:pt x="870" y="834"/>
                    </a:lnTo>
                    <a:lnTo>
                      <a:pt x="882" y="828"/>
                    </a:lnTo>
                    <a:lnTo>
                      <a:pt x="888" y="822"/>
                    </a:lnTo>
                    <a:lnTo>
                      <a:pt x="876" y="816"/>
                    </a:lnTo>
                    <a:lnTo>
                      <a:pt x="870" y="810"/>
                    </a:lnTo>
                    <a:lnTo>
                      <a:pt x="870" y="786"/>
                    </a:lnTo>
                    <a:lnTo>
                      <a:pt x="876" y="774"/>
                    </a:lnTo>
                    <a:lnTo>
                      <a:pt x="882" y="768"/>
                    </a:lnTo>
                    <a:lnTo>
                      <a:pt x="888" y="756"/>
                    </a:lnTo>
                    <a:lnTo>
                      <a:pt x="882" y="744"/>
                    </a:lnTo>
                    <a:close/>
                  </a:path>
                </a:pathLst>
              </a:custGeom>
              <a:solidFill>
                <a:srgbClr val="9D90A0">
                  <a:lumMod val="40000"/>
                  <a:lumOff val="60000"/>
                </a:srgbClr>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57" name="Argentina" descr="© INSCALE GmbH, 05.05.2010&#10;http://www.presentationload.com/">
                <a:extLst>
                  <a:ext uri="{FF2B5EF4-FFF2-40B4-BE49-F238E27FC236}">
                    <a16:creationId xmlns:a16="http://schemas.microsoft.com/office/drawing/2014/main" id="{8935A6CC-5117-4F8E-97F3-A1E287CAB865}"/>
                  </a:ext>
                </a:extLst>
              </p:cNvPr>
              <p:cNvSpPr>
                <a:spLocks noEditPoints="1"/>
              </p:cNvSpPr>
              <p:nvPr/>
            </p:nvSpPr>
            <p:spPr bwMode="gray">
              <a:xfrm>
                <a:off x="2325650" y="5328552"/>
                <a:ext cx="432095" cy="1072541"/>
              </a:xfrm>
              <a:custGeom>
                <a:avLst/>
                <a:gdLst>
                  <a:gd name="T0" fmla="*/ 2147483647 w 1092"/>
                  <a:gd name="T1" fmla="*/ 2147483647 h 2442"/>
                  <a:gd name="T2" fmla="*/ 2147483647 w 1092"/>
                  <a:gd name="T3" fmla="*/ 2147483647 h 2442"/>
                  <a:gd name="T4" fmla="*/ 2147483647 w 1092"/>
                  <a:gd name="T5" fmla="*/ 2147483647 h 2442"/>
                  <a:gd name="T6" fmla="*/ 2147483647 w 1092"/>
                  <a:gd name="T7" fmla="*/ 2147483647 h 2442"/>
                  <a:gd name="T8" fmla="*/ 2147483647 w 1092"/>
                  <a:gd name="T9" fmla="*/ 2147483647 h 2442"/>
                  <a:gd name="T10" fmla="*/ 2147483647 w 1092"/>
                  <a:gd name="T11" fmla="*/ 2147483647 h 2442"/>
                  <a:gd name="T12" fmla="*/ 2147483647 w 1092"/>
                  <a:gd name="T13" fmla="*/ 2147483647 h 2442"/>
                  <a:gd name="T14" fmla="*/ 2147483647 w 1092"/>
                  <a:gd name="T15" fmla="*/ 2147483647 h 2442"/>
                  <a:gd name="T16" fmla="*/ 2147483647 w 1092"/>
                  <a:gd name="T17" fmla="*/ 2147483647 h 2442"/>
                  <a:gd name="T18" fmla="*/ 2147483647 w 1092"/>
                  <a:gd name="T19" fmla="*/ 2147483647 h 2442"/>
                  <a:gd name="T20" fmla="*/ 2147483647 w 1092"/>
                  <a:gd name="T21" fmla="*/ 0 h 2442"/>
                  <a:gd name="T22" fmla="*/ 2147483647 w 1092"/>
                  <a:gd name="T23" fmla="*/ 2147483647 h 2442"/>
                  <a:gd name="T24" fmla="*/ 2147483647 w 1092"/>
                  <a:gd name="T25" fmla="*/ 2147483647 h 2442"/>
                  <a:gd name="T26" fmla="*/ 2147483647 w 1092"/>
                  <a:gd name="T27" fmla="*/ 2147483647 h 2442"/>
                  <a:gd name="T28" fmla="*/ 2147483647 w 1092"/>
                  <a:gd name="T29" fmla="*/ 2147483647 h 2442"/>
                  <a:gd name="T30" fmla="*/ 2147483647 w 1092"/>
                  <a:gd name="T31" fmla="*/ 2147483647 h 2442"/>
                  <a:gd name="T32" fmla="*/ 2147483647 w 1092"/>
                  <a:gd name="T33" fmla="*/ 2147483647 h 2442"/>
                  <a:gd name="T34" fmla="*/ 2147483647 w 1092"/>
                  <a:gd name="T35" fmla="*/ 2147483647 h 2442"/>
                  <a:gd name="T36" fmla="*/ 2147483647 w 1092"/>
                  <a:gd name="T37" fmla="*/ 2147483647 h 2442"/>
                  <a:gd name="T38" fmla="*/ 2147483647 w 1092"/>
                  <a:gd name="T39" fmla="*/ 2147483647 h 2442"/>
                  <a:gd name="T40" fmla="*/ 2147483647 w 1092"/>
                  <a:gd name="T41" fmla="*/ 2147483647 h 2442"/>
                  <a:gd name="T42" fmla="*/ 2147483647 w 1092"/>
                  <a:gd name="T43" fmla="*/ 2147483647 h 2442"/>
                  <a:gd name="T44" fmla="*/ 2147483647 w 1092"/>
                  <a:gd name="T45" fmla="*/ 2147483647 h 2442"/>
                  <a:gd name="T46" fmla="*/ 2147483647 w 1092"/>
                  <a:gd name="T47" fmla="*/ 2147483647 h 2442"/>
                  <a:gd name="T48" fmla="*/ 2147483647 w 1092"/>
                  <a:gd name="T49" fmla="*/ 2147483647 h 2442"/>
                  <a:gd name="T50" fmla="*/ 2147483647 w 1092"/>
                  <a:gd name="T51" fmla="*/ 2147483647 h 2442"/>
                  <a:gd name="T52" fmla="*/ 2147483647 w 1092"/>
                  <a:gd name="T53" fmla="*/ 2147483647 h 2442"/>
                  <a:gd name="T54" fmla="*/ 2147483647 w 1092"/>
                  <a:gd name="T55" fmla="*/ 2147483647 h 2442"/>
                  <a:gd name="T56" fmla="*/ 2147483647 w 1092"/>
                  <a:gd name="T57" fmla="*/ 2147483647 h 2442"/>
                  <a:gd name="T58" fmla="*/ 2147483647 w 1092"/>
                  <a:gd name="T59" fmla="*/ 2147483647 h 2442"/>
                  <a:gd name="T60" fmla="*/ 2147483647 w 1092"/>
                  <a:gd name="T61" fmla="*/ 2147483647 h 2442"/>
                  <a:gd name="T62" fmla="*/ 2147483647 w 1092"/>
                  <a:gd name="T63" fmla="*/ 2147483647 h 2442"/>
                  <a:gd name="T64" fmla="*/ 2147483647 w 1092"/>
                  <a:gd name="T65" fmla="*/ 2147483647 h 2442"/>
                  <a:gd name="T66" fmla="*/ 2147483647 w 1092"/>
                  <a:gd name="T67" fmla="*/ 2147483647 h 2442"/>
                  <a:gd name="T68" fmla="*/ 2147483647 w 1092"/>
                  <a:gd name="T69" fmla="*/ 2147483647 h 2442"/>
                  <a:gd name="T70" fmla="*/ 2147483647 w 1092"/>
                  <a:gd name="T71" fmla="*/ 2147483647 h 2442"/>
                  <a:gd name="T72" fmla="*/ 2147483647 w 1092"/>
                  <a:gd name="T73" fmla="*/ 2147483647 h 2442"/>
                  <a:gd name="T74" fmla="*/ 2147483647 w 1092"/>
                  <a:gd name="T75" fmla="*/ 2147483647 h 2442"/>
                  <a:gd name="T76" fmla="*/ 2147483647 w 1092"/>
                  <a:gd name="T77" fmla="*/ 2147483647 h 2442"/>
                  <a:gd name="T78" fmla="*/ 2147483647 w 1092"/>
                  <a:gd name="T79" fmla="*/ 2147483647 h 2442"/>
                  <a:gd name="T80" fmla="*/ 2147483647 w 1092"/>
                  <a:gd name="T81" fmla="*/ 2147483647 h 2442"/>
                  <a:gd name="T82" fmla="*/ 2147483647 w 1092"/>
                  <a:gd name="T83" fmla="*/ 2147483647 h 2442"/>
                  <a:gd name="T84" fmla="*/ 2147483647 w 1092"/>
                  <a:gd name="T85" fmla="*/ 2147483647 h 2442"/>
                  <a:gd name="T86" fmla="*/ 2147483647 w 1092"/>
                  <a:gd name="T87" fmla="*/ 2147483647 h 2442"/>
                  <a:gd name="T88" fmla="*/ 2147483647 w 1092"/>
                  <a:gd name="T89" fmla="*/ 2147483647 h 2442"/>
                  <a:gd name="T90" fmla="*/ 2147483647 w 1092"/>
                  <a:gd name="T91" fmla="*/ 2147483647 h 2442"/>
                  <a:gd name="T92" fmla="*/ 2147483647 w 1092"/>
                  <a:gd name="T93" fmla="*/ 2147483647 h 2442"/>
                  <a:gd name="T94" fmla="*/ 2147483647 w 1092"/>
                  <a:gd name="T95" fmla="*/ 2147483647 h 2442"/>
                  <a:gd name="T96" fmla="*/ 2147483647 w 1092"/>
                  <a:gd name="T97" fmla="*/ 2147483647 h 2442"/>
                  <a:gd name="T98" fmla="*/ 2147483647 w 1092"/>
                  <a:gd name="T99" fmla="*/ 2147483647 h 2442"/>
                  <a:gd name="T100" fmla="*/ 2147483647 w 1092"/>
                  <a:gd name="T101" fmla="*/ 2147483647 h 2442"/>
                  <a:gd name="T102" fmla="*/ 2147483647 w 1092"/>
                  <a:gd name="T103" fmla="*/ 2147483647 h 2442"/>
                  <a:gd name="T104" fmla="*/ 2147483647 w 1092"/>
                  <a:gd name="T105" fmla="*/ 2147483647 h 2442"/>
                  <a:gd name="T106" fmla="*/ 2147483647 w 1092"/>
                  <a:gd name="T107" fmla="*/ 2147483647 h 2442"/>
                  <a:gd name="T108" fmla="*/ 2147483647 w 1092"/>
                  <a:gd name="T109" fmla="*/ 2147483647 h 2442"/>
                  <a:gd name="T110" fmla="*/ 2147483647 w 1092"/>
                  <a:gd name="T111" fmla="*/ 2147483647 h 2442"/>
                  <a:gd name="T112" fmla="*/ 2147483647 w 1092"/>
                  <a:gd name="T113" fmla="*/ 2147483647 h 244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092"/>
                  <a:gd name="T172" fmla="*/ 0 h 2442"/>
                  <a:gd name="T173" fmla="*/ 1092 w 1092"/>
                  <a:gd name="T174" fmla="*/ 2442 h 244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092" h="2442">
                    <a:moveTo>
                      <a:pt x="954" y="534"/>
                    </a:moveTo>
                    <a:lnTo>
                      <a:pt x="978" y="528"/>
                    </a:lnTo>
                    <a:lnTo>
                      <a:pt x="984" y="504"/>
                    </a:lnTo>
                    <a:lnTo>
                      <a:pt x="990" y="498"/>
                    </a:lnTo>
                    <a:lnTo>
                      <a:pt x="990" y="480"/>
                    </a:lnTo>
                    <a:lnTo>
                      <a:pt x="1026" y="480"/>
                    </a:lnTo>
                    <a:lnTo>
                      <a:pt x="1026" y="462"/>
                    </a:lnTo>
                    <a:lnTo>
                      <a:pt x="1032" y="450"/>
                    </a:lnTo>
                    <a:lnTo>
                      <a:pt x="1038" y="444"/>
                    </a:lnTo>
                    <a:lnTo>
                      <a:pt x="1092" y="426"/>
                    </a:lnTo>
                    <a:lnTo>
                      <a:pt x="1092" y="390"/>
                    </a:lnTo>
                    <a:lnTo>
                      <a:pt x="1086" y="372"/>
                    </a:lnTo>
                    <a:lnTo>
                      <a:pt x="1086" y="342"/>
                    </a:lnTo>
                    <a:lnTo>
                      <a:pt x="1080" y="336"/>
                    </a:lnTo>
                    <a:lnTo>
                      <a:pt x="1074" y="336"/>
                    </a:lnTo>
                    <a:lnTo>
                      <a:pt x="1074" y="324"/>
                    </a:lnTo>
                    <a:lnTo>
                      <a:pt x="1062" y="300"/>
                    </a:lnTo>
                    <a:lnTo>
                      <a:pt x="1056" y="294"/>
                    </a:lnTo>
                    <a:lnTo>
                      <a:pt x="1038" y="294"/>
                    </a:lnTo>
                    <a:lnTo>
                      <a:pt x="1032" y="300"/>
                    </a:lnTo>
                    <a:lnTo>
                      <a:pt x="1020" y="306"/>
                    </a:lnTo>
                    <a:lnTo>
                      <a:pt x="1020" y="384"/>
                    </a:lnTo>
                    <a:lnTo>
                      <a:pt x="1008" y="390"/>
                    </a:lnTo>
                    <a:lnTo>
                      <a:pt x="1002" y="402"/>
                    </a:lnTo>
                    <a:lnTo>
                      <a:pt x="990" y="408"/>
                    </a:lnTo>
                    <a:lnTo>
                      <a:pt x="984" y="414"/>
                    </a:lnTo>
                    <a:lnTo>
                      <a:pt x="978" y="414"/>
                    </a:lnTo>
                    <a:lnTo>
                      <a:pt x="966" y="426"/>
                    </a:lnTo>
                    <a:lnTo>
                      <a:pt x="954" y="450"/>
                    </a:lnTo>
                    <a:lnTo>
                      <a:pt x="948" y="456"/>
                    </a:lnTo>
                    <a:lnTo>
                      <a:pt x="948" y="450"/>
                    </a:lnTo>
                    <a:lnTo>
                      <a:pt x="942" y="444"/>
                    </a:lnTo>
                    <a:lnTo>
                      <a:pt x="930" y="444"/>
                    </a:lnTo>
                    <a:lnTo>
                      <a:pt x="924" y="450"/>
                    </a:lnTo>
                    <a:lnTo>
                      <a:pt x="924" y="468"/>
                    </a:lnTo>
                    <a:lnTo>
                      <a:pt x="912" y="450"/>
                    </a:lnTo>
                    <a:lnTo>
                      <a:pt x="852" y="450"/>
                    </a:lnTo>
                    <a:lnTo>
                      <a:pt x="834" y="444"/>
                    </a:lnTo>
                    <a:lnTo>
                      <a:pt x="822" y="438"/>
                    </a:lnTo>
                    <a:lnTo>
                      <a:pt x="816" y="432"/>
                    </a:lnTo>
                    <a:lnTo>
                      <a:pt x="804" y="426"/>
                    </a:lnTo>
                    <a:lnTo>
                      <a:pt x="798" y="426"/>
                    </a:lnTo>
                    <a:lnTo>
                      <a:pt x="786" y="432"/>
                    </a:lnTo>
                    <a:lnTo>
                      <a:pt x="762" y="432"/>
                    </a:lnTo>
                    <a:lnTo>
                      <a:pt x="756" y="426"/>
                    </a:lnTo>
                    <a:lnTo>
                      <a:pt x="756" y="414"/>
                    </a:lnTo>
                    <a:lnTo>
                      <a:pt x="762" y="402"/>
                    </a:lnTo>
                    <a:lnTo>
                      <a:pt x="768" y="396"/>
                    </a:lnTo>
                    <a:lnTo>
                      <a:pt x="774" y="384"/>
                    </a:lnTo>
                    <a:lnTo>
                      <a:pt x="780" y="378"/>
                    </a:lnTo>
                    <a:lnTo>
                      <a:pt x="780" y="342"/>
                    </a:lnTo>
                    <a:lnTo>
                      <a:pt x="798" y="342"/>
                    </a:lnTo>
                    <a:lnTo>
                      <a:pt x="804" y="336"/>
                    </a:lnTo>
                    <a:lnTo>
                      <a:pt x="804" y="330"/>
                    </a:lnTo>
                    <a:lnTo>
                      <a:pt x="798" y="318"/>
                    </a:lnTo>
                    <a:lnTo>
                      <a:pt x="792" y="312"/>
                    </a:lnTo>
                    <a:lnTo>
                      <a:pt x="798" y="300"/>
                    </a:lnTo>
                    <a:lnTo>
                      <a:pt x="804" y="294"/>
                    </a:lnTo>
                    <a:lnTo>
                      <a:pt x="804" y="282"/>
                    </a:lnTo>
                    <a:lnTo>
                      <a:pt x="810" y="276"/>
                    </a:lnTo>
                    <a:lnTo>
                      <a:pt x="804" y="270"/>
                    </a:lnTo>
                    <a:lnTo>
                      <a:pt x="792" y="264"/>
                    </a:lnTo>
                    <a:lnTo>
                      <a:pt x="774" y="258"/>
                    </a:lnTo>
                    <a:lnTo>
                      <a:pt x="762" y="252"/>
                    </a:lnTo>
                    <a:lnTo>
                      <a:pt x="750" y="252"/>
                    </a:lnTo>
                    <a:lnTo>
                      <a:pt x="744" y="246"/>
                    </a:lnTo>
                    <a:lnTo>
                      <a:pt x="708" y="228"/>
                    </a:lnTo>
                    <a:lnTo>
                      <a:pt x="690" y="216"/>
                    </a:lnTo>
                    <a:lnTo>
                      <a:pt x="678" y="210"/>
                    </a:lnTo>
                    <a:lnTo>
                      <a:pt x="672" y="204"/>
                    </a:lnTo>
                    <a:lnTo>
                      <a:pt x="666" y="204"/>
                    </a:lnTo>
                    <a:lnTo>
                      <a:pt x="660" y="198"/>
                    </a:lnTo>
                    <a:lnTo>
                      <a:pt x="648" y="192"/>
                    </a:lnTo>
                    <a:lnTo>
                      <a:pt x="642" y="186"/>
                    </a:lnTo>
                    <a:lnTo>
                      <a:pt x="630" y="180"/>
                    </a:lnTo>
                    <a:lnTo>
                      <a:pt x="600" y="180"/>
                    </a:lnTo>
                    <a:lnTo>
                      <a:pt x="564" y="162"/>
                    </a:lnTo>
                    <a:lnTo>
                      <a:pt x="558" y="156"/>
                    </a:lnTo>
                    <a:lnTo>
                      <a:pt x="552" y="156"/>
                    </a:lnTo>
                    <a:lnTo>
                      <a:pt x="546" y="138"/>
                    </a:lnTo>
                    <a:lnTo>
                      <a:pt x="534" y="132"/>
                    </a:lnTo>
                    <a:lnTo>
                      <a:pt x="516" y="114"/>
                    </a:lnTo>
                    <a:lnTo>
                      <a:pt x="492" y="102"/>
                    </a:lnTo>
                    <a:lnTo>
                      <a:pt x="486" y="96"/>
                    </a:lnTo>
                    <a:lnTo>
                      <a:pt x="480" y="84"/>
                    </a:lnTo>
                    <a:lnTo>
                      <a:pt x="468" y="78"/>
                    </a:lnTo>
                    <a:lnTo>
                      <a:pt x="462" y="66"/>
                    </a:lnTo>
                    <a:lnTo>
                      <a:pt x="456" y="60"/>
                    </a:lnTo>
                    <a:lnTo>
                      <a:pt x="456" y="54"/>
                    </a:lnTo>
                    <a:lnTo>
                      <a:pt x="438" y="36"/>
                    </a:lnTo>
                    <a:lnTo>
                      <a:pt x="402" y="12"/>
                    </a:lnTo>
                    <a:lnTo>
                      <a:pt x="330" y="18"/>
                    </a:lnTo>
                    <a:lnTo>
                      <a:pt x="318" y="72"/>
                    </a:lnTo>
                    <a:lnTo>
                      <a:pt x="288" y="24"/>
                    </a:lnTo>
                    <a:lnTo>
                      <a:pt x="234" y="24"/>
                    </a:lnTo>
                    <a:lnTo>
                      <a:pt x="216" y="18"/>
                    </a:lnTo>
                    <a:lnTo>
                      <a:pt x="204" y="18"/>
                    </a:lnTo>
                    <a:lnTo>
                      <a:pt x="180" y="6"/>
                    </a:lnTo>
                    <a:lnTo>
                      <a:pt x="174" y="0"/>
                    </a:lnTo>
                    <a:lnTo>
                      <a:pt x="162" y="24"/>
                    </a:lnTo>
                    <a:lnTo>
                      <a:pt x="138" y="30"/>
                    </a:lnTo>
                    <a:lnTo>
                      <a:pt x="138" y="48"/>
                    </a:lnTo>
                    <a:lnTo>
                      <a:pt x="126" y="48"/>
                    </a:lnTo>
                    <a:lnTo>
                      <a:pt x="126" y="78"/>
                    </a:lnTo>
                    <a:lnTo>
                      <a:pt x="114" y="78"/>
                    </a:lnTo>
                    <a:lnTo>
                      <a:pt x="126" y="96"/>
                    </a:lnTo>
                    <a:lnTo>
                      <a:pt x="114" y="180"/>
                    </a:lnTo>
                    <a:lnTo>
                      <a:pt x="108" y="180"/>
                    </a:lnTo>
                    <a:lnTo>
                      <a:pt x="102" y="186"/>
                    </a:lnTo>
                    <a:lnTo>
                      <a:pt x="90" y="192"/>
                    </a:lnTo>
                    <a:lnTo>
                      <a:pt x="72" y="198"/>
                    </a:lnTo>
                    <a:lnTo>
                      <a:pt x="60" y="210"/>
                    </a:lnTo>
                    <a:lnTo>
                      <a:pt x="48" y="216"/>
                    </a:lnTo>
                    <a:lnTo>
                      <a:pt x="42" y="228"/>
                    </a:lnTo>
                    <a:lnTo>
                      <a:pt x="36" y="234"/>
                    </a:lnTo>
                    <a:lnTo>
                      <a:pt x="36" y="240"/>
                    </a:lnTo>
                    <a:lnTo>
                      <a:pt x="42" y="246"/>
                    </a:lnTo>
                    <a:lnTo>
                      <a:pt x="54" y="252"/>
                    </a:lnTo>
                    <a:lnTo>
                      <a:pt x="66" y="252"/>
                    </a:lnTo>
                    <a:lnTo>
                      <a:pt x="66" y="258"/>
                    </a:lnTo>
                    <a:lnTo>
                      <a:pt x="42" y="282"/>
                    </a:lnTo>
                    <a:lnTo>
                      <a:pt x="42" y="300"/>
                    </a:lnTo>
                    <a:lnTo>
                      <a:pt x="48" y="306"/>
                    </a:lnTo>
                    <a:lnTo>
                      <a:pt x="60" y="312"/>
                    </a:lnTo>
                    <a:lnTo>
                      <a:pt x="72" y="324"/>
                    </a:lnTo>
                    <a:lnTo>
                      <a:pt x="78" y="336"/>
                    </a:lnTo>
                    <a:lnTo>
                      <a:pt x="72" y="342"/>
                    </a:lnTo>
                    <a:lnTo>
                      <a:pt x="66" y="354"/>
                    </a:lnTo>
                    <a:lnTo>
                      <a:pt x="54" y="366"/>
                    </a:lnTo>
                    <a:lnTo>
                      <a:pt x="48" y="366"/>
                    </a:lnTo>
                    <a:lnTo>
                      <a:pt x="54" y="366"/>
                    </a:lnTo>
                    <a:lnTo>
                      <a:pt x="60" y="372"/>
                    </a:lnTo>
                    <a:lnTo>
                      <a:pt x="84" y="384"/>
                    </a:lnTo>
                    <a:lnTo>
                      <a:pt x="90" y="396"/>
                    </a:lnTo>
                    <a:lnTo>
                      <a:pt x="90" y="408"/>
                    </a:lnTo>
                    <a:lnTo>
                      <a:pt x="78" y="414"/>
                    </a:lnTo>
                    <a:lnTo>
                      <a:pt x="72" y="420"/>
                    </a:lnTo>
                    <a:lnTo>
                      <a:pt x="54" y="420"/>
                    </a:lnTo>
                    <a:lnTo>
                      <a:pt x="54" y="432"/>
                    </a:lnTo>
                    <a:lnTo>
                      <a:pt x="48" y="450"/>
                    </a:lnTo>
                    <a:lnTo>
                      <a:pt x="48" y="462"/>
                    </a:lnTo>
                    <a:lnTo>
                      <a:pt x="42" y="474"/>
                    </a:lnTo>
                    <a:lnTo>
                      <a:pt x="42" y="486"/>
                    </a:lnTo>
                    <a:lnTo>
                      <a:pt x="30" y="498"/>
                    </a:lnTo>
                    <a:lnTo>
                      <a:pt x="24" y="510"/>
                    </a:lnTo>
                    <a:lnTo>
                      <a:pt x="18" y="516"/>
                    </a:lnTo>
                    <a:lnTo>
                      <a:pt x="18" y="582"/>
                    </a:lnTo>
                    <a:lnTo>
                      <a:pt x="6" y="594"/>
                    </a:lnTo>
                    <a:lnTo>
                      <a:pt x="6" y="606"/>
                    </a:lnTo>
                    <a:lnTo>
                      <a:pt x="18" y="630"/>
                    </a:lnTo>
                    <a:lnTo>
                      <a:pt x="30" y="666"/>
                    </a:lnTo>
                    <a:lnTo>
                      <a:pt x="36" y="678"/>
                    </a:lnTo>
                    <a:lnTo>
                      <a:pt x="36" y="684"/>
                    </a:lnTo>
                    <a:lnTo>
                      <a:pt x="12" y="684"/>
                    </a:lnTo>
                    <a:lnTo>
                      <a:pt x="18" y="738"/>
                    </a:lnTo>
                    <a:lnTo>
                      <a:pt x="6" y="744"/>
                    </a:lnTo>
                    <a:lnTo>
                      <a:pt x="0" y="744"/>
                    </a:lnTo>
                    <a:lnTo>
                      <a:pt x="0" y="768"/>
                    </a:lnTo>
                    <a:lnTo>
                      <a:pt x="6" y="774"/>
                    </a:lnTo>
                    <a:lnTo>
                      <a:pt x="6" y="780"/>
                    </a:lnTo>
                    <a:lnTo>
                      <a:pt x="18" y="786"/>
                    </a:lnTo>
                    <a:lnTo>
                      <a:pt x="36" y="804"/>
                    </a:lnTo>
                    <a:lnTo>
                      <a:pt x="36" y="816"/>
                    </a:lnTo>
                    <a:lnTo>
                      <a:pt x="30" y="822"/>
                    </a:lnTo>
                    <a:lnTo>
                      <a:pt x="30" y="828"/>
                    </a:lnTo>
                    <a:lnTo>
                      <a:pt x="48" y="846"/>
                    </a:lnTo>
                    <a:lnTo>
                      <a:pt x="60" y="876"/>
                    </a:lnTo>
                    <a:lnTo>
                      <a:pt x="66" y="888"/>
                    </a:lnTo>
                    <a:lnTo>
                      <a:pt x="60" y="894"/>
                    </a:lnTo>
                    <a:lnTo>
                      <a:pt x="60" y="906"/>
                    </a:lnTo>
                    <a:lnTo>
                      <a:pt x="72" y="918"/>
                    </a:lnTo>
                    <a:lnTo>
                      <a:pt x="96" y="918"/>
                    </a:lnTo>
                    <a:lnTo>
                      <a:pt x="102" y="960"/>
                    </a:lnTo>
                    <a:lnTo>
                      <a:pt x="108" y="972"/>
                    </a:lnTo>
                    <a:lnTo>
                      <a:pt x="114" y="978"/>
                    </a:lnTo>
                    <a:lnTo>
                      <a:pt x="120" y="990"/>
                    </a:lnTo>
                    <a:lnTo>
                      <a:pt x="120" y="996"/>
                    </a:lnTo>
                    <a:lnTo>
                      <a:pt x="102" y="1014"/>
                    </a:lnTo>
                    <a:lnTo>
                      <a:pt x="102" y="1038"/>
                    </a:lnTo>
                    <a:lnTo>
                      <a:pt x="96" y="1056"/>
                    </a:lnTo>
                    <a:lnTo>
                      <a:pt x="96" y="1086"/>
                    </a:lnTo>
                    <a:lnTo>
                      <a:pt x="84" y="1086"/>
                    </a:lnTo>
                    <a:lnTo>
                      <a:pt x="90" y="1092"/>
                    </a:lnTo>
                    <a:lnTo>
                      <a:pt x="96" y="1104"/>
                    </a:lnTo>
                    <a:lnTo>
                      <a:pt x="102" y="1110"/>
                    </a:lnTo>
                    <a:lnTo>
                      <a:pt x="108" y="1122"/>
                    </a:lnTo>
                    <a:lnTo>
                      <a:pt x="114" y="1128"/>
                    </a:lnTo>
                    <a:lnTo>
                      <a:pt x="114" y="1140"/>
                    </a:lnTo>
                    <a:lnTo>
                      <a:pt x="108" y="1152"/>
                    </a:lnTo>
                    <a:lnTo>
                      <a:pt x="108" y="1158"/>
                    </a:lnTo>
                    <a:lnTo>
                      <a:pt x="102" y="1176"/>
                    </a:lnTo>
                    <a:lnTo>
                      <a:pt x="78" y="1182"/>
                    </a:lnTo>
                    <a:lnTo>
                      <a:pt x="78" y="1188"/>
                    </a:lnTo>
                    <a:lnTo>
                      <a:pt x="84" y="1194"/>
                    </a:lnTo>
                    <a:lnTo>
                      <a:pt x="84" y="1206"/>
                    </a:lnTo>
                    <a:lnTo>
                      <a:pt x="90" y="1224"/>
                    </a:lnTo>
                    <a:lnTo>
                      <a:pt x="96" y="1236"/>
                    </a:lnTo>
                    <a:lnTo>
                      <a:pt x="96" y="1284"/>
                    </a:lnTo>
                    <a:lnTo>
                      <a:pt x="126" y="1308"/>
                    </a:lnTo>
                    <a:lnTo>
                      <a:pt x="126" y="1326"/>
                    </a:lnTo>
                    <a:lnTo>
                      <a:pt x="132" y="1326"/>
                    </a:lnTo>
                    <a:lnTo>
                      <a:pt x="150" y="1344"/>
                    </a:lnTo>
                    <a:lnTo>
                      <a:pt x="150" y="1350"/>
                    </a:lnTo>
                    <a:lnTo>
                      <a:pt x="144" y="1362"/>
                    </a:lnTo>
                    <a:lnTo>
                      <a:pt x="132" y="1368"/>
                    </a:lnTo>
                    <a:lnTo>
                      <a:pt x="126" y="1374"/>
                    </a:lnTo>
                    <a:lnTo>
                      <a:pt x="120" y="1374"/>
                    </a:lnTo>
                    <a:lnTo>
                      <a:pt x="132" y="1416"/>
                    </a:lnTo>
                    <a:lnTo>
                      <a:pt x="114" y="1428"/>
                    </a:lnTo>
                    <a:lnTo>
                      <a:pt x="132" y="1446"/>
                    </a:lnTo>
                    <a:lnTo>
                      <a:pt x="132" y="1452"/>
                    </a:lnTo>
                    <a:lnTo>
                      <a:pt x="126" y="1464"/>
                    </a:lnTo>
                    <a:lnTo>
                      <a:pt x="126" y="1470"/>
                    </a:lnTo>
                    <a:lnTo>
                      <a:pt x="144" y="1482"/>
                    </a:lnTo>
                    <a:lnTo>
                      <a:pt x="144" y="1494"/>
                    </a:lnTo>
                    <a:lnTo>
                      <a:pt x="138" y="1500"/>
                    </a:lnTo>
                    <a:lnTo>
                      <a:pt x="138" y="1530"/>
                    </a:lnTo>
                    <a:lnTo>
                      <a:pt x="144" y="1536"/>
                    </a:lnTo>
                    <a:lnTo>
                      <a:pt x="150" y="1548"/>
                    </a:lnTo>
                    <a:lnTo>
                      <a:pt x="150" y="1572"/>
                    </a:lnTo>
                    <a:lnTo>
                      <a:pt x="156" y="1584"/>
                    </a:lnTo>
                    <a:lnTo>
                      <a:pt x="174" y="1602"/>
                    </a:lnTo>
                    <a:lnTo>
                      <a:pt x="186" y="1608"/>
                    </a:lnTo>
                    <a:lnTo>
                      <a:pt x="198" y="1620"/>
                    </a:lnTo>
                    <a:lnTo>
                      <a:pt x="192" y="1620"/>
                    </a:lnTo>
                    <a:lnTo>
                      <a:pt x="180" y="1626"/>
                    </a:lnTo>
                    <a:lnTo>
                      <a:pt x="174" y="1632"/>
                    </a:lnTo>
                    <a:lnTo>
                      <a:pt x="174" y="1644"/>
                    </a:lnTo>
                    <a:lnTo>
                      <a:pt x="180" y="1656"/>
                    </a:lnTo>
                    <a:lnTo>
                      <a:pt x="180" y="1674"/>
                    </a:lnTo>
                    <a:lnTo>
                      <a:pt x="186" y="1686"/>
                    </a:lnTo>
                    <a:lnTo>
                      <a:pt x="186" y="1698"/>
                    </a:lnTo>
                    <a:lnTo>
                      <a:pt x="192" y="1704"/>
                    </a:lnTo>
                    <a:lnTo>
                      <a:pt x="216" y="1716"/>
                    </a:lnTo>
                    <a:lnTo>
                      <a:pt x="210" y="1746"/>
                    </a:lnTo>
                    <a:lnTo>
                      <a:pt x="216" y="1746"/>
                    </a:lnTo>
                    <a:lnTo>
                      <a:pt x="228" y="1752"/>
                    </a:lnTo>
                    <a:lnTo>
                      <a:pt x="234" y="1758"/>
                    </a:lnTo>
                    <a:lnTo>
                      <a:pt x="234" y="1764"/>
                    </a:lnTo>
                    <a:lnTo>
                      <a:pt x="240" y="1776"/>
                    </a:lnTo>
                    <a:lnTo>
                      <a:pt x="240" y="1806"/>
                    </a:lnTo>
                    <a:lnTo>
                      <a:pt x="252" y="1818"/>
                    </a:lnTo>
                    <a:lnTo>
                      <a:pt x="282" y="1818"/>
                    </a:lnTo>
                    <a:lnTo>
                      <a:pt x="294" y="1824"/>
                    </a:lnTo>
                    <a:lnTo>
                      <a:pt x="294" y="1830"/>
                    </a:lnTo>
                    <a:lnTo>
                      <a:pt x="288" y="1836"/>
                    </a:lnTo>
                    <a:lnTo>
                      <a:pt x="276" y="1836"/>
                    </a:lnTo>
                    <a:lnTo>
                      <a:pt x="264" y="1842"/>
                    </a:lnTo>
                    <a:lnTo>
                      <a:pt x="246" y="1842"/>
                    </a:lnTo>
                    <a:lnTo>
                      <a:pt x="252" y="1848"/>
                    </a:lnTo>
                    <a:lnTo>
                      <a:pt x="258" y="1848"/>
                    </a:lnTo>
                    <a:lnTo>
                      <a:pt x="270" y="1854"/>
                    </a:lnTo>
                    <a:lnTo>
                      <a:pt x="276" y="1860"/>
                    </a:lnTo>
                    <a:lnTo>
                      <a:pt x="288" y="1860"/>
                    </a:lnTo>
                    <a:lnTo>
                      <a:pt x="312" y="1884"/>
                    </a:lnTo>
                    <a:lnTo>
                      <a:pt x="306" y="1890"/>
                    </a:lnTo>
                    <a:lnTo>
                      <a:pt x="300" y="1902"/>
                    </a:lnTo>
                    <a:lnTo>
                      <a:pt x="288" y="1914"/>
                    </a:lnTo>
                    <a:lnTo>
                      <a:pt x="312" y="1932"/>
                    </a:lnTo>
                    <a:lnTo>
                      <a:pt x="306" y="1956"/>
                    </a:lnTo>
                    <a:lnTo>
                      <a:pt x="330" y="1980"/>
                    </a:lnTo>
                    <a:lnTo>
                      <a:pt x="324" y="2016"/>
                    </a:lnTo>
                    <a:lnTo>
                      <a:pt x="336" y="2040"/>
                    </a:lnTo>
                    <a:lnTo>
                      <a:pt x="324" y="2046"/>
                    </a:lnTo>
                    <a:lnTo>
                      <a:pt x="318" y="2088"/>
                    </a:lnTo>
                    <a:lnTo>
                      <a:pt x="324" y="2088"/>
                    </a:lnTo>
                    <a:lnTo>
                      <a:pt x="348" y="2112"/>
                    </a:lnTo>
                    <a:lnTo>
                      <a:pt x="348" y="2118"/>
                    </a:lnTo>
                    <a:lnTo>
                      <a:pt x="342" y="2118"/>
                    </a:lnTo>
                    <a:lnTo>
                      <a:pt x="330" y="2124"/>
                    </a:lnTo>
                    <a:lnTo>
                      <a:pt x="324" y="2130"/>
                    </a:lnTo>
                    <a:lnTo>
                      <a:pt x="348" y="2154"/>
                    </a:lnTo>
                    <a:lnTo>
                      <a:pt x="348" y="2160"/>
                    </a:lnTo>
                    <a:lnTo>
                      <a:pt x="342" y="2166"/>
                    </a:lnTo>
                    <a:lnTo>
                      <a:pt x="336" y="2166"/>
                    </a:lnTo>
                    <a:lnTo>
                      <a:pt x="330" y="2172"/>
                    </a:lnTo>
                    <a:lnTo>
                      <a:pt x="324" y="2172"/>
                    </a:lnTo>
                    <a:lnTo>
                      <a:pt x="324" y="2196"/>
                    </a:lnTo>
                    <a:lnTo>
                      <a:pt x="312" y="2202"/>
                    </a:lnTo>
                    <a:lnTo>
                      <a:pt x="312" y="2214"/>
                    </a:lnTo>
                    <a:lnTo>
                      <a:pt x="318" y="2226"/>
                    </a:lnTo>
                    <a:lnTo>
                      <a:pt x="324" y="2232"/>
                    </a:lnTo>
                    <a:lnTo>
                      <a:pt x="324" y="2268"/>
                    </a:lnTo>
                    <a:lnTo>
                      <a:pt x="354" y="2274"/>
                    </a:lnTo>
                    <a:lnTo>
                      <a:pt x="354" y="2280"/>
                    </a:lnTo>
                    <a:lnTo>
                      <a:pt x="360" y="2286"/>
                    </a:lnTo>
                    <a:lnTo>
                      <a:pt x="360" y="2298"/>
                    </a:lnTo>
                    <a:lnTo>
                      <a:pt x="366" y="2304"/>
                    </a:lnTo>
                    <a:lnTo>
                      <a:pt x="378" y="2310"/>
                    </a:lnTo>
                    <a:lnTo>
                      <a:pt x="384" y="2310"/>
                    </a:lnTo>
                    <a:lnTo>
                      <a:pt x="396" y="2298"/>
                    </a:lnTo>
                    <a:lnTo>
                      <a:pt x="414" y="2298"/>
                    </a:lnTo>
                    <a:lnTo>
                      <a:pt x="426" y="2304"/>
                    </a:lnTo>
                    <a:lnTo>
                      <a:pt x="438" y="2316"/>
                    </a:lnTo>
                    <a:lnTo>
                      <a:pt x="438" y="2340"/>
                    </a:lnTo>
                    <a:lnTo>
                      <a:pt x="456" y="2364"/>
                    </a:lnTo>
                    <a:lnTo>
                      <a:pt x="468" y="2382"/>
                    </a:lnTo>
                    <a:lnTo>
                      <a:pt x="504" y="2400"/>
                    </a:lnTo>
                    <a:lnTo>
                      <a:pt x="522" y="2418"/>
                    </a:lnTo>
                    <a:lnTo>
                      <a:pt x="534" y="2418"/>
                    </a:lnTo>
                    <a:lnTo>
                      <a:pt x="546" y="2412"/>
                    </a:lnTo>
                    <a:lnTo>
                      <a:pt x="642" y="2412"/>
                    </a:lnTo>
                    <a:lnTo>
                      <a:pt x="666" y="2430"/>
                    </a:lnTo>
                    <a:lnTo>
                      <a:pt x="660" y="2442"/>
                    </a:lnTo>
                    <a:lnTo>
                      <a:pt x="666" y="2424"/>
                    </a:lnTo>
                    <a:lnTo>
                      <a:pt x="672" y="2418"/>
                    </a:lnTo>
                    <a:lnTo>
                      <a:pt x="684" y="2418"/>
                    </a:lnTo>
                    <a:lnTo>
                      <a:pt x="690" y="2424"/>
                    </a:lnTo>
                    <a:lnTo>
                      <a:pt x="702" y="2424"/>
                    </a:lnTo>
                    <a:lnTo>
                      <a:pt x="714" y="2430"/>
                    </a:lnTo>
                    <a:lnTo>
                      <a:pt x="720" y="2436"/>
                    </a:lnTo>
                    <a:lnTo>
                      <a:pt x="678" y="2382"/>
                    </a:lnTo>
                    <a:lnTo>
                      <a:pt x="660" y="2382"/>
                    </a:lnTo>
                    <a:lnTo>
                      <a:pt x="666" y="2370"/>
                    </a:lnTo>
                    <a:lnTo>
                      <a:pt x="630" y="2340"/>
                    </a:lnTo>
                    <a:lnTo>
                      <a:pt x="630" y="2310"/>
                    </a:lnTo>
                    <a:lnTo>
                      <a:pt x="618" y="2298"/>
                    </a:lnTo>
                    <a:lnTo>
                      <a:pt x="624" y="2286"/>
                    </a:lnTo>
                    <a:lnTo>
                      <a:pt x="630" y="2286"/>
                    </a:lnTo>
                    <a:lnTo>
                      <a:pt x="642" y="2274"/>
                    </a:lnTo>
                    <a:lnTo>
                      <a:pt x="642" y="2268"/>
                    </a:lnTo>
                    <a:lnTo>
                      <a:pt x="636" y="2268"/>
                    </a:lnTo>
                    <a:lnTo>
                      <a:pt x="624" y="2262"/>
                    </a:lnTo>
                    <a:lnTo>
                      <a:pt x="606" y="2262"/>
                    </a:lnTo>
                    <a:lnTo>
                      <a:pt x="618" y="2250"/>
                    </a:lnTo>
                    <a:lnTo>
                      <a:pt x="618" y="2232"/>
                    </a:lnTo>
                    <a:lnTo>
                      <a:pt x="636" y="2256"/>
                    </a:lnTo>
                    <a:lnTo>
                      <a:pt x="648" y="2262"/>
                    </a:lnTo>
                    <a:lnTo>
                      <a:pt x="666" y="2262"/>
                    </a:lnTo>
                    <a:lnTo>
                      <a:pt x="672" y="2256"/>
                    </a:lnTo>
                    <a:lnTo>
                      <a:pt x="678" y="2244"/>
                    </a:lnTo>
                    <a:lnTo>
                      <a:pt x="678" y="2226"/>
                    </a:lnTo>
                    <a:lnTo>
                      <a:pt x="672" y="2208"/>
                    </a:lnTo>
                    <a:lnTo>
                      <a:pt x="666" y="2196"/>
                    </a:lnTo>
                    <a:lnTo>
                      <a:pt x="666" y="2178"/>
                    </a:lnTo>
                    <a:lnTo>
                      <a:pt x="678" y="2154"/>
                    </a:lnTo>
                    <a:lnTo>
                      <a:pt x="690" y="2142"/>
                    </a:lnTo>
                    <a:lnTo>
                      <a:pt x="708" y="2130"/>
                    </a:lnTo>
                    <a:lnTo>
                      <a:pt x="738" y="2100"/>
                    </a:lnTo>
                    <a:lnTo>
                      <a:pt x="726" y="2088"/>
                    </a:lnTo>
                    <a:lnTo>
                      <a:pt x="702" y="2088"/>
                    </a:lnTo>
                    <a:lnTo>
                      <a:pt x="726" y="2082"/>
                    </a:lnTo>
                    <a:lnTo>
                      <a:pt x="726" y="2064"/>
                    </a:lnTo>
                    <a:lnTo>
                      <a:pt x="714" y="2040"/>
                    </a:lnTo>
                    <a:lnTo>
                      <a:pt x="708" y="2034"/>
                    </a:lnTo>
                    <a:lnTo>
                      <a:pt x="696" y="2028"/>
                    </a:lnTo>
                    <a:lnTo>
                      <a:pt x="690" y="2028"/>
                    </a:lnTo>
                    <a:lnTo>
                      <a:pt x="684" y="2034"/>
                    </a:lnTo>
                    <a:lnTo>
                      <a:pt x="672" y="2016"/>
                    </a:lnTo>
                    <a:lnTo>
                      <a:pt x="642" y="2016"/>
                    </a:lnTo>
                    <a:lnTo>
                      <a:pt x="636" y="2010"/>
                    </a:lnTo>
                    <a:lnTo>
                      <a:pt x="624" y="2004"/>
                    </a:lnTo>
                    <a:lnTo>
                      <a:pt x="606" y="1992"/>
                    </a:lnTo>
                    <a:lnTo>
                      <a:pt x="582" y="1968"/>
                    </a:lnTo>
                    <a:lnTo>
                      <a:pt x="570" y="1950"/>
                    </a:lnTo>
                    <a:lnTo>
                      <a:pt x="564" y="1938"/>
                    </a:lnTo>
                    <a:lnTo>
                      <a:pt x="564" y="1926"/>
                    </a:lnTo>
                    <a:lnTo>
                      <a:pt x="570" y="1914"/>
                    </a:lnTo>
                    <a:lnTo>
                      <a:pt x="570" y="1908"/>
                    </a:lnTo>
                    <a:lnTo>
                      <a:pt x="576" y="1908"/>
                    </a:lnTo>
                    <a:lnTo>
                      <a:pt x="582" y="1902"/>
                    </a:lnTo>
                    <a:lnTo>
                      <a:pt x="594" y="1878"/>
                    </a:lnTo>
                    <a:lnTo>
                      <a:pt x="606" y="1878"/>
                    </a:lnTo>
                    <a:lnTo>
                      <a:pt x="612" y="1860"/>
                    </a:lnTo>
                    <a:lnTo>
                      <a:pt x="666" y="1860"/>
                    </a:lnTo>
                    <a:lnTo>
                      <a:pt x="654" y="1848"/>
                    </a:lnTo>
                    <a:lnTo>
                      <a:pt x="654" y="1824"/>
                    </a:lnTo>
                    <a:lnTo>
                      <a:pt x="666" y="1824"/>
                    </a:lnTo>
                    <a:lnTo>
                      <a:pt x="666" y="1794"/>
                    </a:lnTo>
                    <a:lnTo>
                      <a:pt x="660" y="1788"/>
                    </a:lnTo>
                    <a:lnTo>
                      <a:pt x="654" y="1776"/>
                    </a:lnTo>
                    <a:lnTo>
                      <a:pt x="642" y="1764"/>
                    </a:lnTo>
                    <a:lnTo>
                      <a:pt x="642" y="1746"/>
                    </a:lnTo>
                    <a:lnTo>
                      <a:pt x="648" y="1728"/>
                    </a:lnTo>
                    <a:lnTo>
                      <a:pt x="654" y="1716"/>
                    </a:lnTo>
                    <a:lnTo>
                      <a:pt x="666" y="1710"/>
                    </a:lnTo>
                    <a:lnTo>
                      <a:pt x="672" y="1704"/>
                    </a:lnTo>
                    <a:lnTo>
                      <a:pt x="684" y="1704"/>
                    </a:lnTo>
                    <a:lnTo>
                      <a:pt x="684" y="1692"/>
                    </a:lnTo>
                    <a:lnTo>
                      <a:pt x="660" y="1692"/>
                    </a:lnTo>
                    <a:lnTo>
                      <a:pt x="648" y="1686"/>
                    </a:lnTo>
                    <a:lnTo>
                      <a:pt x="642" y="1680"/>
                    </a:lnTo>
                    <a:lnTo>
                      <a:pt x="642" y="1674"/>
                    </a:lnTo>
                    <a:lnTo>
                      <a:pt x="654" y="1668"/>
                    </a:lnTo>
                    <a:lnTo>
                      <a:pt x="666" y="1668"/>
                    </a:lnTo>
                    <a:lnTo>
                      <a:pt x="702" y="1686"/>
                    </a:lnTo>
                    <a:lnTo>
                      <a:pt x="708" y="1692"/>
                    </a:lnTo>
                    <a:lnTo>
                      <a:pt x="714" y="1692"/>
                    </a:lnTo>
                    <a:lnTo>
                      <a:pt x="720" y="1686"/>
                    </a:lnTo>
                    <a:lnTo>
                      <a:pt x="732" y="1680"/>
                    </a:lnTo>
                    <a:lnTo>
                      <a:pt x="732" y="1656"/>
                    </a:lnTo>
                    <a:lnTo>
                      <a:pt x="726" y="1644"/>
                    </a:lnTo>
                    <a:lnTo>
                      <a:pt x="708" y="1626"/>
                    </a:lnTo>
                    <a:lnTo>
                      <a:pt x="696" y="1626"/>
                    </a:lnTo>
                    <a:lnTo>
                      <a:pt x="690" y="1632"/>
                    </a:lnTo>
                    <a:lnTo>
                      <a:pt x="690" y="1650"/>
                    </a:lnTo>
                    <a:lnTo>
                      <a:pt x="684" y="1656"/>
                    </a:lnTo>
                    <a:lnTo>
                      <a:pt x="666" y="1656"/>
                    </a:lnTo>
                    <a:lnTo>
                      <a:pt x="654" y="1650"/>
                    </a:lnTo>
                    <a:lnTo>
                      <a:pt x="648" y="1644"/>
                    </a:lnTo>
                    <a:lnTo>
                      <a:pt x="648" y="1638"/>
                    </a:lnTo>
                    <a:lnTo>
                      <a:pt x="612" y="1638"/>
                    </a:lnTo>
                    <a:lnTo>
                      <a:pt x="606" y="1632"/>
                    </a:lnTo>
                    <a:lnTo>
                      <a:pt x="606" y="1572"/>
                    </a:lnTo>
                    <a:lnTo>
                      <a:pt x="600" y="1566"/>
                    </a:lnTo>
                    <a:lnTo>
                      <a:pt x="594" y="1554"/>
                    </a:lnTo>
                    <a:lnTo>
                      <a:pt x="588" y="1536"/>
                    </a:lnTo>
                    <a:lnTo>
                      <a:pt x="588" y="1524"/>
                    </a:lnTo>
                    <a:lnTo>
                      <a:pt x="594" y="1518"/>
                    </a:lnTo>
                    <a:lnTo>
                      <a:pt x="600" y="1518"/>
                    </a:lnTo>
                    <a:lnTo>
                      <a:pt x="606" y="1524"/>
                    </a:lnTo>
                    <a:lnTo>
                      <a:pt x="618" y="1524"/>
                    </a:lnTo>
                    <a:lnTo>
                      <a:pt x="624" y="1530"/>
                    </a:lnTo>
                    <a:lnTo>
                      <a:pt x="636" y="1536"/>
                    </a:lnTo>
                    <a:lnTo>
                      <a:pt x="672" y="1548"/>
                    </a:lnTo>
                    <a:lnTo>
                      <a:pt x="690" y="1560"/>
                    </a:lnTo>
                    <a:lnTo>
                      <a:pt x="708" y="1560"/>
                    </a:lnTo>
                    <a:lnTo>
                      <a:pt x="726" y="1554"/>
                    </a:lnTo>
                    <a:lnTo>
                      <a:pt x="738" y="1542"/>
                    </a:lnTo>
                    <a:lnTo>
                      <a:pt x="750" y="1536"/>
                    </a:lnTo>
                    <a:lnTo>
                      <a:pt x="768" y="1530"/>
                    </a:lnTo>
                    <a:lnTo>
                      <a:pt x="774" y="1524"/>
                    </a:lnTo>
                    <a:lnTo>
                      <a:pt x="774" y="1512"/>
                    </a:lnTo>
                    <a:lnTo>
                      <a:pt x="762" y="1506"/>
                    </a:lnTo>
                    <a:lnTo>
                      <a:pt x="750" y="1494"/>
                    </a:lnTo>
                    <a:lnTo>
                      <a:pt x="738" y="1488"/>
                    </a:lnTo>
                    <a:lnTo>
                      <a:pt x="738" y="1464"/>
                    </a:lnTo>
                    <a:lnTo>
                      <a:pt x="744" y="1452"/>
                    </a:lnTo>
                    <a:lnTo>
                      <a:pt x="750" y="1446"/>
                    </a:lnTo>
                    <a:lnTo>
                      <a:pt x="750" y="1434"/>
                    </a:lnTo>
                    <a:lnTo>
                      <a:pt x="756" y="1422"/>
                    </a:lnTo>
                    <a:lnTo>
                      <a:pt x="744" y="1410"/>
                    </a:lnTo>
                    <a:lnTo>
                      <a:pt x="726" y="1410"/>
                    </a:lnTo>
                    <a:lnTo>
                      <a:pt x="720" y="1386"/>
                    </a:lnTo>
                    <a:lnTo>
                      <a:pt x="714" y="1380"/>
                    </a:lnTo>
                    <a:lnTo>
                      <a:pt x="714" y="1368"/>
                    </a:lnTo>
                    <a:lnTo>
                      <a:pt x="720" y="1362"/>
                    </a:lnTo>
                    <a:lnTo>
                      <a:pt x="726" y="1362"/>
                    </a:lnTo>
                    <a:lnTo>
                      <a:pt x="732" y="1374"/>
                    </a:lnTo>
                    <a:lnTo>
                      <a:pt x="738" y="1380"/>
                    </a:lnTo>
                    <a:lnTo>
                      <a:pt x="738" y="1386"/>
                    </a:lnTo>
                    <a:lnTo>
                      <a:pt x="744" y="1398"/>
                    </a:lnTo>
                    <a:lnTo>
                      <a:pt x="756" y="1398"/>
                    </a:lnTo>
                    <a:lnTo>
                      <a:pt x="750" y="1380"/>
                    </a:lnTo>
                    <a:lnTo>
                      <a:pt x="828" y="1386"/>
                    </a:lnTo>
                    <a:lnTo>
                      <a:pt x="834" y="1380"/>
                    </a:lnTo>
                    <a:lnTo>
                      <a:pt x="840" y="1380"/>
                    </a:lnTo>
                    <a:lnTo>
                      <a:pt x="846" y="1374"/>
                    </a:lnTo>
                    <a:lnTo>
                      <a:pt x="864" y="1368"/>
                    </a:lnTo>
                    <a:lnTo>
                      <a:pt x="894" y="1362"/>
                    </a:lnTo>
                    <a:lnTo>
                      <a:pt x="930" y="1350"/>
                    </a:lnTo>
                    <a:lnTo>
                      <a:pt x="972" y="1338"/>
                    </a:lnTo>
                    <a:lnTo>
                      <a:pt x="1002" y="1326"/>
                    </a:lnTo>
                    <a:lnTo>
                      <a:pt x="1014" y="1320"/>
                    </a:lnTo>
                    <a:lnTo>
                      <a:pt x="1014" y="1284"/>
                    </a:lnTo>
                    <a:lnTo>
                      <a:pt x="1032" y="1272"/>
                    </a:lnTo>
                    <a:lnTo>
                      <a:pt x="1044" y="1218"/>
                    </a:lnTo>
                    <a:lnTo>
                      <a:pt x="1038" y="1194"/>
                    </a:lnTo>
                    <a:lnTo>
                      <a:pt x="1038" y="1170"/>
                    </a:lnTo>
                    <a:lnTo>
                      <a:pt x="1032" y="1170"/>
                    </a:lnTo>
                    <a:lnTo>
                      <a:pt x="1026" y="1164"/>
                    </a:lnTo>
                    <a:lnTo>
                      <a:pt x="1002" y="1152"/>
                    </a:lnTo>
                    <a:lnTo>
                      <a:pt x="990" y="1152"/>
                    </a:lnTo>
                    <a:lnTo>
                      <a:pt x="984" y="1146"/>
                    </a:lnTo>
                    <a:lnTo>
                      <a:pt x="978" y="1146"/>
                    </a:lnTo>
                    <a:lnTo>
                      <a:pt x="972" y="1140"/>
                    </a:lnTo>
                    <a:lnTo>
                      <a:pt x="990" y="1122"/>
                    </a:lnTo>
                    <a:lnTo>
                      <a:pt x="990" y="1092"/>
                    </a:lnTo>
                    <a:lnTo>
                      <a:pt x="984" y="1080"/>
                    </a:lnTo>
                    <a:lnTo>
                      <a:pt x="978" y="1074"/>
                    </a:lnTo>
                    <a:lnTo>
                      <a:pt x="954" y="1062"/>
                    </a:lnTo>
                    <a:lnTo>
                      <a:pt x="918" y="1050"/>
                    </a:lnTo>
                    <a:lnTo>
                      <a:pt x="906" y="1044"/>
                    </a:lnTo>
                    <a:lnTo>
                      <a:pt x="888" y="1032"/>
                    </a:lnTo>
                    <a:lnTo>
                      <a:pt x="876" y="1020"/>
                    </a:lnTo>
                    <a:lnTo>
                      <a:pt x="876" y="1002"/>
                    </a:lnTo>
                    <a:lnTo>
                      <a:pt x="882" y="990"/>
                    </a:lnTo>
                    <a:lnTo>
                      <a:pt x="888" y="990"/>
                    </a:lnTo>
                    <a:lnTo>
                      <a:pt x="888" y="984"/>
                    </a:lnTo>
                    <a:lnTo>
                      <a:pt x="858" y="948"/>
                    </a:lnTo>
                    <a:lnTo>
                      <a:pt x="858" y="900"/>
                    </a:lnTo>
                    <a:lnTo>
                      <a:pt x="882" y="900"/>
                    </a:lnTo>
                    <a:lnTo>
                      <a:pt x="888" y="894"/>
                    </a:lnTo>
                    <a:lnTo>
                      <a:pt x="894" y="894"/>
                    </a:lnTo>
                    <a:lnTo>
                      <a:pt x="894" y="888"/>
                    </a:lnTo>
                    <a:lnTo>
                      <a:pt x="888" y="876"/>
                    </a:lnTo>
                    <a:lnTo>
                      <a:pt x="876" y="870"/>
                    </a:lnTo>
                    <a:lnTo>
                      <a:pt x="870" y="858"/>
                    </a:lnTo>
                    <a:lnTo>
                      <a:pt x="864" y="852"/>
                    </a:lnTo>
                    <a:lnTo>
                      <a:pt x="876" y="834"/>
                    </a:lnTo>
                    <a:lnTo>
                      <a:pt x="864" y="822"/>
                    </a:lnTo>
                    <a:lnTo>
                      <a:pt x="858" y="810"/>
                    </a:lnTo>
                    <a:lnTo>
                      <a:pt x="852" y="804"/>
                    </a:lnTo>
                    <a:lnTo>
                      <a:pt x="864" y="792"/>
                    </a:lnTo>
                    <a:lnTo>
                      <a:pt x="882" y="792"/>
                    </a:lnTo>
                    <a:lnTo>
                      <a:pt x="858" y="774"/>
                    </a:lnTo>
                    <a:lnTo>
                      <a:pt x="858" y="738"/>
                    </a:lnTo>
                    <a:lnTo>
                      <a:pt x="882" y="726"/>
                    </a:lnTo>
                    <a:lnTo>
                      <a:pt x="876" y="726"/>
                    </a:lnTo>
                    <a:lnTo>
                      <a:pt x="852" y="702"/>
                    </a:lnTo>
                    <a:lnTo>
                      <a:pt x="852" y="696"/>
                    </a:lnTo>
                    <a:lnTo>
                      <a:pt x="870" y="678"/>
                    </a:lnTo>
                    <a:lnTo>
                      <a:pt x="870" y="666"/>
                    </a:lnTo>
                    <a:lnTo>
                      <a:pt x="876" y="654"/>
                    </a:lnTo>
                    <a:lnTo>
                      <a:pt x="876" y="642"/>
                    </a:lnTo>
                    <a:lnTo>
                      <a:pt x="882" y="636"/>
                    </a:lnTo>
                    <a:lnTo>
                      <a:pt x="900" y="636"/>
                    </a:lnTo>
                    <a:lnTo>
                      <a:pt x="906" y="630"/>
                    </a:lnTo>
                    <a:lnTo>
                      <a:pt x="912" y="618"/>
                    </a:lnTo>
                    <a:lnTo>
                      <a:pt x="918" y="612"/>
                    </a:lnTo>
                    <a:lnTo>
                      <a:pt x="918" y="588"/>
                    </a:lnTo>
                    <a:lnTo>
                      <a:pt x="930" y="588"/>
                    </a:lnTo>
                    <a:lnTo>
                      <a:pt x="948" y="570"/>
                    </a:lnTo>
                    <a:lnTo>
                      <a:pt x="948" y="558"/>
                    </a:lnTo>
                    <a:lnTo>
                      <a:pt x="954" y="546"/>
                    </a:lnTo>
                    <a:lnTo>
                      <a:pt x="954" y="534"/>
                    </a:lnTo>
                    <a:close/>
                    <a:moveTo>
                      <a:pt x="930" y="1020"/>
                    </a:moveTo>
                    <a:lnTo>
                      <a:pt x="942" y="1020"/>
                    </a:lnTo>
                    <a:lnTo>
                      <a:pt x="930" y="1014"/>
                    </a:lnTo>
                    <a:lnTo>
                      <a:pt x="930" y="1020"/>
                    </a:lnTo>
                    <a:close/>
                  </a:path>
                </a:pathLst>
              </a:custGeom>
              <a:solidFill>
                <a:srgbClr val="9D90A0">
                  <a:lumMod val="40000"/>
                  <a:lumOff val="60000"/>
                </a:srgbClr>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58" name="West Bank" descr="© INSCALE GmbH, 05.05.2010&#10;http://www.presentationload.com/">
                <a:extLst>
                  <a:ext uri="{FF2B5EF4-FFF2-40B4-BE49-F238E27FC236}">
                    <a16:creationId xmlns:a16="http://schemas.microsoft.com/office/drawing/2014/main" id="{4682BBD0-3480-4954-905D-C05B76BFD848}"/>
                  </a:ext>
                </a:extLst>
              </p:cNvPr>
              <p:cNvSpPr>
                <a:spLocks/>
              </p:cNvSpPr>
              <p:nvPr/>
            </p:nvSpPr>
            <p:spPr bwMode="gray">
              <a:xfrm>
                <a:off x="5167808" y="3403522"/>
                <a:ext cx="17159" cy="41585"/>
              </a:xfrm>
              <a:custGeom>
                <a:avLst/>
                <a:gdLst>
                  <a:gd name="T0" fmla="*/ 2147483647 w 42"/>
                  <a:gd name="T1" fmla="*/ 2147483647 h 96"/>
                  <a:gd name="T2" fmla="*/ 2147483647 w 42"/>
                  <a:gd name="T3" fmla="*/ 2147483647 h 96"/>
                  <a:gd name="T4" fmla="*/ 2147483647 w 42"/>
                  <a:gd name="T5" fmla="*/ 2147483647 h 96"/>
                  <a:gd name="T6" fmla="*/ 2147483647 w 42"/>
                  <a:gd name="T7" fmla="*/ 0 h 96"/>
                  <a:gd name="T8" fmla="*/ 2147483647 w 42"/>
                  <a:gd name="T9" fmla="*/ 0 h 96"/>
                  <a:gd name="T10" fmla="*/ 0 w 42"/>
                  <a:gd name="T11" fmla="*/ 2147483647 h 96"/>
                  <a:gd name="T12" fmla="*/ 0 w 42"/>
                  <a:gd name="T13" fmla="*/ 2147483647 h 96"/>
                  <a:gd name="T14" fmla="*/ 2147483647 w 42"/>
                  <a:gd name="T15" fmla="*/ 2147483647 h 96"/>
                  <a:gd name="T16" fmla="*/ 2147483647 w 42"/>
                  <a:gd name="T17" fmla="*/ 2147483647 h 96"/>
                  <a:gd name="T18" fmla="*/ 2147483647 w 42"/>
                  <a:gd name="T19" fmla="*/ 2147483647 h 96"/>
                  <a:gd name="T20" fmla="*/ 2147483647 w 42"/>
                  <a:gd name="T21" fmla="*/ 2147483647 h 96"/>
                  <a:gd name="T22" fmla="*/ 2147483647 w 42"/>
                  <a:gd name="T23" fmla="*/ 2147483647 h 9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2"/>
                  <a:gd name="T37" fmla="*/ 0 h 96"/>
                  <a:gd name="T38" fmla="*/ 42 w 42"/>
                  <a:gd name="T39" fmla="*/ 96 h 9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2" h="96">
                    <a:moveTo>
                      <a:pt x="24" y="78"/>
                    </a:moveTo>
                    <a:lnTo>
                      <a:pt x="30" y="84"/>
                    </a:lnTo>
                    <a:lnTo>
                      <a:pt x="42" y="72"/>
                    </a:lnTo>
                    <a:lnTo>
                      <a:pt x="36" y="0"/>
                    </a:lnTo>
                    <a:lnTo>
                      <a:pt x="18" y="0"/>
                    </a:lnTo>
                    <a:lnTo>
                      <a:pt x="0" y="18"/>
                    </a:lnTo>
                    <a:lnTo>
                      <a:pt x="0" y="90"/>
                    </a:lnTo>
                    <a:lnTo>
                      <a:pt x="6" y="96"/>
                    </a:lnTo>
                    <a:lnTo>
                      <a:pt x="12" y="90"/>
                    </a:lnTo>
                    <a:lnTo>
                      <a:pt x="18" y="90"/>
                    </a:lnTo>
                    <a:lnTo>
                      <a:pt x="18" y="84"/>
                    </a:lnTo>
                    <a:lnTo>
                      <a:pt x="24" y="78"/>
                    </a:lnTo>
                    <a:close/>
                  </a:path>
                </a:pathLst>
              </a:custGeom>
              <a:solidFill>
                <a:srgbClr val="4966AC"/>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59" name="Uzbekistan" descr="© INSCALE GmbH, 05.05.2010&#10;http://www.presentationload.com/">
                <a:extLst>
                  <a:ext uri="{FF2B5EF4-FFF2-40B4-BE49-F238E27FC236}">
                    <a16:creationId xmlns:a16="http://schemas.microsoft.com/office/drawing/2014/main" id="{145C356B-DD62-4660-9C6E-1A1DE7398605}"/>
                  </a:ext>
                </a:extLst>
              </p:cNvPr>
              <p:cNvSpPr>
                <a:spLocks/>
              </p:cNvSpPr>
              <p:nvPr/>
            </p:nvSpPr>
            <p:spPr bwMode="gray">
              <a:xfrm>
                <a:off x="5657620" y="2944357"/>
                <a:ext cx="467973" cy="292826"/>
              </a:xfrm>
              <a:custGeom>
                <a:avLst/>
                <a:gdLst>
                  <a:gd name="T0" fmla="*/ 2147483647 w 1182"/>
                  <a:gd name="T1" fmla="*/ 2147483647 h 666"/>
                  <a:gd name="T2" fmla="*/ 2147483647 w 1182"/>
                  <a:gd name="T3" fmla="*/ 2147483647 h 666"/>
                  <a:gd name="T4" fmla="*/ 2147483647 w 1182"/>
                  <a:gd name="T5" fmla="*/ 2147483647 h 666"/>
                  <a:gd name="T6" fmla="*/ 2147483647 w 1182"/>
                  <a:gd name="T7" fmla="*/ 2147483647 h 666"/>
                  <a:gd name="T8" fmla="*/ 2147483647 w 1182"/>
                  <a:gd name="T9" fmla="*/ 2147483647 h 666"/>
                  <a:gd name="T10" fmla="*/ 2147483647 w 1182"/>
                  <a:gd name="T11" fmla="*/ 2147483647 h 666"/>
                  <a:gd name="T12" fmla="*/ 2147483647 w 1182"/>
                  <a:gd name="T13" fmla="*/ 2147483647 h 666"/>
                  <a:gd name="T14" fmla="*/ 2147483647 w 1182"/>
                  <a:gd name="T15" fmla="*/ 2147483647 h 666"/>
                  <a:gd name="T16" fmla="*/ 2147483647 w 1182"/>
                  <a:gd name="T17" fmla="*/ 2147483647 h 666"/>
                  <a:gd name="T18" fmla="*/ 2147483647 w 1182"/>
                  <a:gd name="T19" fmla="*/ 2147483647 h 666"/>
                  <a:gd name="T20" fmla="*/ 2147483647 w 1182"/>
                  <a:gd name="T21" fmla="*/ 2147483647 h 666"/>
                  <a:gd name="T22" fmla="*/ 2147483647 w 1182"/>
                  <a:gd name="T23" fmla="*/ 2147483647 h 666"/>
                  <a:gd name="T24" fmla="*/ 2147483647 w 1182"/>
                  <a:gd name="T25" fmla="*/ 2147483647 h 666"/>
                  <a:gd name="T26" fmla="*/ 2147483647 w 1182"/>
                  <a:gd name="T27" fmla="*/ 2147483647 h 666"/>
                  <a:gd name="T28" fmla="*/ 2147483647 w 1182"/>
                  <a:gd name="T29" fmla="*/ 2147483647 h 666"/>
                  <a:gd name="T30" fmla="*/ 2147483647 w 1182"/>
                  <a:gd name="T31" fmla="*/ 2147483647 h 666"/>
                  <a:gd name="T32" fmla="*/ 2147483647 w 1182"/>
                  <a:gd name="T33" fmla="*/ 2147483647 h 666"/>
                  <a:gd name="T34" fmla="*/ 2147483647 w 1182"/>
                  <a:gd name="T35" fmla="*/ 2147483647 h 666"/>
                  <a:gd name="T36" fmla="*/ 2147483647 w 1182"/>
                  <a:gd name="T37" fmla="*/ 2147483647 h 666"/>
                  <a:gd name="T38" fmla="*/ 2147483647 w 1182"/>
                  <a:gd name="T39" fmla="*/ 2147483647 h 666"/>
                  <a:gd name="T40" fmla="*/ 2147483647 w 1182"/>
                  <a:gd name="T41" fmla="*/ 2147483647 h 666"/>
                  <a:gd name="T42" fmla="*/ 2147483647 w 1182"/>
                  <a:gd name="T43" fmla="*/ 2147483647 h 666"/>
                  <a:gd name="T44" fmla="*/ 2147483647 w 1182"/>
                  <a:gd name="T45" fmla="*/ 2147483647 h 666"/>
                  <a:gd name="T46" fmla="*/ 2147483647 w 1182"/>
                  <a:gd name="T47" fmla="*/ 2147483647 h 666"/>
                  <a:gd name="T48" fmla="*/ 2147483647 w 1182"/>
                  <a:gd name="T49" fmla="*/ 2147483647 h 666"/>
                  <a:gd name="T50" fmla="*/ 2147483647 w 1182"/>
                  <a:gd name="T51" fmla="*/ 2147483647 h 666"/>
                  <a:gd name="T52" fmla="*/ 2147483647 w 1182"/>
                  <a:gd name="T53" fmla="*/ 2147483647 h 666"/>
                  <a:gd name="T54" fmla="*/ 2147483647 w 1182"/>
                  <a:gd name="T55" fmla="*/ 2147483647 h 666"/>
                  <a:gd name="T56" fmla="*/ 2147483647 w 1182"/>
                  <a:gd name="T57" fmla="*/ 2147483647 h 666"/>
                  <a:gd name="T58" fmla="*/ 2147483647 w 1182"/>
                  <a:gd name="T59" fmla="*/ 2147483647 h 666"/>
                  <a:gd name="T60" fmla="*/ 2147483647 w 1182"/>
                  <a:gd name="T61" fmla="*/ 2147483647 h 666"/>
                  <a:gd name="T62" fmla="*/ 2147483647 w 1182"/>
                  <a:gd name="T63" fmla="*/ 2147483647 h 666"/>
                  <a:gd name="T64" fmla="*/ 2147483647 w 1182"/>
                  <a:gd name="T65" fmla="*/ 2147483647 h 666"/>
                  <a:gd name="T66" fmla="*/ 2147483647 w 1182"/>
                  <a:gd name="T67" fmla="*/ 2147483647 h 666"/>
                  <a:gd name="T68" fmla="*/ 2147483647 w 1182"/>
                  <a:gd name="T69" fmla="*/ 2147483647 h 666"/>
                  <a:gd name="T70" fmla="*/ 2147483647 w 1182"/>
                  <a:gd name="T71" fmla="*/ 2147483647 h 666"/>
                  <a:gd name="T72" fmla="*/ 2147483647 w 1182"/>
                  <a:gd name="T73" fmla="*/ 2147483647 h 666"/>
                  <a:gd name="T74" fmla="*/ 2147483647 w 1182"/>
                  <a:gd name="T75" fmla="*/ 2147483647 h 666"/>
                  <a:gd name="T76" fmla="*/ 2147483647 w 1182"/>
                  <a:gd name="T77" fmla="*/ 2147483647 h 666"/>
                  <a:gd name="T78" fmla="*/ 2147483647 w 1182"/>
                  <a:gd name="T79" fmla="*/ 2147483647 h 666"/>
                  <a:gd name="T80" fmla="*/ 2147483647 w 1182"/>
                  <a:gd name="T81" fmla="*/ 2147483647 h 666"/>
                  <a:gd name="T82" fmla="*/ 2147483647 w 1182"/>
                  <a:gd name="T83" fmla="*/ 2147483647 h 666"/>
                  <a:gd name="T84" fmla="*/ 2147483647 w 1182"/>
                  <a:gd name="T85" fmla="*/ 2147483647 h 666"/>
                  <a:gd name="T86" fmla="*/ 2147483647 w 1182"/>
                  <a:gd name="T87" fmla="*/ 2147483647 h 666"/>
                  <a:gd name="T88" fmla="*/ 2147483647 w 1182"/>
                  <a:gd name="T89" fmla="*/ 2147483647 h 666"/>
                  <a:gd name="T90" fmla="*/ 2147483647 w 1182"/>
                  <a:gd name="T91" fmla="*/ 2147483647 h 666"/>
                  <a:gd name="T92" fmla="*/ 2147483647 w 1182"/>
                  <a:gd name="T93" fmla="*/ 2147483647 h 666"/>
                  <a:gd name="T94" fmla="*/ 2147483647 w 1182"/>
                  <a:gd name="T95" fmla="*/ 2147483647 h 666"/>
                  <a:gd name="T96" fmla="*/ 2147483647 w 1182"/>
                  <a:gd name="T97" fmla="*/ 2147483647 h 666"/>
                  <a:gd name="T98" fmla="*/ 2147483647 w 1182"/>
                  <a:gd name="T99" fmla="*/ 2147483647 h 666"/>
                  <a:gd name="T100" fmla="*/ 2147483647 w 1182"/>
                  <a:gd name="T101" fmla="*/ 2147483647 h 666"/>
                  <a:gd name="T102" fmla="*/ 2147483647 w 1182"/>
                  <a:gd name="T103" fmla="*/ 2147483647 h 666"/>
                  <a:gd name="T104" fmla="*/ 2147483647 w 1182"/>
                  <a:gd name="T105" fmla="*/ 2147483647 h 666"/>
                  <a:gd name="T106" fmla="*/ 2147483647 w 1182"/>
                  <a:gd name="T107" fmla="*/ 2147483647 h 666"/>
                  <a:gd name="T108" fmla="*/ 2147483647 w 1182"/>
                  <a:gd name="T109" fmla="*/ 2147483647 h 666"/>
                  <a:gd name="T110" fmla="*/ 2147483647 w 1182"/>
                  <a:gd name="T111" fmla="*/ 2147483647 h 666"/>
                  <a:gd name="T112" fmla="*/ 2147483647 w 1182"/>
                  <a:gd name="T113" fmla="*/ 2147483647 h 666"/>
                  <a:gd name="T114" fmla="*/ 2147483647 w 1182"/>
                  <a:gd name="T115" fmla="*/ 2147483647 h 66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182"/>
                  <a:gd name="T175" fmla="*/ 0 h 666"/>
                  <a:gd name="T176" fmla="*/ 1182 w 1182"/>
                  <a:gd name="T177" fmla="*/ 666 h 66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182" h="666">
                    <a:moveTo>
                      <a:pt x="1152" y="372"/>
                    </a:moveTo>
                    <a:lnTo>
                      <a:pt x="1146" y="360"/>
                    </a:lnTo>
                    <a:lnTo>
                      <a:pt x="1122" y="360"/>
                    </a:lnTo>
                    <a:lnTo>
                      <a:pt x="1116" y="342"/>
                    </a:lnTo>
                    <a:lnTo>
                      <a:pt x="1098" y="342"/>
                    </a:lnTo>
                    <a:lnTo>
                      <a:pt x="1080" y="318"/>
                    </a:lnTo>
                    <a:lnTo>
                      <a:pt x="1080" y="330"/>
                    </a:lnTo>
                    <a:lnTo>
                      <a:pt x="1068" y="330"/>
                    </a:lnTo>
                    <a:lnTo>
                      <a:pt x="1068" y="342"/>
                    </a:lnTo>
                    <a:lnTo>
                      <a:pt x="1032" y="342"/>
                    </a:lnTo>
                    <a:lnTo>
                      <a:pt x="1020" y="330"/>
                    </a:lnTo>
                    <a:lnTo>
                      <a:pt x="990" y="318"/>
                    </a:lnTo>
                    <a:lnTo>
                      <a:pt x="1038" y="270"/>
                    </a:lnTo>
                    <a:lnTo>
                      <a:pt x="1038" y="264"/>
                    </a:lnTo>
                    <a:lnTo>
                      <a:pt x="1032" y="264"/>
                    </a:lnTo>
                    <a:lnTo>
                      <a:pt x="1032" y="258"/>
                    </a:lnTo>
                    <a:lnTo>
                      <a:pt x="1002" y="276"/>
                    </a:lnTo>
                    <a:lnTo>
                      <a:pt x="978" y="276"/>
                    </a:lnTo>
                    <a:lnTo>
                      <a:pt x="966" y="300"/>
                    </a:lnTo>
                    <a:lnTo>
                      <a:pt x="960" y="300"/>
                    </a:lnTo>
                    <a:lnTo>
                      <a:pt x="954" y="306"/>
                    </a:lnTo>
                    <a:lnTo>
                      <a:pt x="942" y="306"/>
                    </a:lnTo>
                    <a:lnTo>
                      <a:pt x="930" y="312"/>
                    </a:lnTo>
                    <a:lnTo>
                      <a:pt x="918" y="324"/>
                    </a:lnTo>
                    <a:lnTo>
                      <a:pt x="918" y="342"/>
                    </a:lnTo>
                    <a:lnTo>
                      <a:pt x="912" y="342"/>
                    </a:lnTo>
                    <a:lnTo>
                      <a:pt x="906" y="348"/>
                    </a:lnTo>
                    <a:lnTo>
                      <a:pt x="894" y="354"/>
                    </a:lnTo>
                    <a:lnTo>
                      <a:pt x="882" y="366"/>
                    </a:lnTo>
                    <a:lnTo>
                      <a:pt x="882" y="378"/>
                    </a:lnTo>
                    <a:lnTo>
                      <a:pt x="888" y="384"/>
                    </a:lnTo>
                    <a:lnTo>
                      <a:pt x="888" y="396"/>
                    </a:lnTo>
                    <a:lnTo>
                      <a:pt x="882" y="390"/>
                    </a:lnTo>
                    <a:lnTo>
                      <a:pt x="870" y="390"/>
                    </a:lnTo>
                    <a:lnTo>
                      <a:pt x="858" y="384"/>
                    </a:lnTo>
                    <a:lnTo>
                      <a:pt x="852" y="384"/>
                    </a:lnTo>
                    <a:lnTo>
                      <a:pt x="852" y="372"/>
                    </a:lnTo>
                    <a:lnTo>
                      <a:pt x="858" y="366"/>
                    </a:lnTo>
                    <a:lnTo>
                      <a:pt x="858" y="348"/>
                    </a:lnTo>
                    <a:lnTo>
                      <a:pt x="840" y="342"/>
                    </a:lnTo>
                    <a:lnTo>
                      <a:pt x="762" y="342"/>
                    </a:lnTo>
                    <a:lnTo>
                      <a:pt x="732" y="282"/>
                    </a:lnTo>
                    <a:lnTo>
                      <a:pt x="726" y="276"/>
                    </a:lnTo>
                    <a:lnTo>
                      <a:pt x="714" y="276"/>
                    </a:lnTo>
                    <a:lnTo>
                      <a:pt x="708" y="282"/>
                    </a:lnTo>
                    <a:lnTo>
                      <a:pt x="702" y="282"/>
                    </a:lnTo>
                    <a:lnTo>
                      <a:pt x="696" y="276"/>
                    </a:lnTo>
                    <a:lnTo>
                      <a:pt x="696" y="234"/>
                    </a:lnTo>
                    <a:lnTo>
                      <a:pt x="690" y="216"/>
                    </a:lnTo>
                    <a:lnTo>
                      <a:pt x="690" y="204"/>
                    </a:lnTo>
                    <a:lnTo>
                      <a:pt x="660" y="204"/>
                    </a:lnTo>
                    <a:lnTo>
                      <a:pt x="654" y="192"/>
                    </a:lnTo>
                    <a:lnTo>
                      <a:pt x="642" y="186"/>
                    </a:lnTo>
                    <a:lnTo>
                      <a:pt x="636" y="168"/>
                    </a:lnTo>
                    <a:lnTo>
                      <a:pt x="618" y="150"/>
                    </a:lnTo>
                    <a:lnTo>
                      <a:pt x="612" y="138"/>
                    </a:lnTo>
                    <a:lnTo>
                      <a:pt x="600" y="138"/>
                    </a:lnTo>
                    <a:lnTo>
                      <a:pt x="576" y="150"/>
                    </a:lnTo>
                    <a:lnTo>
                      <a:pt x="570" y="156"/>
                    </a:lnTo>
                    <a:lnTo>
                      <a:pt x="552" y="156"/>
                    </a:lnTo>
                    <a:lnTo>
                      <a:pt x="534" y="150"/>
                    </a:lnTo>
                    <a:lnTo>
                      <a:pt x="474" y="150"/>
                    </a:lnTo>
                    <a:lnTo>
                      <a:pt x="456" y="156"/>
                    </a:lnTo>
                    <a:lnTo>
                      <a:pt x="420" y="156"/>
                    </a:lnTo>
                    <a:lnTo>
                      <a:pt x="414" y="162"/>
                    </a:lnTo>
                    <a:lnTo>
                      <a:pt x="408" y="162"/>
                    </a:lnTo>
                    <a:lnTo>
                      <a:pt x="330" y="90"/>
                    </a:lnTo>
                    <a:lnTo>
                      <a:pt x="264" y="54"/>
                    </a:lnTo>
                    <a:lnTo>
                      <a:pt x="270" y="66"/>
                    </a:lnTo>
                    <a:lnTo>
                      <a:pt x="270" y="90"/>
                    </a:lnTo>
                    <a:lnTo>
                      <a:pt x="264" y="102"/>
                    </a:lnTo>
                    <a:lnTo>
                      <a:pt x="258" y="108"/>
                    </a:lnTo>
                    <a:lnTo>
                      <a:pt x="240" y="108"/>
                    </a:lnTo>
                    <a:lnTo>
                      <a:pt x="228" y="102"/>
                    </a:lnTo>
                    <a:lnTo>
                      <a:pt x="222" y="96"/>
                    </a:lnTo>
                    <a:lnTo>
                      <a:pt x="222" y="78"/>
                    </a:lnTo>
                    <a:lnTo>
                      <a:pt x="210" y="54"/>
                    </a:lnTo>
                    <a:lnTo>
                      <a:pt x="216" y="36"/>
                    </a:lnTo>
                    <a:lnTo>
                      <a:pt x="162" y="12"/>
                    </a:lnTo>
                    <a:lnTo>
                      <a:pt x="156" y="30"/>
                    </a:lnTo>
                    <a:lnTo>
                      <a:pt x="168" y="36"/>
                    </a:lnTo>
                    <a:lnTo>
                      <a:pt x="174" y="48"/>
                    </a:lnTo>
                    <a:lnTo>
                      <a:pt x="174" y="72"/>
                    </a:lnTo>
                    <a:lnTo>
                      <a:pt x="168" y="78"/>
                    </a:lnTo>
                    <a:lnTo>
                      <a:pt x="156" y="84"/>
                    </a:lnTo>
                    <a:lnTo>
                      <a:pt x="150" y="84"/>
                    </a:lnTo>
                    <a:lnTo>
                      <a:pt x="144" y="78"/>
                    </a:lnTo>
                    <a:lnTo>
                      <a:pt x="144" y="60"/>
                    </a:lnTo>
                    <a:lnTo>
                      <a:pt x="132" y="48"/>
                    </a:lnTo>
                    <a:lnTo>
                      <a:pt x="132" y="42"/>
                    </a:lnTo>
                    <a:lnTo>
                      <a:pt x="144" y="30"/>
                    </a:lnTo>
                    <a:lnTo>
                      <a:pt x="150" y="6"/>
                    </a:lnTo>
                    <a:lnTo>
                      <a:pt x="144" y="0"/>
                    </a:lnTo>
                    <a:lnTo>
                      <a:pt x="0" y="42"/>
                    </a:lnTo>
                    <a:lnTo>
                      <a:pt x="48" y="324"/>
                    </a:lnTo>
                    <a:lnTo>
                      <a:pt x="60" y="324"/>
                    </a:lnTo>
                    <a:lnTo>
                      <a:pt x="72" y="336"/>
                    </a:lnTo>
                    <a:lnTo>
                      <a:pt x="138" y="336"/>
                    </a:lnTo>
                    <a:lnTo>
                      <a:pt x="132" y="324"/>
                    </a:lnTo>
                    <a:lnTo>
                      <a:pt x="120" y="318"/>
                    </a:lnTo>
                    <a:lnTo>
                      <a:pt x="114" y="300"/>
                    </a:lnTo>
                    <a:lnTo>
                      <a:pt x="114" y="288"/>
                    </a:lnTo>
                    <a:lnTo>
                      <a:pt x="132" y="270"/>
                    </a:lnTo>
                    <a:lnTo>
                      <a:pt x="144" y="264"/>
                    </a:lnTo>
                    <a:lnTo>
                      <a:pt x="156" y="264"/>
                    </a:lnTo>
                    <a:lnTo>
                      <a:pt x="162" y="258"/>
                    </a:lnTo>
                    <a:lnTo>
                      <a:pt x="168" y="258"/>
                    </a:lnTo>
                    <a:lnTo>
                      <a:pt x="168" y="246"/>
                    </a:lnTo>
                    <a:lnTo>
                      <a:pt x="174" y="240"/>
                    </a:lnTo>
                    <a:lnTo>
                      <a:pt x="180" y="240"/>
                    </a:lnTo>
                    <a:lnTo>
                      <a:pt x="186" y="246"/>
                    </a:lnTo>
                    <a:lnTo>
                      <a:pt x="198" y="246"/>
                    </a:lnTo>
                    <a:lnTo>
                      <a:pt x="204" y="252"/>
                    </a:lnTo>
                    <a:lnTo>
                      <a:pt x="174" y="222"/>
                    </a:lnTo>
                    <a:lnTo>
                      <a:pt x="204" y="228"/>
                    </a:lnTo>
                    <a:lnTo>
                      <a:pt x="210" y="216"/>
                    </a:lnTo>
                    <a:lnTo>
                      <a:pt x="228" y="240"/>
                    </a:lnTo>
                    <a:lnTo>
                      <a:pt x="252" y="240"/>
                    </a:lnTo>
                    <a:lnTo>
                      <a:pt x="252" y="252"/>
                    </a:lnTo>
                    <a:lnTo>
                      <a:pt x="264" y="258"/>
                    </a:lnTo>
                    <a:lnTo>
                      <a:pt x="300" y="258"/>
                    </a:lnTo>
                    <a:lnTo>
                      <a:pt x="306" y="264"/>
                    </a:lnTo>
                    <a:lnTo>
                      <a:pt x="312" y="276"/>
                    </a:lnTo>
                    <a:lnTo>
                      <a:pt x="312" y="288"/>
                    </a:lnTo>
                    <a:lnTo>
                      <a:pt x="324" y="294"/>
                    </a:lnTo>
                    <a:lnTo>
                      <a:pt x="312" y="306"/>
                    </a:lnTo>
                    <a:lnTo>
                      <a:pt x="312" y="318"/>
                    </a:lnTo>
                    <a:lnTo>
                      <a:pt x="330" y="336"/>
                    </a:lnTo>
                    <a:lnTo>
                      <a:pt x="360" y="336"/>
                    </a:lnTo>
                    <a:lnTo>
                      <a:pt x="414" y="342"/>
                    </a:lnTo>
                    <a:lnTo>
                      <a:pt x="414" y="336"/>
                    </a:lnTo>
                    <a:lnTo>
                      <a:pt x="450" y="354"/>
                    </a:lnTo>
                    <a:lnTo>
                      <a:pt x="468" y="384"/>
                    </a:lnTo>
                    <a:lnTo>
                      <a:pt x="486" y="402"/>
                    </a:lnTo>
                    <a:lnTo>
                      <a:pt x="486" y="408"/>
                    </a:lnTo>
                    <a:lnTo>
                      <a:pt x="492" y="414"/>
                    </a:lnTo>
                    <a:lnTo>
                      <a:pt x="510" y="450"/>
                    </a:lnTo>
                    <a:lnTo>
                      <a:pt x="522" y="462"/>
                    </a:lnTo>
                    <a:lnTo>
                      <a:pt x="534" y="468"/>
                    </a:lnTo>
                    <a:lnTo>
                      <a:pt x="552" y="468"/>
                    </a:lnTo>
                    <a:lnTo>
                      <a:pt x="564" y="474"/>
                    </a:lnTo>
                    <a:lnTo>
                      <a:pt x="570" y="474"/>
                    </a:lnTo>
                    <a:lnTo>
                      <a:pt x="582" y="486"/>
                    </a:lnTo>
                    <a:lnTo>
                      <a:pt x="588" y="498"/>
                    </a:lnTo>
                    <a:lnTo>
                      <a:pt x="594" y="504"/>
                    </a:lnTo>
                    <a:lnTo>
                      <a:pt x="624" y="522"/>
                    </a:lnTo>
                    <a:lnTo>
                      <a:pt x="648" y="522"/>
                    </a:lnTo>
                    <a:lnTo>
                      <a:pt x="666" y="534"/>
                    </a:lnTo>
                    <a:lnTo>
                      <a:pt x="690" y="546"/>
                    </a:lnTo>
                    <a:lnTo>
                      <a:pt x="696" y="552"/>
                    </a:lnTo>
                    <a:lnTo>
                      <a:pt x="708" y="558"/>
                    </a:lnTo>
                    <a:lnTo>
                      <a:pt x="720" y="570"/>
                    </a:lnTo>
                    <a:lnTo>
                      <a:pt x="732" y="570"/>
                    </a:lnTo>
                    <a:lnTo>
                      <a:pt x="744" y="582"/>
                    </a:lnTo>
                    <a:lnTo>
                      <a:pt x="750" y="582"/>
                    </a:lnTo>
                    <a:lnTo>
                      <a:pt x="774" y="576"/>
                    </a:lnTo>
                    <a:lnTo>
                      <a:pt x="822" y="606"/>
                    </a:lnTo>
                    <a:lnTo>
                      <a:pt x="816" y="612"/>
                    </a:lnTo>
                    <a:lnTo>
                      <a:pt x="816" y="630"/>
                    </a:lnTo>
                    <a:lnTo>
                      <a:pt x="828" y="642"/>
                    </a:lnTo>
                    <a:lnTo>
                      <a:pt x="828" y="654"/>
                    </a:lnTo>
                    <a:lnTo>
                      <a:pt x="840" y="654"/>
                    </a:lnTo>
                    <a:lnTo>
                      <a:pt x="852" y="642"/>
                    </a:lnTo>
                    <a:lnTo>
                      <a:pt x="870" y="666"/>
                    </a:lnTo>
                    <a:lnTo>
                      <a:pt x="882" y="660"/>
                    </a:lnTo>
                    <a:lnTo>
                      <a:pt x="894" y="660"/>
                    </a:lnTo>
                    <a:lnTo>
                      <a:pt x="900" y="666"/>
                    </a:lnTo>
                    <a:lnTo>
                      <a:pt x="906" y="666"/>
                    </a:lnTo>
                    <a:lnTo>
                      <a:pt x="900" y="666"/>
                    </a:lnTo>
                    <a:lnTo>
                      <a:pt x="900" y="642"/>
                    </a:lnTo>
                    <a:lnTo>
                      <a:pt x="906" y="636"/>
                    </a:lnTo>
                    <a:lnTo>
                      <a:pt x="912" y="624"/>
                    </a:lnTo>
                    <a:lnTo>
                      <a:pt x="924" y="618"/>
                    </a:lnTo>
                    <a:lnTo>
                      <a:pt x="930" y="606"/>
                    </a:lnTo>
                    <a:lnTo>
                      <a:pt x="930" y="588"/>
                    </a:lnTo>
                    <a:lnTo>
                      <a:pt x="918" y="576"/>
                    </a:lnTo>
                    <a:lnTo>
                      <a:pt x="906" y="570"/>
                    </a:lnTo>
                    <a:lnTo>
                      <a:pt x="900" y="564"/>
                    </a:lnTo>
                    <a:lnTo>
                      <a:pt x="900" y="546"/>
                    </a:lnTo>
                    <a:lnTo>
                      <a:pt x="906" y="540"/>
                    </a:lnTo>
                    <a:lnTo>
                      <a:pt x="906" y="534"/>
                    </a:lnTo>
                    <a:lnTo>
                      <a:pt x="894" y="522"/>
                    </a:lnTo>
                    <a:lnTo>
                      <a:pt x="882" y="522"/>
                    </a:lnTo>
                    <a:lnTo>
                      <a:pt x="876" y="516"/>
                    </a:lnTo>
                    <a:lnTo>
                      <a:pt x="870" y="516"/>
                    </a:lnTo>
                    <a:lnTo>
                      <a:pt x="858" y="504"/>
                    </a:lnTo>
                    <a:lnTo>
                      <a:pt x="840" y="504"/>
                    </a:lnTo>
                    <a:lnTo>
                      <a:pt x="840" y="486"/>
                    </a:lnTo>
                    <a:lnTo>
                      <a:pt x="846" y="480"/>
                    </a:lnTo>
                    <a:lnTo>
                      <a:pt x="894" y="480"/>
                    </a:lnTo>
                    <a:lnTo>
                      <a:pt x="918" y="468"/>
                    </a:lnTo>
                    <a:lnTo>
                      <a:pt x="918" y="456"/>
                    </a:lnTo>
                    <a:lnTo>
                      <a:pt x="912" y="456"/>
                    </a:lnTo>
                    <a:lnTo>
                      <a:pt x="930" y="444"/>
                    </a:lnTo>
                    <a:lnTo>
                      <a:pt x="906" y="420"/>
                    </a:lnTo>
                    <a:lnTo>
                      <a:pt x="948" y="420"/>
                    </a:lnTo>
                    <a:lnTo>
                      <a:pt x="948" y="414"/>
                    </a:lnTo>
                    <a:lnTo>
                      <a:pt x="936" y="402"/>
                    </a:lnTo>
                    <a:lnTo>
                      <a:pt x="936" y="390"/>
                    </a:lnTo>
                    <a:lnTo>
                      <a:pt x="942" y="384"/>
                    </a:lnTo>
                    <a:lnTo>
                      <a:pt x="942" y="372"/>
                    </a:lnTo>
                    <a:lnTo>
                      <a:pt x="954" y="372"/>
                    </a:lnTo>
                    <a:lnTo>
                      <a:pt x="972" y="390"/>
                    </a:lnTo>
                    <a:lnTo>
                      <a:pt x="978" y="390"/>
                    </a:lnTo>
                    <a:lnTo>
                      <a:pt x="984" y="378"/>
                    </a:lnTo>
                    <a:lnTo>
                      <a:pt x="996" y="372"/>
                    </a:lnTo>
                    <a:lnTo>
                      <a:pt x="1002" y="360"/>
                    </a:lnTo>
                    <a:lnTo>
                      <a:pt x="1020" y="360"/>
                    </a:lnTo>
                    <a:lnTo>
                      <a:pt x="1032" y="366"/>
                    </a:lnTo>
                    <a:lnTo>
                      <a:pt x="1038" y="372"/>
                    </a:lnTo>
                    <a:lnTo>
                      <a:pt x="1014" y="408"/>
                    </a:lnTo>
                    <a:lnTo>
                      <a:pt x="1026" y="408"/>
                    </a:lnTo>
                    <a:lnTo>
                      <a:pt x="1032" y="414"/>
                    </a:lnTo>
                    <a:lnTo>
                      <a:pt x="1044" y="414"/>
                    </a:lnTo>
                    <a:lnTo>
                      <a:pt x="1050" y="420"/>
                    </a:lnTo>
                    <a:lnTo>
                      <a:pt x="1056" y="420"/>
                    </a:lnTo>
                    <a:lnTo>
                      <a:pt x="1068" y="414"/>
                    </a:lnTo>
                    <a:lnTo>
                      <a:pt x="1086" y="414"/>
                    </a:lnTo>
                    <a:lnTo>
                      <a:pt x="1092" y="420"/>
                    </a:lnTo>
                    <a:lnTo>
                      <a:pt x="1098" y="420"/>
                    </a:lnTo>
                    <a:lnTo>
                      <a:pt x="1104" y="426"/>
                    </a:lnTo>
                    <a:lnTo>
                      <a:pt x="1110" y="426"/>
                    </a:lnTo>
                    <a:lnTo>
                      <a:pt x="1128" y="408"/>
                    </a:lnTo>
                    <a:lnTo>
                      <a:pt x="1146" y="402"/>
                    </a:lnTo>
                    <a:lnTo>
                      <a:pt x="1146" y="396"/>
                    </a:lnTo>
                    <a:lnTo>
                      <a:pt x="1158" y="396"/>
                    </a:lnTo>
                    <a:lnTo>
                      <a:pt x="1170" y="390"/>
                    </a:lnTo>
                    <a:lnTo>
                      <a:pt x="1182" y="378"/>
                    </a:lnTo>
                    <a:lnTo>
                      <a:pt x="1182" y="366"/>
                    </a:lnTo>
                    <a:lnTo>
                      <a:pt x="1170" y="366"/>
                    </a:lnTo>
                    <a:lnTo>
                      <a:pt x="1158" y="372"/>
                    </a:lnTo>
                    <a:lnTo>
                      <a:pt x="1152" y="372"/>
                    </a:lnTo>
                    <a:close/>
                  </a:path>
                </a:pathLst>
              </a:custGeom>
              <a:solidFill>
                <a:srgbClr val="9D90A0">
                  <a:lumMod val="40000"/>
                  <a:lumOff val="60000"/>
                </a:srgbClr>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60" name="United Kingdom" descr="© INSCALE GmbH, 05.05.2010&#10;http://www.presentationload.com/">
                <a:extLst>
                  <a:ext uri="{FF2B5EF4-FFF2-40B4-BE49-F238E27FC236}">
                    <a16:creationId xmlns:a16="http://schemas.microsoft.com/office/drawing/2014/main" id="{A19518A1-D4FB-435A-AD1C-5F69ACEA8B27}"/>
                  </a:ext>
                </a:extLst>
              </p:cNvPr>
              <p:cNvSpPr>
                <a:spLocks noEditPoints="1"/>
              </p:cNvSpPr>
              <p:nvPr/>
            </p:nvSpPr>
            <p:spPr bwMode="gray">
              <a:xfrm>
                <a:off x="4068071" y="2429745"/>
                <a:ext cx="229307" cy="362134"/>
              </a:xfrm>
              <a:custGeom>
                <a:avLst/>
                <a:gdLst>
                  <a:gd name="T0" fmla="*/ 2147483647 w 576"/>
                  <a:gd name="T1" fmla="*/ 2147483647 h 822"/>
                  <a:gd name="T2" fmla="*/ 2147483647 w 576"/>
                  <a:gd name="T3" fmla="*/ 2147483647 h 822"/>
                  <a:gd name="T4" fmla="*/ 2147483647 w 576"/>
                  <a:gd name="T5" fmla="*/ 2147483647 h 822"/>
                  <a:gd name="T6" fmla="*/ 2147483647 w 576"/>
                  <a:gd name="T7" fmla="*/ 2147483647 h 822"/>
                  <a:gd name="T8" fmla="*/ 2147483647 w 576"/>
                  <a:gd name="T9" fmla="*/ 2147483647 h 822"/>
                  <a:gd name="T10" fmla="*/ 2147483647 w 576"/>
                  <a:gd name="T11" fmla="*/ 2147483647 h 822"/>
                  <a:gd name="T12" fmla="*/ 2147483647 w 576"/>
                  <a:gd name="T13" fmla="*/ 2147483647 h 822"/>
                  <a:gd name="T14" fmla="*/ 2147483647 w 576"/>
                  <a:gd name="T15" fmla="*/ 0 h 822"/>
                  <a:gd name="T16" fmla="*/ 2147483647 w 576"/>
                  <a:gd name="T17" fmla="*/ 0 h 822"/>
                  <a:gd name="T18" fmla="*/ 2147483647 w 576"/>
                  <a:gd name="T19" fmla="*/ 2147483647 h 822"/>
                  <a:gd name="T20" fmla="*/ 2147483647 w 576"/>
                  <a:gd name="T21" fmla="*/ 2147483647 h 822"/>
                  <a:gd name="T22" fmla="*/ 2147483647 w 576"/>
                  <a:gd name="T23" fmla="*/ 2147483647 h 822"/>
                  <a:gd name="T24" fmla="*/ 2147483647 w 576"/>
                  <a:gd name="T25" fmla="*/ 2147483647 h 822"/>
                  <a:gd name="T26" fmla="*/ 2147483647 w 576"/>
                  <a:gd name="T27" fmla="*/ 2147483647 h 822"/>
                  <a:gd name="T28" fmla="*/ 2147483647 w 576"/>
                  <a:gd name="T29" fmla="*/ 2147483647 h 822"/>
                  <a:gd name="T30" fmla="*/ 2147483647 w 576"/>
                  <a:gd name="T31" fmla="*/ 2147483647 h 822"/>
                  <a:gd name="T32" fmla="*/ 2147483647 w 576"/>
                  <a:gd name="T33" fmla="*/ 2147483647 h 822"/>
                  <a:gd name="T34" fmla="*/ 2147483647 w 576"/>
                  <a:gd name="T35" fmla="*/ 2147483647 h 822"/>
                  <a:gd name="T36" fmla="*/ 2147483647 w 576"/>
                  <a:gd name="T37" fmla="*/ 2147483647 h 822"/>
                  <a:gd name="T38" fmla="*/ 2147483647 w 576"/>
                  <a:gd name="T39" fmla="*/ 2147483647 h 822"/>
                  <a:gd name="T40" fmla="*/ 2147483647 w 576"/>
                  <a:gd name="T41" fmla="*/ 2147483647 h 822"/>
                  <a:gd name="T42" fmla="*/ 2147483647 w 576"/>
                  <a:gd name="T43" fmla="*/ 2147483647 h 822"/>
                  <a:gd name="T44" fmla="*/ 2147483647 w 576"/>
                  <a:gd name="T45" fmla="*/ 2147483647 h 822"/>
                  <a:gd name="T46" fmla="*/ 2147483647 w 576"/>
                  <a:gd name="T47" fmla="*/ 2147483647 h 822"/>
                  <a:gd name="T48" fmla="*/ 2147483647 w 576"/>
                  <a:gd name="T49" fmla="*/ 2147483647 h 822"/>
                  <a:gd name="T50" fmla="*/ 2147483647 w 576"/>
                  <a:gd name="T51" fmla="*/ 2147483647 h 822"/>
                  <a:gd name="T52" fmla="*/ 2147483647 w 576"/>
                  <a:gd name="T53" fmla="*/ 2147483647 h 822"/>
                  <a:gd name="T54" fmla="*/ 2147483647 w 576"/>
                  <a:gd name="T55" fmla="*/ 2147483647 h 822"/>
                  <a:gd name="T56" fmla="*/ 2147483647 w 576"/>
                  <a:gd name="T57" fmla="*/ 2147483647 h 822"/>
                  <a:gd name="T58" fmla="*/ 2147483647 w 576"/>
                  <a:gd name="T59" fmla="*/ 2147483647 h 822"/>
                  <a:gd name="T60" fmla="*/ 2147483647 w 576"/>
                  <a:gd name="T61" fmla="*/ 2147483647 h 822"/>
                  <a:gd name="T62" fmla="*/ 2147483647 w 576"/>
                  <a:gd name="T63" fmla="*/ 2147483647 h 822"/>
                  <a:gd name="T64" fmla="*/ 2147483647 w 576"/>
                  <a:gd name="T65" fmla="*/ 2147483647 h 822"/>
                  <a:gd name="T66" fmla="*/ 2147483647 w 576"/>
                  <a:gd name="T67" fmla="*/ 2147483647 h 822"/>
                  <a:gd name="T68" fmla="*/ 2147483647 w 576"/>
                  <a:gd name="T69" fmla="*/ 2147483647 h 822"/>
                  <a:gd name="T70" fmla="*/ 2147483647 w 576"/>
                  <a:gd name="T71" fmla="*/ 2147483647 h 822"/>
                  <a:gd name="T72" fmla="*/ 2147483647 w 576"/>
                  <a:gd name="T73" fmla="*/ 2147483647 h 822"/>
                  <a:gd name="T74" fmla="*/ 2147483647 w 576"/>
                  <a:gd name="T75" fmla="*/ 2147483647 h 822"/>
                  <a:gd name="T76" fmla="*/ 2147483647 w 576"/>
                  <a:gd name="T77" fmla="*/ 2147483647 h 822"/>
                  <a:gd name="T78" fmla="*/ 2147483647 w 576"/>
                  <a:gd name="T79" fmla="*/ 2147483647 h 822"/>
                  <a:gd name="T80" fmla="*/ 2147483647 w 576"/>
                  <a:gd name="T81" fmla="*/ 2147483647 h 822"/>
                  <a:gd name="T82" fmla="*/ 2147483647 w 576"/>
                  <a:gd name="T83" fmla="*/ 2147483647 h 822"/>
                  <a:gd name="T84" fmla="*/ 2147483647 w 576"/>
                  <a:gd name="T85" fmla="*/ 2147483647 h 822"/>
                  <a:gd name="T86" fmla="*/ 2147483647 w 576"/>
                  <a:gd name="T87" fmla="*/ 2147483647 h 822"/>
                  <a:gd name="T88" fmla="*/ 2147483647 w 576"/>
                  <a:gd name="T89" fmla="*/ 2147483647 h 822"/>
                  <a:gd name="T90" fmla="*/ 2147483647 w 576"/>
                  <a:gd name="T91" fmla="*/ 2147483647 h 822"/>
                  <a:gd name="T92" fmla="*/ 2147483647 w 576"/>
                  <a:gd name="T93" fmla="*/ 2147483647 h 822"/>
                  <a:gd name="T94" fmla="*/ 2147483647 w 576"/>
                  <a:gd name="T95" fmla="*/ 2147483647 h 822"/>
                  <a:gd name="T96" fmla="*/ 2147483647 w 576"/>
                  <a:gd name="T97" fmla="*/ 2147483647 h 822"/>
                  <a:gd name="T98" fmla="*/ 2147483647 w 576"/>
                  <a:gd name="T99" fmla="*/ 2147483647 h 822"/>
                  <a:gd name="T100" fmla="*/ 2147483647 w 576"/>
                  <a:gd name="T101" fmla="*/ 2147483647 h 822"/>
                  <a:gd name="T102" fmla="*/ 2147483647 w 576"/>
                  <a:gd name="T103" fmla="*/ 2147483647 h 822"/>
                  <a:gd name="T104" fmla="*/ 2147483647 w 576"/>
                  <a:gd name="T105" fmla="*/ 2147483647 h 822"/>
                  <a:gd name="T106" fmla="*/ 2147483647 w 576"/>
                  <a:gd name="T107" fmla="*/ 2147483647 h 822"/>
                  <a:gd name="T108" fmla="*/ 2147483647 w 576"/>
                  <a:gd name="T109" fmla="*/ 2147483647 h 822"/>
                  <a:gd name="T110" fmla="*/ 2147483647 w 576"/>
                  <a:gd name="T111" fmla="*/ 2147483647 h 822"/>
                  <a:gd name="T112" fmla="*/ 2147483647 w 576"/>
                  <a:gd name="T113" fmla="*/ 2147483647 h 822"/>
                  <a:gd name="T114" fmla="*/ 2147483647 w 576"/>
                  <a:gd name="T115" fmla="*/ 2147483647 h 822"/>
                  <a:gd name="T116" fmla="*/ 2147483647 w 576"/>
                  <a:gd name="T117" fmla="*/ 2147483647 h 822"/>
                  <a:gd name="T118" fmla="*/ 2147483647 w 576"/>
                  <a:gd name="T119" fmla="*/ 2147483647 h 822"/>
                  <a:gd name="T120" fmla="*/ 2147483647 w 576"/>
                  <a:gd name="T121" fmla="*/ 2147483647 h 822"/>
                  <a:gd name="T122" fmla="*/ 2147483647 w 576"/>
                  <a:gd name="T123" fmla="*/ 2147483647 h 82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76"/>
                  <a:gd name="T187" fmla="*/ 0 h 822"/>
                  <a:gd name="T188" fmla="*/ 576 w 576"/>
                  <a:gd name="T189" fmla="*/ 822 h 82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76" h="822">
                    <a:moveTo>
                      <a:pt x="162" y="378"/>
                    </a:moveTo>
                    <a:lnTo>
                      <a:pt x="156" y="378"/>
                    </a:lnTo>
                    <a:lnTo>
                      <a:pt x="150" y="384"/>
                    </a:lnTo>
                    <a:lnTo>
                      <a:pt x="150" y="396"/>
                    </a:lnTo>
                    <a:lnTo>
                      <a:pt x="144" y="414"/>
                    </a:lnTo>
                    <a:lnTo>
                      <a:pt x="156" y="402"/>
                    </a:lnTo>
                    <a:lnTo>
                      <a:pt x="162" y="390"/>
                    </a:lnTo>
                    <a:lnTo>
                      <a:pt x="162" y="378"/>
                    </a:lnTo>
                    <a:close/>
                    <a:moveTo>
                      <a:pt x="132" y="312"/>
                    </a:moveTo>
                    <a:lnTo>
                      <a:pt x="126" y="312"/>
                    </a:lnTo>
                    <a:lnTo>
                      <a:pt x="126" y="336"/>
                    </a:lnTo>
                    <a:lnTo>
                      <a:pt x="132" y="336"/>
                    </a:lnTo>
                    <a:lnTo>
                      <a:pt x="138" y="330"/>
                    </a:lnTo>
                    <a:lnTo>
                      <a:pt x="150" y="330"/>
                    </a:lnTo>
                    <a:lnTo>
                      <a:pt x="144" y="318"/>
                    </a:lnTo>
                    <a:lnTo>
                      <a:pt x="138" y="312"/>
                    </a:lnTo>
                    <a:lnTo>
                      <a:pt x="132" y="312"/>
                    </a:lnTo>
                    <a:close/>
                    <a:moveTo>
                      <a:pt x="114" y="390"/>
                    </a:moveTo>
                    <a:lnTo>
                      <a:pt x="126" y="390"/>
                    </a:lnTo>
                    <a:lnTo>
                      <a:pt x="138" y="384"/>
                    </a:lnTo>
                    <a:lnTo>
                      <a:pt x="138" y="372"/>
                    </a:lnTo>
                    <a:lnTo>
                      <a:pt x="132" y="366"/>
                    </a:lnTo>
                    <a:lnTo>
                      <a:pt x="120" y="366"/>
                    </a:lnTo>
                    <a:lnTo>
                      <a:pt x="114" y="372"/>
                    </a:lnTo>
                    <a:lnTo>
                      <a:pt x="108" y="384"/>
                    </a:lnTo>
                    <a:lnTo>
                      <a:pt x="108" y="390"/>
                    </a:lnTo>
                    <a:lnTo>
                      <a:pt x="114" y="390"/>
                    </a:lnTo>
                    <a:close/>
                    <a:moveTo>
                      <a:pt x="330" y="120"/>
                    </a:moveTo>
                    <a:lnTo>
                      <a:pt x="324" y="120"/>
                    </a:lnTo>
                    <a:lnTo>
                      <a:pt x="318" y="126"/>
                    </a:lnTo>
                    <a:lnTo>
                      <a:pt x="318" y="138"/>
                    </a:lnTo>
                    <a:lnTo>
                      <a:pt x="330" y="138"/>
                    </a:lnTo>
                    <a:lnTo>
                      <a:pt x="336" y="126"/>
                    </a:lnTo>
                    <a:lnTo>
                      <a:pt x="330" y="120"/>
                    </a:lnTo>
                    <a:close/>
                    <a:moveTo>
                      <a:pt x="138" y="258"/>
                    </a:moveTo>
                    <a:lnTo>
                      <a:pt x="138" y="234"/>
                    </a:lnTo>
                    <a:lnTo>
                      <a:pt x="126" y="234"/>
                    </a:lnTo>
                    <a:lnTo>
                      <a:pt x="120" y="240"/>
                    </a:lnTo>
                    <a:lnTo>
                      <a:pt x="120" y="246"/>
                    </a:lnTo>
                    <a:lnTo>
                      <a:pt x="126" y="252"/>
                    </a:lnTo>
                    <a:lnTo>
                      <a:pt x="108" y="252"/>
                    </a:lnTo>
                    <a:lnTo>
                      <a:pt x="108" y="258"/>
                    </a:lnTo>
                    <a:lnTo>
                      <a:pt x="114" y="264"/>
                    </a:lnTo>
                    <a:lnTo>
                      <a:pt x="120" y="264"/>
                    </a:lnTo>
                    <a:lnTo>
                      <a:pt x="126" y="270"/>
                    </a:lnTo>
                    <a:lnTo>
                      <a:pt x="150" y="270"/>
                    </a:lnTo>
                    <a:lnTo>
                      <a:pt x="138" y="258"/>
                    </a:lnTo>
                    <a:close/>
                    <a:moveTo>
                      <a:pt x="474" y="0"/>
                    </a:moveTo>
                    <a:lnTo>
                      <a:pt x="468" y="0"/>
                    </a:lnTo>
                    <a:lnTo>
                      <a:pt x="456" y="12"/>
                    </a:lnTo>
                    <a:lnTo>
                      <a:pt x="474" y="12"/>
                    </a:lnTo>
                    <a:lnTo>
                      <a:pt x="474" y="6"/>
                    </a:lnTo>
                    <a:lnTo>
                      <a:pt x="480" y="0"/>
                    </a:lnTo>
                    <a:lnTo>
                      <a:pt x="474" y="0"/>
                    </a:lnTo>
                    <a:close/>
                    <a:moveTo>
                      <a:pt x="432" y="48"/>
                    </a:moveTo>
                    <a:lnTo>
                      <a:pt x="432" y="66"/>
                    </a:lnTo>
                    <a:lnTo>
                      <a:pt x="438" y="66"/>
                    </a:lnTo>
                    <a:lnTo>
                      <a:pt x="444" y="60"/>
                    </a:lnTo>
                    <a:lnTo>
                      <a:pt x="450" y="48"/>
                    </a:lnTo>
                    <a:lnTo>
                      <a:pt x="450" y="24"/>
                    </a:lnTo>
                    <a:lnTo>
                      <a:pt x="438" y="12"/>
                    </a:lnTo>
                    <a:lnTo>
                      <a:pt x="432" y="24"/>
                    </a:lnTo>
                    <a:lnTo>
                      <a:pt x="426" y="30"/>
                    </a:lnTo>
                    <a:lnTo>
                      <a:pt x="420" y="30"/>
                    </a:lnTo>
                    <a:lnTo>
                      <a:pt x="420" y="42"/>
                    </a:lnTo>
                    <a:lnTo>
                      <a:pt x="426" y="42"/>
                    </a:lnTo>
                    <a:lnTo>
                      <a:pt x="432" y="48"/>
                    </a:lnTo>
                    <a:close/>
                    <a:moveTo>
                      <a:pt x="342" y="138"/>
                    </a:moveTo>
                    <a:lnTo>
                      <a:pt x="342" y="150"/>
                    </a:lnTo>
                    <a:lnTo>
                      <a:pt x="354" y="138"/>
                    </a:lnTo>
                    <a:lnTo>
                      <a:pt x="342" y="138"/>
                    </a:lnTo>
                    <a:close/>
                    <a:moveTo>
                      <a:pt x="192" y="402"/>
                    </a:moveTo>
                    <a:lnTo>
                      <a:pt x="192" y="390"/>
                    </a:lnTo>
                    <a:lnTo>
                      <a:pt x="186" y="384"/>
                    </a:lnTo>
                    <a:lnTo>
                      <a:pt x="186" y="378"/>
                    </a:lnTo>
                    <a:lnTo>
                      <a:pt x="174" y="390"/>
                    </a:lnTo>
                    <a:lnTo>
                      <a:pt x="174" y="396"/>
                    </a:lnTo>
                    <a:lnTo>
                      <a:pt x="180" y="402"/>
                    </a:lnTo>
                    <a:lnTo>
                      <a:pt x="192" y="402"/>
                    </a:lnTo>
                    <a:close/>
                    <a:moveTo>
                      <a:pt x="504" y="588"/>
                    </a:moveTo>
                    <a:lnTo>
                      <a:pt x="498" y="594"/>
                    </a:lnTo>
                    <a:lnTo>
                      <a:pt x="498" y="600"/>
                    </a:lnTo>
                    <a:lnTo>
                      <a:pt x="480" y="600"/>
                    </a:lnTo>
                    <a:lnTo>
                      <a:pt x="480" y="588"/>
                    </a:lnTo>
                    <a:lnTo>
                      <a:pt x="486" y="576"/>
                    </a:lnTo>
                    <a:lnTo>
                      <a:pt x="498" y="564"/>
                    </a:lnTo>
                    <a:lnTo>
                      <a:pt x="492" y="558"/>
                    </a:lnTo>
                    <a:lnTo>
                      <a:pt x="456" y="540"/>
                    </a:lnTo>
                    <a:lnTo>
                      <a:pt x="450" y="540"/>
                    </a:lnTo>
                    <a:lnTo>
                      <a:pt x="444" y="534"/>
                    </a:lnTo>
                    <a:lnTo>
                      <a:pt x="450" y="534"/>
                    </a:lnTo>
                    <a:lnTo>
                      <a:pt x="456" y="528"/>
                    </a:lnTo>
                    <a:lnTo>
                      <a:pt x="480" y="528"/>
                    </a:lnTo>
                    <a:lnTo>
                      <a:pt x="468" y="516"/>
                    </a:lnTo>
                    <a:lnTo>
                      <a:pt x="468" y="510"/>
                    </a:lnTo>
                    <a:lnTo>
                      <a:pt x="456" y="498"/>
                    </a:lnTo>
                    <a:lnTo>
                      <a:pt x="450" y="486"/>
                    </a:lnTo>
                    <a:lnTo>
                      <a:pt x="432" y="468"/>
                    </a:lnTo>
                    <a:lnTo>
                      <a:pt x="420" y="468"/>
                    </a:lnTo>
                    <a:lnTo>
                      <a:pt x="414" y="456"/>
                    </a:lnTo>
                    <a:lnTo>
                      <a:pt x="402" y="450"/>
                    </a:lnTo>
                    <a:lnTo>
                      <a:pt x="390" y="438"/>
                    </a:lnTo>
                    <a:lnTo>
                      <a:pt x="390" y="414"/>
                    </a:lnTo>
                    <a:lnTo>
                      <a:pt x="396" y="402"/>
                    </a:lnTo>
                    <a:lnTo>
                      <a:pt x="396" y="390"/>
                    </a:lnTo>
                    <a:lnTo>
                      <a:pt x="384" y="390"/>
                    </a:lnTo>
                    <a:lnTo>
                      <a:pt x="378" y="384"/>
                    </a:lnTo>
                    <a:lnTo>
                      <a:pt x="372" y="372"/>
                    </a:lnTo>
                    <a:lnTo>
                      <a:pt x="360" y="360"/>
                    </a:lnTo>
                    <a:lnTo>
                      <a:pt x="342" y="354"/>
                    </a:lnTo>
                    <a:lnTo>
                      <a:pt x="324" y="354"/>
                    </a:lnTo>
                    <a:lnTo>
                      <a:pt x="306" y="360"/>
                    </a:lnTo>
                    <a:lnTo>
                      <a:pt x="294" y="366"/>
                    </a:lnTo>
                    <a:lnTo>
                      <a:pt x="288" y="366"/>
                    </a:lnTo>
                    <a:lnTo>
                      <a:pt x="270" y="348"/>
                    </a:lnTo>
                    <a:lnTo>
                      <a:pt x="282" y="348"/>
                    </a:lnTo>
                    <a:lnTo>
                      <a:pt x="294" y="354"/>
                    </a:lnTo>
                    <a:lnTo>
                      <a:pt x="306" y="354"/>
                    </a:lnTo>
                    <a:lnTo>
                      <a:pt x="330" y="342"/>
                    </a:lnTo>
                    <a:lnTo>
                      <a:pt x="336" y="336"/>
                    </a:lnTo>
                    <a:lnTo>
                      <a:pt x="330" y="336"/>
                    </a:lnTo>
                    <a:lnTo>
                      <a:pt x="324" y="330"/>
                    </a:lnTo>
                    <a:lnTo>
                      <a:pt x="306" y="330"/>
                    </a:lnTo>
                    <a:lnTo>
                      <a:pt x="330" y="324"/>
                    </a:lnTo>
                    <a:lnTo>
                      <a:pt x="336" y="318"/>
                    </a:lnTo>
                    <a:lnTo>
                      <a:pt x="348" y="312"/>
                    </a:lnTo>
                    <a:lnTo>
                      <a:pt x="360" y="300"/>
                    </a:lnTo>
                    <a:lnTo>
                      <a:pt x="360" y="288"/>
                    </a:lnTo>
                    <a:lnTo>
                      <a:pt x="366" y="276"/>
                    </a:lnTo>
                    <a:lnTo>
                      <a:pt x="372" y="270"/>
                    </a:lnTo>
                    <a:lnTo>
                      <a:pt x="378" y="258"/>
                    </a:lnTo>
                    <a:lnTo>
                      <a:pt x="384" y="252"/>
                    </a:lnTo>
                    <a:lnTo>
                      <a:pt x="396" y="246"/>
                    </a:lnTo>
                    <a:lnTo>
                      <a:pt x="402" y="246"/>
                    </a:lnTo>
                    <a:lnTo>
                      <a:pt x="402" y="240"/>
                    </a:lnTo>
                    <a:lnTo>
                      <a:pt x="396" y="234"/>
                    </a:lnTo>
                    <a:lnTo>
                      <a:pt x="318" y="234"/>
                    </a:lnTo>
                    <a:lnTo>
                      <a:pt x="318" y="228"/>
                    </a:lnTo>
                    <a:lnTo>
                      <a:pt x="288" y="228"/>
                    </a:lnTo>
                    <a:lnTo>
                      <a:pt x="276" y="234"/>
                    </a:lnTo>
                    <a:lnTo>
                      <a:pt x="264" y="234"/>
                    </a:lnTo>
                    <a:lnTo>
                      <a:pt x="258" y="240"/>
                    </a:lnTo>
                    <a:lnTo>
                      <a:pt x="252" y="240"/>
                    </a:lnTo>
                    <a:lnTo>
                      <a:pt x="264" y="228"/>
                    </a:lnTo>
                    <a:lnTo>
                      <a:pt x="252" y="216"/>
                    </a:lnTo>
                    <a:lnTo>
                      <a:pt x="270" y="210"/>
                    </a:lnTo>
                    <a:lnTo>
                      <a:pt x="300" y="192"/>
                    </a:lnTo>
                    <a:lnTo>
                      <a:pt x="312" y="186"/>
                    </a:lnTo>
                    <a:lnTo>
                      <a:pt x="324" y="162"/>
                    </a:lnTo>
                    <a:lnTo>
                      <a:pt x="318" y="156"/>
                    </a:lnTo>
                    <a:lnTo>
                      <a:pt x="288" y="156"/>
                    </a:lnTo>
                    <a:lnTo>
                      <a:pt x="276" y="162"/>
                    </a:lnTo>
                    <a:lnTo>
                      <a:pt x="258" y="168"/>
                    </a:lnTo>
                    <a:lnTo>
                      <a:pt x="240" y="168"/>
                    </a:lnTo>
                    <a:lnTo>
                      <a:pt x="228" y="162"/>
                    </a:lnTo>
                    <a:lnTo>
                      <a:pt x="216" y="162"/>
                    </a:lnTo>
                    <a:lnTo>
                      <a:pt x="210" y="168"/>
                    </a:lnTo>
                    <a:lnTo>
                      <a:pt x="210" y="174"/>
                    </a:lnTo>
                    <a:lnTo>
                      <a:pt x="216" y="180"/>
                    </a:lnTo>
                    <a:lnTo>
                      <a:pt x="204" y="180"/>
                    </a:lnTo>
                    <a:lnTo>
                      <a:pt x="192" y="192"/>
                    </a:lnTo>
                    <a:lnTo>
                      <a:pt x="192" y="210"/>
                    </a:lnTo>
                    <a:lnTo>
                      <a:pt x="198" y="216"/>
                    </a:lnTo>
                    <a:lnTo>
                      <a:pt x="156" y="222"/>
                    </a:lnTo>
                    <a:lnTo>
                      <a:pt x="156" y="234"/>
                    </a:lnTo>
                    <a:lnTo>
                      <a:pt x="168" y="240"/>
                    </a:lnTo>
                    <a:lnTo>
                      <a:pt x="180" y="264"/>
                    </a:lnTo>
                    <a:lnTo>
                      <a:pt x="162" y="282"/>
                    </a:lnTo>
                    <a:lnTo>
                      <a:pt x="162" y="294"/>
                    </a:lnTo>
                    <a:lnTo>
                      <a:pt x="144" y="300"/>
                    </a:lnTo>
                    <a:lnTo>
                      <a:pt x="156" y="312"/>
                    </a:lnTo>
                    <a:lnTo>
                      <a:pt x="168" y="312"/>
                    </a:lnTo>
                    <a:lnTo>
                      <a:pt x="180" y="306"/>
                    </a:lnTo>
                    <a:lnTo>
                      <a:pt x="186" y="300"/>
                    </a:lnTo>
                    <a:lnTo>
                      <a:pt x="186" y="318"/>
                    </a:lnTo>
                    <a:lnTo>
                      <a:pt x="180" y="318"/>
                    </a:lnTo>
                    <a:lnTo>
                      <a:pt x="168" y="330"/>
                    </a:lnTo>
                    <a:lnTo>
                      <a:pt x="156" y="336"/>
                    </a:lnTo>
                    <a:lnTo>
                      <a:pt x="156" y="360"/>
                    </a:lnTo>
                    <a:lnTo>
                      <a:pt x="162" y="372"/>
                    </a:lnTo>
                    <a:lnTo>
                      <a:pt x="168" y="366"/>
                    </a:lnTo>
                    <a:lnTo>
                      <a:pt x="198" y="366"/>
                    </a:lnTo>
                    <a:lnTo>
                      <a:pt x="210" y="360"/>
                    </a:lnTo>
                    <a:lnTo>
                      <a:pt x="216" y="354"/>
                    </a:lnTo>
                    <a:lnTo>
                      <a:pt x="198" y="372"/>
                    </a:lnTo>
                    <a:lnTo>
                      <a:pt x="210" y="402"/>
                    </a:lnTo>
                    <a:lnTo>
                      <a:pt x="204" y="408"/>
                    </a:lnTo>
                    <a:lnTo>
                      <a:pt x="198" y="420"/>
                    </a:lnTo>
                    <a:lnTo>
                      <a:pt x="186" y="426"/>
                    </a:lnTo>
                    <a:lnTo>
                      <a:pt x="180" y="438"/>
                    </a:lnTo>
                    <a:lnTo>
                      <a:pt x="180" y="450"/>
                    </a:lnTo>
                    <a:lnTo>
                      <a:pt x="186" y="456"/>
                    </a:lnTo>
                    <a:lnTo>
                      <a:pt x="204" y="456"/>
                    </a:lnTo>
                    <a:lnTo>
                      <a:pt x="216" y="450"/>
                    </a:lnTo>
                    <a:lnTo>
                      <a:pt x="240" y="450"/>
                    </a:lnTo>
                    <a:lnTo>
                      <a:pt x="252" y="444"/>
                    </a:lnTo>
                    <a:lnTo>
                      <a:pt x="258" y="438"/>
                    </a:lnTo>
                    <a:lnTo>
                      <a:pt x="270" y="432"/>
                    </a:lnTo>
                    <a:lnTo>
                      <a:pt x="300" y="438"/>
                    </a:lnTo>
                    <a:lnTo>
                      <a:pt x="288" y="444"/>
                    </a:lnTo>
                    <a:lnTo>
                      <a:pt x="264" y="468"/>
                    </a:lnTo>
                    <a:lnTo>
                      <a:pt x="264" y="474"/>
                    </a:lnTo>
                    <a:lnTo>
                      <a:pt x="282" y="492"/>
                    </a:lnTo>
                    <a:lnTo>
                      <a:pt x="294" y="492"/>
                    </a:lnTo>
                    <a:lnTo>
                      <a:pt x="300" y="498"/>
                    </a:lnTo>
                    <a:lnTo>
                      <a:pt x="306" y="498"/>
                    </a:lnTo>
                    <a:lnTo>
                      <a:pt x="312" y="516"/>
                    </a:lnTo>
                    <a:lnTo>
                      <a:pt x="294" y="534"/>
                    </a:lnTo>
                    <a:lnTo>
                      <a:pt x="294" y="564"/>
                    </a:lnTo>
                    <a:lnTo>
                      <a:pt x="222" y="564"/>
                    </a:lnTo>
                    <a:lnTo>
                      <a:pt x="216" y="558"/>
                    </a:lnTo>
                    <a:lnTo>
                      <a:pt x="198" y="558"/>
                    </a:lnTo>
                    <a:lnTo>
                      <a:pt x="192" y="564"/>
                    </a:lnTo>
                    <a:lnTo>
                      <a:pt x="210" y="582"/>
                    </a:lnTo>
                    <a:lnTo>
                      <a:pt x="186" y="600"/>
                    </a:lnTo>
                    <a:lnTo>
                      <a:pt x="228" y="594"/>
                    </a:lnTo>
                    <a:lnTo>
                      <a:pt x="228" y="618"/>
                    </a:lnTo>
                    <a:lnTo>
                      <a:pt x="216" y="642"/>
                    </a:lnTo>
                    <a:lnTo>
                      <a:pt x="210" y="648"/>
                    </a:lnTo>
                    <a:lnTo>
                      <a:pt x="198" y="654"/>
                    </a:lnTo>
                    <a:lnTo>
                      <a:pt x="180" y="660"/>
                    </a:lnTo>
                    <a:lnTo>
                      <a:pt x="168" y="666"/>
                    </a:lnTo>
                    <a:lnTo>
                      <a:pt x="162" y="666"/>
                    </a:lnTo>
                    <a:lnTo>
                      <a:pt x="162" y="690"/>
                    </a:lnTo>
                    <a:lnTo>
                      <a:pt x="168" y="696"/>
                    </a:lnTo>
                    <a:lnTo>
                      <a:pt x="174" y="696"/>
                    </a:lnTo>
                    <a:lnTo>
                      <a:pt x="180" y="690"/>
                    </a:lnTo>
                    <a:lnTo>
                      <a:pt x="192" y="684"/>
                    </a:lnTo>
                    <a:lnTo>
                      <a:pt x="198" y="678"/>
                    </a:lnTo>
                    <a:lnTo>
                      <a:pt x="204" y="684"/>
                    </a:lnTo>
                    <a:lnTo>
                      <a:pt x="204" y="690"/>
                    </a:lnTo>
                    <a:lnTo>
                      <a:pt x="210" y="696"/>
                    </a:lnTo>
                    <a:lnTo>
                      <a:pt x="234" y="696"/>
                    </a:lnTo>
                    <a:lnTo>
                      <a:pt x="240" y="702"/>
                    </a:lnTo>
                    <a:lnTo>
                      <a:pt x="252" y="708"/>
                    </a:lnTo>
                    <a:lnTo>
                      <a:pt x="258" y="708"/>
                    </a:lnTo>
                    <a:lnTo>
                      <a:pt x="276" y="702"/>
                    </a:lnTo>
                    <a:lnTo>
                      <a:pt x="288" y="696"/>
                    </a:lnTo>
                    <a:lnTo>
                      <a:pt x="294" y="690"/>
                    </a:lnTo>
                    <a:lnTo>
                      <a:pt x="318" y="690"/>
                    </a:lnTo>
                    <a:lnTo>
                      <a:pt x="312" y="696"/>
                    </a:lnTo>
                    <a:lnTo>
                      <a:pt x="300" y="702"/>
                    </a:lnTo>
                    <a:lnTo>
                      <a:pt x="294" y="714"/>
                    </a:lnTo>
                    <a:lnTo>
                      <a:pt x="282" y="720"/>
                    </a:lnTo>
                    <a:lnTo>
                      <a:pt x="276" y="726"/>
                    </a:lnTo>
                    <a:lnTo>
                      <a:pt x="210" y="726"/>
                    </a:lnTo>
                    <a:lnTo>
                      <a:pt x="210" y="738"/>
                    </a:lnTo>
                    <a:lnTo>
                      <a:pt x="198" y="738"/>
                    </a:lnTo>
                    <a:lnTo>
                      <a:pt x="186" y="744"/>
                    </a:lnTo>
                    <a:lnTo>
                      <a:pt x="180" y="750"/>
                    </a:lnTo>
                    <a:lnTo>
                      <a:pt x="180" y="768"/>
                    </a:lnTo>
                    <a:lnTo>
                      <a:pt x="174" y="774"/>
                    </a:lnTo>
                    <a:lnTo>
                      <a:pt x="144" y="774"/>
                    </a:lnTo>
                    <a:lnTo>
                      <a:pt x="144" y="780"/>
                    </a:lnTo>
                    <a:lnTo>
                      <a:pt x="138" y="786"/>
                    </a:lnTo>
                    <a:lnTo>
                      <a:pt x="138" y="792"/>
                    </a:lnTo>
                    <a:lnTo>
                      <a:pt x="126" y="804"/>
                    </a:lnTo>
                    <a:lnTo>
                      <a:pt x="114" y="810"/>
                    </a:lnTo>
                    <a:lnTo>
                      <a:pt x="108" y="810"/>
                    </a:lnTo>
                    <a:lnTo>
                      <a:pt x="108" y="816"/>
                    </a:lnTo>
                    <a:lnTo>
                      <a:pt x="114" y="816"/>
                    </a:lnTo>
                    <a:lnTo>
                      <a:pt x="120" y="822"/>
                    </a:lnTo>
                    <a:lnTo>
                      <a:pt x="150" y="822"/>
                    </a:lnTo>
                    <a:lnTo>
                      <a:pt x="156" y="810"/>
                    </a:lnTo>
                    <a:lnTo>
                      <a:pt x="174" y="792"/>
                    </a:lnTo>
                    <a:lnTo>
                      <a:pt x="210" y="792"/>
                    </a:lnTo>
                    <a:lnTo>
                      <a:pt x="216" y="798"/>
                    </a:lnTo>
                    <a:lnTo>
                      <a:pt x="228" y="804"/>
                    </a:lnTo>
                    <a:lnTo>
                      <a:pt x="240" y="804"/>
                    </a:lnTo>
                    <a:lnTo>
                      <a:pt x="246" y="792"/>
                    </a:lnTo>
                    <a:lnTo>
                      <a:pt x="252" y="786"/>
                    </a:lnTo>
                    <a:lnTo>
                      <a:pt x="258" y="774"/>
                    </a:lnTo>
                    <a:lnTo>
                      <a:pt x="270" y="762"/>
                    </a:lnTo>
                    <a:lnTo>
                      <a:pt x="288" y="762"/>
                    </a:lnTo>
                    <a:lnTo>
                      <a:pt x="300" y="774"/>
                    </a:lnTo>
                    <a:lnTo>
                      <a:pt x="330" y="774"/>
                    </a:lnTo>
                    <a:lnTo>
                      <a:pt x="354" y="762"/>
                    </a:lnTo>
                    <a:lnTo>
                      <a:pt x="360" y="762"/>
                    </a:lnTo>
                    <a:lnTo>
                      <a:pt x="366" y="768"/>
                    </a:lnTo>
                    <a:lnTo>
                      <a:pt x="378" y="768"/>
                    </a:lnTo>
                    <a:lnTo>
                      <a:pt x="390" y="774"/>
                    </a:lnTo>
                    <a:lnTo>
                      <a:pt x="396" y="774"/>
                    </a:lnTo>
                    <a:lnTo>
                      <a:pt x="396" y="768"/>
                    </a:lnTo>
                    <a:lnTo>
                      <a:pt x="390" y="762"/>
                    </a:lnTo>
                    <a:lnTo>
                      <a:pt x="390" y="750"/>
                    </a:lnTo>
                    <a:lnTo>
                      <a:pt x="396" y="750"/>
                    </a:lnTo>
                    <a:lnTo>
                      <a:pt x="408" y="756"/>
                    </a:lnTo>
                    <a:lnTo>
                      <a:pt x="414" y="762"/>
                    </a:lnTo>
                    <a:lnTo>
                      <a:pt x="426" y="756"/>
                    </a:lnTo>
                    <a:lnTo>
                      <a:pt x="498" y="756"/>
                    </a:lnTo>
                    <a:lnTo>
                      <a:pt x="522" y="750"/>
                    </a:lnTo>
                    <a:lnTo>
                      <a:pt x="534" y="744"/>
                    </a:lnTo>
                    <a:lnTo>
                      <a:pt x="540" y="732"/>
                    </a:lnTo>
                    <a:lnTo>
                      <a:pt x="546" y="726"/>
                    </a:lnTo>
                    <a:lnTo>
                      <a:pt x="552" y="714"/>
                    </a:lnTo>
                    <a:lnTo>
                      <a:pt x="498" y="708"/>
                    </a:lnTo>
                    <a:lnTo>
                      <a:pt x="522" y="702"/>
                    </a:lnTo>
                    <a:lnTo>
                      <a:pt x="516" y="684"/>
                    </a:lnTo>
                    <a:lnTo>
                      <a:pt x="528" y="672"/>
                    </a:lnTo>
                    <a:lnTo>
                      <a:pt x="540" y="666"/>
                    </a:lnTo>
                    <a:lnTo>
                      <a:pt x="546" y="666"/>
                    </a:lnTo>
                    <a:lnTo>
                      <a:pt x="558" y="660"/>
                    </a:lnTo>
                    <a:lnTo>
                      <a:pt x="564" y="654"/>
                    </a:lnTo>
                    <a:lnTo>
                      <a:pt x="576" y="618"/>
                    </a:lnTo>
                    <a:lnTo>
                      <a:pt x="570" y="606"/>
                    </a:lnTo>
                    <a:lnTo>
                      <a:pt x="564" y="600"/>
                    </a:lnTo>
                    <a:lnTo>
                      <a:pt x="552" y="594"/>
                    </a:lnTo>
                    <a:lnTo>
                      <a:pt x="540" y="594"/>
                    </a:lnTo>
                    <a:lnTo>
                      <a:pt x="528" y="588"/>
                    </a:lnTo>
                    <a:lnTo>
                      <a:pt x="504" y="588"/>
                    </a:lnTo>
                    <a:close/>
                    <a:moveTo>
                      <a:pt x="222" y="486"/>
                    </a:moveTo>
                    <a:lnTo>
                      <a:pt x="216" y="480"/>
                    </a:lnTo>
                    <a:lnTo>
                      <a:pt x="204" y="480"/>
                    </a:lnTo>
                    <a:lnTo>
                      <a:pt x="204" y="486"/>
                    </a:lnTo>
                    <a:lnTo>
                      <a:pt x="198" y="498"/>
                    </a:lnTo>
                    <a:lnTo>
                      <a:pt x="192" y="504"/>
                    </a:lnTo>
                    <a:lnTo>
                      <a:pt x="210" y="504"/>
                    </a:lnTo>
                    <a:lnTo>
                      <a:pt x="222" y="492"/>
                    </a:lnTo>
                    <a:lnTo>
                      <a:pt x="222" y="486"/>
                    </a:lnTo>
                    <a:close/>
                    <a:moveTo>
                      <a:pt x="126" y="504"/>
                    </a:moveTo>
                    <a:lnTo>
                      <a:pt x="132" y="498"/>
                    </a:lnTo>
                    <a:lnTo>
                      <a:pt x="132" y="492"/>
                    </a:lnTo>
                    <a:lnTo>
                      <a:pt x="144" y="492"/>
                    </a:lnTo>
                    <a:lnTo>
                      <a:pt x="150" y="480"/>
                    </a:lnTo>
                    <a:lnTo>
                      <a:pt x="156" y="474"/>
                    </a:lnTo>
                    <a:lnTo>
                      <a:pt x="156" y="462"/>
                    </a:lnTo>
                    <a:lnTo>
                      <a:pt x="138" y="444"/>
                    </a:lnTo>
                    <a:lnTo>
                      <a:pt x="138" y="432"/>
                    </a:lnTo>
                    <a:lnTo>
                      <a:pt x="132" y="438"/>
                    </a:lnTo>
                    <a:lnTo>
                      <a:pt x="126" y="426"/>
                    </a:lnTo>
                    <a:lnTo>
                      <a:pt x="120" y="420"/>
                    </a:lnTo>
                    <a:lnTo>
                      <a:pt x="78" y="420"/>
                    </a:lnTo>
                    <a:lnTo>
                      <a:pt x="72" y="426"/>
                    </a:lnTo>
                    <a:lnTo>
                      <a:pt x="30" y="450"/>
                    </a:lnTo>
                    <a:lnTo>
                      <a:pt x="30" y="462"/>
                    </a:lnTo>
                    <a:lnTo>
                      <a:pt x="24" y="462"/>
                    </a:lnTo>
                    <a:lnTo>
                      <a:pt x="18" y="468"/>
                    </a:lnTo>
                    <a:lnTo>
                      <a:pt x="12" y="468"/>
                    </a:lnTo>
                    <a:lnTo>
                      <a:pt x="0" y="480"/>
                    </a:lnTo>
                    <a:lnTo>
                      <a:pt x="6" y="486"/>
                    </a:lnTo>
                    <a:lnTo>
                      <a:pt x="30" y="498"/>
                    </a:lnTo>
                    <a:lnTo>
                      <a:pt x="42" y="498"/>
                    </a:lnTo>
                    <a:lnTo>
                      <a:pt x="66" y="474"/>
                    </a:lnTo>
                    <a:lnTo>
                      <a:pt x="84" y="498"/>
                    </a:lnTo>
                    <a:lnTo>
                      <a:pt x="120" y="504"/>
                    </a:lnTo>
                    <a:lnTo>
                      <a:pt x="126" y="504"/>
                    </a:lnTo>
                    <a:close/>
                    <a:moveTo>
                      <a:pt x="78" y="228"/>
                    </a:moveTo>
                    <a:lnTo>
                      <a:pt x="72" y="228"/>
                    </a:lnTo>
                    <a:lnTo>
                      <a:pt x="66" y="234"/>
                    </a:lnTo>
                    <a:lnTo>
                      <a:pt x="66" y="240"/>
                    </a:lnTo>
                    <a:lnTo>
                      <a:pt x="84" y="240"/>
                    </a:lnTo>
                    <a:lnTo>
                      <a:pt x="84" y="228"/>
                    </a:lnTo>
                    <a:lnTo>
                      <a:pt x="78" y="228"/>
                    </a:lnTo>
                    <a:close/>
                    <a:moveTo>
                      <a:pt x="108" y="210"/>
                    </a:moveTo>
                    <a:lnTo>
                      <a:pt x="126" y="210"/>
                    </a:lnTo>
                    <a:lnTo>
                      <a:pt x="132" y="204"/>
                    </a:lnTo>
                    <a:lnTo>
                      <a:pt x="132" y="198"/>
                    </a:lnTo>
                    <a:lnTo>
                      <a:pt x="138" y="186"/>
                    </a:lnTo>
                    <a:lnTo>
                      <a:pt x="150" y="174"/>
                    </a:lnTo>
                    <a:lnTo>
                      <a:pt x="150" y="168"/>
                    </a:lnTo>
                    <a:lnTo>
                      <a:pt x="138" y="174"/>
                    </a:lnTo>
                    <a:lnTo>
                      <a:pt x="132" y="174"/>
                    </a:lnTo>
                    <a:lnTo>
                      <a:pt x="114" y="192"/>
                    </a:lnTo>
                    <a:lnTo>
                      <a:pt x="108" y="186"/>
                    </a:lnTo>
                    <a:lnTo>
                      <a:pt x="96" y="186"/>
                    </a:lnTo>
                    <a:lnTo>
                      <a:pt x="90" y="192"/>
                    </a:lnTo>
                    <a:lnTo>
                      <a:pt x="90" y="210"/>
                    </a:lnTo>
                    <a:lnTo>
                      <a:pt x="96" y="216"/>
                    </a:lnTo>
                    <a:lnTo>
                      <a:pt x="96" y="228"/>
                    </a:lnTo>
                    <a:lnTo>
                      <a:pt x="108" y="210"/>
                    </a:lnTo>
                    <a:close/>
                    <a:moveTo>
                      <a:pt x="72" y="252"/>
                    </a:moveTo>
                    <a:lnTo>
                      <a:pt x="60" y="282"/>
                    </a:lnTo>
                    <a:lnTo>
                      <a:pt x="78" y="258"/>
                    </a:lnTo>
                    <a:lnTo>
                      <a:pt x="72" y="252"/>
                    </a:lnTo>
                    <a:close/>
                  </a:path>
                </a:pathLst>
              </a:custGeom>
              <a:solidFill>
                <a:srgbClr val="4966AC"/>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61" name="Ukraine" descr="© INSCALE GmbH, 05.05.2010&#10;http://www.presentationload.com/">
                <a:extLst>
                  <a:ext uri="{FF2B5EF4-FFF2-40B4-BE49-F238E27FC236}">
                    <a16:creationId xmlns:a16="http://schemas.microsoft.com/office/drawing/2014/main" id="{1350492C-7512-4CA5-9974-7A9269E9B166}"/>
                  </a:ext>
                </a:extLst>
              </p:cNvPr>
              <p:cNvSpPr>
                <a:spLocks/>
              </p:cNvSpPr>
              <p:nvPr/>
            </p:nvSpPr>
            <p:spPr bwMode="gray">
              <a:xfrm>
                <a:off x="4796549" y="2710442"/>
                <a:ext cx="443015" cy="273767"/>
              </a:xfrm>
              <a:custGeom>
                <a:avLst/>
                <a:gdLst>
                  <a:gd name="T0" fmla="*/ 2147483647 w 1116"/>
                  <a:gd name="T1" fmla="*/ 2147483647 h 624"/>
                  <a:gd name="T2" fmla="*/ 2147483647 w 1116"/>
                  <a:gd name="T3" fmla="*/ 2147483647 h 624"/>
                  <a:gd name="T4" fmla="*/ 2147483647 w 1116"/>
                  <a:gd name="T5" fmla="*/ 2147483647 h 624"/>
                  <a:gd name="T6" fmla="*/ 2147483647 w 1116"/>
                  <a:gd name="T7" fmla="*/ 2147483647 h 624"/>
                  <a:gd name="T8" fmla="*/ 2147483647 w 1116"/>
                  <a:gd name="T9" fmla="*/ 2147483647 h 624"/>
                  <a:gd name="T10" fmla="*/ 2147483647 w 1116"/>
                  <a:gd name="T11" fmla="*/ 2147483647 h 624"/>
                  <a:gd name="T12" fmla="*/ 2147483647 w 1116"/>
                  <a:gd name="T13" fmla="*/ 2147483647 h 624"/>
                  <a:gd name="T14" fmla="*/ 2147483647 w 1116"/>
                  <a:gd name="T15" fmla="*/ 2147483647 h 624"/>
                  <a:gd name="T16" fmla="*/ 2147483647 w 1116"/>
                  <a:gd name="T17" fmla="*/ 2147483647 h 624"/>
                  <a:gd name="T18" fmla="*/ 2147483647 w 1116"/>
                  <a:gd name="T19" fmla="*/ 2147483647 h 624"/>
                  <a:gd name="T20" fmla="*/ 2147483647 w 1116"/>
                  <a:gd name="T21" fmla="*/ 2147483647 h 624"/>
                  <a:gd name="T22" fmla="*/ 2147483647 w 1116"/>
                  <a:gd name="T23" fmla="*/ 2147483647 h 624"/>
                  <a:gd name="T24" fmla="*/ 2147483647 w 1116"/>
                  <a:gd name="T25" fmla="*/ 2147483647 h 624"/>
                  <a:gd name="T26" fmla="*/ 2147483647 w 1116"/>
                  <a:gd name="T27" fmla="*/ 2147483647 h 624"/>
                  <a:gd name="T28" fmla="*/ 2147483647 w 1116"/>
                  <a:gd name="T29" fmla="*/ 2147483647 h 624"/>
                  <a:gd name="T30" fmla="*/ 2147483647 w 1116"/>
                  <a:gd name="T31" fmla="*/ 2147483647 h 624"/>
                  <a:gd name="T32" fmla="*/ 2147483647 w 1116"/>
                  <a:gd name="T33" fmla="*/ 2147483647 h 624"/>
                  <a:gd name="T34" fmla="*/ 2147483647 w 1116"/>
                  <a:gd name="T35" fmla="*/ 2147483647 h 624"/>
                  <a:gd name="T36" fmla="*/ 2147483647 w 1116"/>
                  <a:gd name="T37" fmla="*/ 2147483647 h 624"/>
                  <a:gd name="T38" fmla="*/ 2147483647 w 1116"/>
                  <a:gd name="T39" fmla="*/ 2147483647 h 624"/>
                  <a:gd name="T40" fmla="*/ 2147483647 w 1116"/>
                  <a:gd name="T41" fmla="*/ 2147483647 h 624"/>
                  <a:gd name="T42" fmla="*/ 2147483647 w 1116"/>
                  <a:gd name="T43" fmla="*/ 2147483647 h 624"/>
                  <a:gd name="T44" fmla="*/ 2147483647 w 1116"/>
                  <a:gd name="T45" fmla="*/ 2147483647 h 624"/>
                  <a:gd name="T46" fmla="*/ 2147483647 w 1116"/>
                  <a:gd name="T47" fmla="*/ 2147483647 h 624"/>
                  <a:gd name="T48" fmla="*/ 2147483647 w 1116"/>
                  <a:gd name="T49" fmla="*/ 2147483647 h 624"/>
                  <a:gd name="T50" fmla="*/ 2147483647 w 1116"/>
                  <a:gd name="T51" fmla="*/ 2147483647 h 624"/>
                  <a:gd name="T52" fmla="*/ 2147483647 w 1116"/>
                  <a:gd name="T53" fmla="*/ 2147483647 h 624"/>
                  <a:gd name="T54" fmla="*/ 2147483647 w 1116"/>
                  <a:gd name="T55" fmla="*/ 2147483647 h 624"/>
                  <a:gd name="T56" fmla="*/ 2147483647 w 1116"/>
                  <a:gd name="T57" fmla="*/ 2147483647 h 624"/>
                  <a:gd name="T58" fmla="*/ 2147483647 w 1116"/>
                  <a:gd name="T59" fmla="*/ 2147483647 h 624"/>
                  <a:gd name="T60" fmla="*/ 2147483647 w 1116"/>
                  <a:gd name="T61" fmla="*/ 2147483647 h 624"/>
                  <a:gd name="T62" fmla="*/ 2147483647 w 1116"/>
                  <a:gd name="T63" fmla="*/ 2147483647 h 624"/>
                  <a:gd name="T64" fmla="*/ 2147483647 w 1116"/>
                  <a:gd name="T65" fmla="*/ 2147483647 h 624"/>
                  <a:gd name="T66" fmla="*/ 2147483647 w 1116"/>
                  <a:gd name="T67" fmla="*/ 2147483647 h 624"/>
                  <a:gd name="T68" fmla="*/ 2147483647 w 1116"/>
                  <a:gd name="T69" fmla="*/ 2147483647 h 624"/>
                  <a:gd name="T70" fmla="*/ 2147483647 w 1116"/>
                  <a:gd name="T71" fmla="*/ 2147483647 h 624"/>
                  <a:gd name="T72" fmla="*/ 2147483647 w 1116"/>
                  <a:gd name="T73" fmla="*/ 2147483647 h 624"/>
                  <a:gd name="T74" fmla="*/ 2147483647 w 1116"/>
                  <a:gd name="T75" fmla="*/ 2147483647 h 624"/>
                  <a:gd name="T76" fmla="*/ 2147483647 w 1116"/>
                  <a:gd name="T77" fmla="*/ 2147483647 h 624"/>
                  <a:gd name="T78" fmla="*/ 2147483647 w 1116"/>
                  <a:gd name="T79" fmla="*/ 2147483647 h 624"/>
                  <a:gd name="T80" fmla="*/ 2147483647 w 1116"/>
                  <a:gd name="T81" fmla="*/ 2147483647 h 624"/>
                  <a:gd name="T82" fmla="*/ 2147483647 w 1116"/>
                  <a:gd name="T83" fmla="*/ 2147483647 h 624"/>
                  <a:gd name="T84" fmla="*/ 2147483647 w 1116"/>
                  <a:gd name="T85" fmla="*/ 2147483647 h 624"/>
                  <a:gd name="T86" fmla="*/ 2147483647 w 1116"/>
                  <a:gd name="T87" fmla="*/ 2147483647 h 624"/>
                  <a:gd name="T88" fmla="*/ 2147483647 w 1116"/>
                  <a:gd name="T89" fmla="*/ 0 h 624"/>
                  <a:gd name="T90" fmla="*/ 2147483647 w 1116"/>
                  <a:gd name="T91" fmla="*/ 2147483647 h 624"/>
                  <a:gd name="T92" fmla="*/ 2147483647 w 1116"/>
                  <a:gd name="T93" fmla="*/ 2147483647 h 624"/>
                  <a:gd name="T94" fmla="*/ 2147483647 w 1116"/>
                  <a:gd name="T95" fmla="*/ 2147483647 h 624"/>
                  <a:gd name="T96" fmla="*/ 2147483647 w 1116"/>
                  <a:gd name="T97" fmla="*/ 2147483647 h 624"/>
                  <a:gd name="T98" fmla="*/ 2147483647 w 1116"/>
                  <a:gd name="T99" fmla="*/ 2147483647 h 624"/>
                  <a:gd name="T100" fmla="*/ 2147483647 w 1116"/>
                  <a:gd name="T101" fmla="*/ 2147483647 h 624"/>
                  <a:gd name="T102" fmla="*/ 2147483647 w 1116"/>
                  <a:gd name="T103" fmla="*/ 2147483647 h 624"/>
                  <a:gd name="T104" fmla="*/ 2147483647 w 1116"/>
                  <a:gd name="T105" fmla="*/ 2147483647 h 624"/>
                  <a:gd name="T106" fmla="*/ 2147483647 w 1116"/>
                  <a:gd name="T107" fmla="*/ 2147483647 h 624"/>
                  <a:gd name="T108" fmla="*/ 2147483647 w 1116"/>
                  <a:gd name="T109" fmla="*/ 2147483647 h 624"/>
                  <a:gd name="T110" fmla="*/ 2147483647 w 1116"/>
                  <a:gd name="T111" fmla="*/ 2147483647 h 624"/>
                  <a:gd name="T112" fmla="*/ 2147483647 w 1116"/>
                  <a:gd name="T113" fmla="*/ 2147483647 h 624"/>
                  <a:gd name="T114" fmla="*/ 2147483647 w 1116"/>
                  <a:gd name="T115" fmla="*/ 2147483647 h 624"/>
                  <a:gd name="T116" fmla="*/ 2147483647 w 1116"/>
                  <a:gd name="T117" fmla="*/ 2147483647 h 62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116"/>
                  <a:gd name="T178" fmla="*/ 0 h 624"/>
                  <a:gd name="T179" fmla="*/ 1116 w 1116"/>
                  <a:gd name="T180" fmla="*/ 624 h 62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116" h="624">
                    <a:moveTo>
                      <a:pt x="24" y="324"/>
                    </a:moveTo>
                    <a:lnTo>
                      <a:pt x="30" y="324"/>
                    </a:lnTo>
                    <a:lnTo>
                      <a:pt x="36" y="330"/>
                    </a:lnTo>
                    <a:lnTo>
                      <a:pt x="48" y="330"/>
                    </a:lnTo>
                    <a:lnTo>
                      <a:pt x="54" y="336"/>
                    </a:lnTo>
                    <a:lnTo>
                      <a:pt x="78" y="336"/>
                    </a:lnTo>
                    <a:lnTo>
                      <a:pt x="84" y="342"/>
                    </a:lnTo>
                    <a:lnTo>
                      <a:pt x="108" y="342"/>
                    </a:lnTo>
                    <a:lnTo>
                      <a:pt x="114" y="348"/>
                    </a:lnTo>
                    <a:lnTo>
                      <a:pt x="126" y="342"/>
                    </a:lnTo>
                    <a:lnTo>
                      <a:pt x="132" y="342"/>
                    </a:lnTo>
                    <a:lnTo>
                      <a:pt x="144" y="336"/>
                    </a:lnTo>
                    <a:lnTo>
                      <a:pt x="150" y="336"/>
                    </a:lnTo>
                    <a:lnTo>
                      <a:pt x="174" y="360"/>
                    </a:lnTo>
                    <a:lnTo>
                      <a:pt x="186" y="360"/>
                    </a:lnTo>
                    <a:lnTo>
                      <a:pt x="198" y="348"/>
                    </a:lnTo>
                    <a:lnTo>
                      <a:pt x="198" y="342"/>
                    </a:lnTo>
                    <a:lnTo>
                      <a:pt x="222" y="348"/>
                    </a:lnTo>
                    <a:lnTo>
                      <a:pt x="228" y="336"/>
                    </a:lnTo>
                    <a:lnTo>
                      <a:pt x="234" y="342"/>
                    </a:lnTo>
                    <a:lnTo>
                      <a:pt x="252" y="342"/>
                    </a:lnTo>
                    <a:lnTo>
                      <a:pt x="258" y="336"/>
                    </a:lnTo>
                    <a:lnTo>
                      <a:pt x="258" y="330"/>
                    </a:lnTo>
                    <a:lnTo>
                      <a:pt x="270" y="318"/>
                    </a:lnTo>
                    <a:lnTo>
                      <a:pt x="282" y="318"/>
                    </a:lnTo>
                    <a:lnTo>
                      <a:pt x="288" y="306"/>
                    </a:lnTo>
                    <a:lnTo>
                      <a:pt x="294" y="306"/>
                    </a:lnTo>
                    <a:lnTo>
                      <a:pt x="306" y="312"/>
                    </a:lnTo>
                    <a:lnTo>
                      <a:pt x="318" y="312"/>
                    </a:lnTo>
                    <a:lnTo>
                      <a:pt x="318" y="306"/>
                    </a:lnTo>
                    <a:lnTo>
                      <a:pt x="324" y="306"/>
                    </a:lnTo>
                    <a:lnTo>
                      <a:pt x="336" y="300"/>
                    </a:lnTo>
                    <a:lnTo>
                      <a:pt x="342" y="300"/>
                    </a:lnTo>
                    <a:lnTo>
                      <a:pt x="354" y="312"/>
                    </a:lnTo>
                    <a:lnTo>
                      <a:pt x="360" y="312"/>
                    </a:lnTo>
                    <a:lnTo>
                      <a:pt x="360" y="318"/>
                    </a:lnTo>
                    <a:lnTo>
                      <a:pt x="402" y="318"/>
                    </a:lnTo>
                    <a:lnTo>
                      <a:pt x="408" y="324"/>
                    </a:lnTo>
                    <a:lnTo>
                      <a:pt x="408" y="336"/>
                    </a:lnTo>
                    <a:lnTo>
                      <a:pt x="426" y="336"/>
                    </a:lnTo>
                    <a:lnTo>
                      <a:pt x="438" y="342"/>
                    </a:lnTo>
                    <a:lnTo>
                      <a:pt x="444" y="348"/>
                    </a:lnTo>
                    <a:lnTo>
                      <a:pt x="450" y="360"/>
                    </a:lnTo>
                    <a:lnTo>
                      <a:pt x="444" y="366"/>
                    </a:lnTo>
                    <a:lnTo>
                      <a:pt x="444" y="390"/>
                    </a:lnTo>
                    <a:lnTo>
                      <a:pt x="456" y="384"/>
                    </a:lnTo>
                    <a:lnTo>
                      <a:pt x="462" y="384"/>
                    </a:lnTo>
                    <a:lnTo>
                      <a:pt x="468" y="390"/>
                    </a:lnTo>
                    <a:lnTo>
                      <a:pt x="462" y="396"/>
                    </a:lnTo>
                    <a:lnTo>
                      <a:pt x="462" y="414"/>
                    </a:lnTo>
                    <a:lnTo>
                      <a:pt x="474" y="414"/>
                    </a:lnTo>
                    <a:lnTo>
                      <a:pt x="480" y="420"/>
                    </a:lnTo>
                    <a:lnTo>
                      <a:pt x="492" y="420"/>
                    </a:lnTo>
                    <a:lnTo>
                      <a:pt x="498" y="426"/>
                    </a:lnTo>
                    <a:lnTo>
                      <a:pt x="498" y="456"/>
                    </a:lnTo>
                    <a:lnTo>
                      <a:pt x="492" y="456"/>
                    </a:lnTo>
                    <a:lnTo>
                      <a:pt x="480" y="462"/>
                    </a:lnTo>
                    <a:lnTo>
                      <a:pt x="462" y="462"/>
                    </a:lnTo>
                    <a:lnTo>
                      <a:pt x="456" y="456"/>
                    </a:lnTo>
                    <a:lnTo>
                      <a:pt x="438" y="456"/>
                    </a:lnTo>
                    <a:lnTo>
                      <a:pt x="432" y="462"/>
                    </a:lnTo>
                    <a:lnTo>
                      <a:pt x="432" y="468"/>
                    </a:lnTo>
                    <a:lnTo>
                      <a:pt x="438" y="468"/>
                    </a:lnTo>
                    <a:lnTo>
                      <a:pt x="450" y="474"/>
                    </a:lnTo>
                    <a:lnTo>
                      <a:pt x="456" y="480"/>
                    </a:lnTo>
                    <a:lnTo>
                      <a:pt x="438" y="492"/>
                    </a:lnTo>
                    <a:lnTo>
                      <a:pt x="432" y="498"/>
                    </a:lnTo>
                    <a:lnTo>
                      <a:pt x="420" y="504"/>
                    </a:lnTo>
                    <a:lnTo>
                      <a:pt x="414" y="504"/>
                    </a:lnTo>
                    <a:lnTo>
                      <a:pt x="414" y="516"/>
                    </a:lnTo>
                    <a:lnTo>
                      <a:pt x="420" y="522"/>
                    </a:lnTo>
                    <a:lnTo>
                      <a:pt x="420" y="534"/>
                    </a:lnTo>
                    <a:lnTo>
                      <a:pt x="396" y="540"/>
                    </a:lnTo>
                    <a:lnTo>
                      <a:pt x="390" y="528"/>
                    </a:lnTo>
                    <a:lnTo>
                      <a:pt x="390" y="516"/>
                    </a:lnTo>
                    <a:lnTo>
                      <a:pt x="390" y="528"/>
                    </a:lnTo>
                    <a:lnTo>
                      <a:pt x="396" y="540"/>
                    </a:lnTo>
                    <a:lnTo>
                      <a:pt x="396" y="546"/>
                    </a:lnTo>
                    <a:lnTo>
                      <a:pt x="408" y="552"/>
                    </a:lnTo>
                    <a:lnTo>
                      <a:pt x="438" y="552"/>
                    </a:lnTo>
                    <a:lnTo>
                      <a:pt x="444" y="546"/>
                    </a:lnTo>
                    <a:lnTo>
                      <a:pt x="450" y="546"/>
                    </a:lnTo>
                    <a:lnTo>
                      <a:pt x="456" y="540"/>
                    </a:lnTo>
                    <a:lnTo>
                      <a:pt x="474" y="540"/>
                    </a:lnTo>
                    <a:lnTo>
                      <a:pt x="480" y="534"/>
                    </a:lnTo>
                    <a:lnTo>
                      <a:pt x="486" y="534"/>
                    </a:lnTo>
                    <a:lnTo>
                      <a:pt x="480" y="528"/>
                    </a:lnTo>
                    <a:lnTo>
                      <a:pt x="486" y="528"/>
                    </a:lnTo>
                    <a:lnTo>
                      <a:pt x="492" y="522"/>
                    </a:lnTo>
                    <a:lnTo>
                      <a:pt x="510" y="516"/>
                    </a:lnTo>
                    <a:lnTo>
                      <a:pt x="522" y="510"/>
                    </a:lnTo>
                    <a:lnTo>
                      <a:pt x="528" y="504"/>
                    </a:lnTo>
                    <a:lnTo>
                      <a:pt x="534" y="492"/>
                    </a:lnTo>
                    <a:lnTo>
                      <a:pt x="540" y="486"/>
                    </a:lnTo>
                    <a:lnTo>
                      <a:pt x="546" y="474"/>
                    </a:lnTo>
                    <a:lnTo>
                      <a:pt x="552" y="468"/>
                    </a:lnTo>
                    <a:lnTo>
                      <a:pt x="552" y="462"/>
                    </a:lnTo>
                    <a:lnTo>
                      <a:pt x="582" y="450"/>
                    </a:lnTo>
                    <a:lnTo>
                      <a:pt x="600" y="438"/>
                    </a:lnTo>
                    <a:lnTo>
                      <a:pt x="612" y="444"/>
                    </a:lnTo>
                    <a:lnTo>
                      <a:pt x="624" y="444"/>
                    </a:lnTo>
                    <a:lnTo>
                      <a:pt x="636" y="450"/>
                    </a:lnTo>
                    <a:lnTo>
                      <a:pt x="654" y="450"/>
                    </a:lnTo>
                    <a:lnTo>
                      <a:pt x="666" y="438"/>
                    </a:lnTo>
                    <a:lnTo>
                      <a:pt x="648" y="462"/>
                    </a:lnTo>
                    <a:lnTo>
                      <a:pt x="624" y="462"/>
                    </a:lnTo>
                    <a:lnTo>
                      <a:pt x="630" y="468"/>
                    </a:lnTo>
                    <a:lnTo>
                      <a:pt x="642" y="474"/>
                    </a:lnTo>
                    <a:lnTo>
                      <a:pt x="654" y="486"/>
                    </a:lnTo>
                    <a:lnTo>
                      <a:pt x="726" y="486"/>
                    </a:lnTo>
                    <a:lnTo>
                      <a:pt x="738" y="504"/>
                    </a:lnTo>
                    <a:lnTo>
                      <a:pt x="726" y="510"/>
                    </a:lnTo>
                    <a:lnTo>
                      <a:pt x="720" y="516"/>
                    </a:lnTo>
                    <a:lnTo>
                      <a:pt x="684" y="534"/>
                    </a:lnTo>
                    <a:lnTo>
                      <a:pt x="678" y="540"/>
                    </a:lnTo>
                    <a:lnTo>
                      <a:pt x="678" y="546"/>
                    </a:lnTo>
                    <a:lnTo>
                      <a:pt x="684" y="546"/>
                    </a:lnTo>
                    <a:lnTo>
                      <a:pt x="690" y="552"/>
                    </a:lnTo>
                    <a:lnTo>
                      <a:pt x="720" y="552"/>
                    </a:lnTo>
                    <a:lnTo>
                      <a:pt x="732" y="558"/>
                    </a:lnTo>
                    <a:lnTo>
                      <a:pt x="744" y="570"/>
                    </a:lnTo>
                    <a:lnTo>
                      <a:pt x="744" y="594"/>
                    </a:lnTo>
                    <a:lnTo>
                      <a:pt x="738" y="606"/>
                    </a:lnTo>
                    <a:lnTo>
                      <a:pt x="738" y="618"/>
                    </a:lnTo>
                    <a:lnTo>
                      <a:pt x="756" y="618"/>
                    </a:lnTo>
                    <a:lnTo>
                      <a:pt x="768" y="624"/>
                    </a:lnTo>
                    <a:lnTo>
                      <a:pt x="780" y="624"/>
                    </a:lnTo>
                    <a:lnTo>
                      <a:pt x="780" y="618"/>
                    </a:lnTo>
                    <a:lnTo>
                      <a:pt x="792" y="606"/>
                    </a:lnTo>
                    <a:lnTo>
                      <a:pt x="804" y="600"/>
                    </a:lnTo>
                    <a:lnTo>
                      <a:pt x="810" y="594"/>
                    </a:lnTo>
                    <a:lnTo>
                      <a:pt x="840" y="594"/>
                    </a:lnTo>
                    <a:lnTo>
                      <a:pt x="858" y="576"/>
                    </a:lnTo>
                    <a:lnTo>
                      <a:pt x="858" y="570"/>
                    </a:lnTo>
                    <a:lnTo>
                      <a:pt x="864" y="564"/>
                    </a:lnTo>
                    <a:lnTo>
                      <a:pt x="870" y="564"/>
                    </a:lnTo>
                    <a:lnTo>
                      <a:pt x="882" y="576"/>
                    </a:lnTo>
                    <a:lnTo>
                      <a:pt x="918" y="570"/>
                    </a:lnTo>
                    <a:lnTo>
                      <a:pt x="918" y="552"/>
                    </a:lnTo>
                    <a:lnTo>
                      <a:pt x="930" y="540"/>
                    </a:lnTo>
                    <a:lnTo>
                      <a:pt x="900" y="540"/>
                    </a:lnTo>
                    <a:lnTo>
                      <a:pt x="894" y="546"/>
                    </a:lnTo>
                    <a:lnTo>
                      <a:pt x="882" y="552"/>
                    </a:lnTo>
                    <a:lnTo>
                      <a:pt x="852" y="552"/>
                    </a:lnTo>
                    <a:lnTo>
                      <a:pt x="846" y="546"/>
                    </a:lnTo>
                    <a:lnTo>
                      <a:pt x="834" y="540"/>
                    </a:lnTo>
                    <a:lnTo>
                      <a:pt x="828" y="534"/>
                    </a:lnTo>
                    <a:lnTo>
                      <a:pt x="828" y="522"/>
                    </a:lnTo>
                    <a:lnTo>
                      <a:pt x="822" y="516"/>
                    </a:lnTo>
                    <a:lnTo>
                      <a:pt x="810" y="516"/>
                    </a:lnTo>
                    <a:lnTo>
                      <a:pt x="786" y="498"/>
                    </a:lnTo>
                    <a:lnTo>
                      <a:pt x="750" y="492"/>
                    </a:lnTo>
                    <a:lnTo>
                      <a:pt x="744" y="480"/>
                    </a:lnTo>
                    <a:lnTo>
                      <a:pt x="810" y="480"/>
                    </a:lnTo>
                    <a:lnTo>
                      <a:pt x="822" y="474"/>
                    </a:lnTo>
                    <a:lnTo>
                      <a:pt x="834" y="462"/>
                    </a:lnTo>
                    <a:lnTo>
                      <a:pt x="846" y="468"/>
                    </a:lnTo>
                    <a:lnTo>
                      <a:pt x="852" y="462"/>
                    </a:lnTo>
                    <a:lnTo>
                      <a:pt x="864" y="456"/>
                    </a:lnTo>
                    <a:lnTo>
                      <a:pt x="870" y="450"/>
                    </a:lnTo>
                    <a:lnTo>
                      <a:pt x="882" y="444"/>
                    </a:lnTo>
                    <a:lnTo>
                      <a:pt x="906" y="444"/>
                    </a:lnTo>
                    <a:lnTo>
                      <a:pt x="918" y="438"/>
                    </a:lnTo>
                    <a:lnTo>
                      <a:pt x="930" y="438"/>
                    </a:lnTo>
                    <a:lnTo>
                      <a:pt x="978" y="408"/>
                    </a:lnTo>
                    <a:lnTo>
                      <a:pt x="1014" y="408"/>
                    </a:lnTo>
                    <a:lnTo>
                      <a:pt x="1014" y="372"/>
                    </a:lnTo>
                    <a:lnTo>
                      <a:pt x="1032" y="372"/>
                    </a:lnTo>
                    <a:lnTo>
                      <a:pt x="1038" y="366"/>
                    </a:lnTo>
                    <a:lnTo>
                      <a:pt x="1038" y="360"/>
                    </a:lnTo>
                    <a:lnTo>
                      <a:pt x="1050" y="348"/>
                    </a:lnTo>
                    <a:lnTo>
                      <a:pt x="1080" y="348"/>
                    </a:lnTo>
                    <a:lnTo>
                      <a:pt x="1092" y="342"/>
                    </a:lnTo>
                    <a:lnTo>
                      <a:pt x="1104" y="342"/>
                    </a:lnTo>
                    <a:lnTo>
                      <a:pt x="1116" y="330"/>
                    </a:lnTo>
                    <a:lnTo>
                      <a:pt x="1116" y="324"/>
                    </a:lnTo>
                    <a:lnTo>
                      <a:pt x="1110" y="312"/>
                    </a:lnTo>
                    <a:lnTo>
                      <a:pt x="1110" y="300"/>
                    </a:lnTo>
                    <a:lnTo>
                      <a:pt x="1098" y="294"/>
                    </a:lnTo>
                    <a:lnTo>
                      <a:pt x="1086" y="282"/>
                    </a:lnTo>
                    <a:lnTo>
                      <a:pt x="1092" y="276"/>
                    </a:lnTo>
                    <a:lnTo>
                      <a:pt x="1110" y="276"/>
                    </a:lnTo>
                    <a:lnTo>
                      <a:pt x="1116" y="270"/>
                    </a:lnTo>
                    <a:lnTo>
                      <a:pt x="1110" y="264"/>
                    </a:lnTo>
                    <a:lnTo>
                      <a:pt x="1104" y="264"/>
                    </a:lnTo>
                    <a:lnTo>
                      <a:pt x="1098" y="258"/>
                    </a:lnTo>
                    <a:lnTo>
                      <a:pt x="1092" y="258"/>
                    </a:lnTo>
                    <a:lnTo>
                      <a:pt x="1110" y="246"/>
                    </a:lnTo>
                    <a:lnTo>
                      <a:pt x="1110" y="222"/>
                    </a:lnTo>
                    <a:lnTo>
                      <a:pt x="1104" y="216"/>
                    </a:lnTo>
                    <a:lnTo>
                      <a:pt x="1080" y="216"/>
                    </a:lnTo>
                    <a:lnTo>
                      <a:pt x="1062" y="204"/>
                    </a:lnTo>
                    <a:lnTo>
                      <a:pt x="1056" y="198"/>
                    </a:lnTo>
                    <a:lnTo>
                      <a:pt x="1056" y="192"/>
                    </a:lnTo>
                    <a:lnTo>
                      <a:pt x="1014" y="192"/>
                    </a:lnTo>
                    <a:lnTo>
                      <a:pt x="1002" y="186"/>
                    </a:lnTo>
                    <a:lnTo>
                      <a:pt x="996" y="180"/>
                    </a:lnTo>
                    <a:lnTo>
                      <a:pt x="978" y="180"/>
                    </a:lnTo>
                    <a:lnTo>
                      <a:pt x="966" y="186"/>
                    </a:lnTo>
                    <a:lnTo>
                      <a:pt x="942" y="162"/>
                    </a:lnTo>
                    <a:lnTo>
                      <a:pt x="936" y="150"/>
                    </a:lnTo>
                    <a:lnTo>
                      <a:pt x="924" y="150"/>
                    </a:lnTo>
                    <a:lnTo>
                      <a:pt x="918" y="156"/>
                    </a:lnTo>
                    <a:lnTo>
                      <a:pt x="918" y="162"/>
                    </a:lnTo>
                    <a:lnTo>
                      <a:pt x="912" y="156"/>
                    </a:lnTo>
                    <a:lnTo>
                      <a:pt x="864" y="156"/>
                    </a:lnTo>
                    <a:lnTo>
                      <a:pt x="858" y="150"/>
                    </a:lnTo>
                    <a:lnTo>
                      <a:pt x="846" y="150"/>
                    </a:lnTo>
                    <a:lnTo>
                      <a:pt x="840" y="144"/>
                    </a:lnTo>
                    <a:lnTo>
                      <a:pt x="816" y="150"/>
                    </a:lnTo>
                    <a:lnTo>
                      <a:pt x="810" y="150"/>
                    </a:lnTo>
                    <a:lnTo>
                      <a:pt x="798" y="102"/>
                    </a:lnTo>
                    <a:lnTo>
                      <a:pt x="756" y="84"/>
                    </a:lnTo>
                    <a:lnTo>
                      <a:pt x="720" y="84"/>
                    </a:lnTo>
                    <a:lnTo>
                      <a:pt x="720" y="66"/>
                    </a:lnTo>
                    <a:lnTo>
                      <a:pt x="714" y="48"/>
                    </a:lnTo>
                    <a:lnTo>
                      <a:pt x="720" y="48"/>
                    </a:lnTo>
                    <a:lnTo>
                      <a:pt x="726" y="42"/>
                    </a:lnTo>
                    <a:lnTo>
                      <a:pt x="726" y="30"/>
                    </a:lnTo>
                    <a:lnTo>
                      <a:pt x="720" y="30"/>
                    </a:lnTo>
                    <a:lnTo>
                      <a:pt x="708" y="24"/>
                    </a:lnTo>
                    <a:lnTo>
                      <a:pt x="702" y="18"/>
                    </a:lnTo>
                    <a:lnTo>
                      <a:pt x="696" y="18"/>
                    </a:lnTo>
                    <a:lnTo>
                      <a:pt x="690" y="0"/>
                    </a:lnTo>
                    <a:lnTo>
                      <a:pt x="642" y="0"/>
                    </a:lnTo>
                    <a:lnTo>
                      <a:pt x="630" y="6"/>
                    </a:lnTo>
                    <a:lnTo>
                      <a:pt x="600" y="6"/>
                    </a:lnTo>
                    <a:lnTo>
                      <a:pt x="600" y="18"/>
                    </a:lnTo>
                    <a:lnTo>
                      <a:pt x="594" y="24"/>
                    </a:lnTo>
                    <a:lnTo>
                      <a:pt x="558" y="24"/>
                    </a:lnTo>
                    <a:lnTo>
                      <a:pt x="546" y="18"/>
                    </a:lnTo>
                    <a:lnTo>
                      <a:pt x="516" y="18"/>
                    </a:lnTo>
                    <a:lnTo>
                      <a:pt x="510" y="30"/>
                    </a:lnTo>
                    <a:lnTo>
                      <a:pt x="498" y="36"/>
                    </a:lnTo>
                    <a:lnTo>
                      <a:pt x="492" y="42"/>
                    </a:lnTo>
                    <a:lnTo>
                      <a:pt x="486" y="54"/>
                    </a:lnTo>
                    <a:lnTo>
                      <a:pt x="492" y="60"/>
                    </a:lnTo>
                    <a:lnTo>
                      <a:pt x="492" y="72"/>
                    </a:lnTo>
                    <a:lnTo>
                      <a:pt x="486" y="78"/>
                    </a:lnTo>
                    <a:lnTo>
                      <a:pt x="468" y="78"/>
                    </a:lnTo>
                    <a:lnTo>
                      <a:pt x="462" y="72"/>
                    </a:lnTo>
                    <a:lnTo>
                      <a:pt x="438" y="72"/>
                    </a:lnTo>
                    <a:lnTo>
                      <a:pt x="426" y="78"/>
                    </a:lnTo>
                    <a:lnTo>
                      <a:pt x="420" y="78"/>
                    </a:lnTo>
                    <a:lnTo>
                      <a:pt x="420" y="66"/>
                    </a:lnTo>
                    <a:lnTo>
                      <a:pt x="414" y="60"/>
                    </a:lnTo>
                    <a:lnTo>
                      <a:pt x="396" y="60"/>
                    </a:lnTo>
                    <a:lnTo>
                      <a:pt x="390" y="66"/>
                    </a:lnTo>
                    <a:lnTo>
                      <a:pt x="390" y="72"/>
                    </a:lnTo>
                    <a:lnTo>
                      <a:pt x="378" y="60"/>
                    </a:lnTo>
                    <a:lnTo>
                      <a:pt x="366" y="66"/>
                    </a:lnTo>
                    <a:lnTo>
                      <a:pt x="360" y="60"/>
                    </a:lnTo>
                    <a:lnTo>
                      <a:pt x="342" y="66"/>
                    </a:lnTo>
                    <a:lnTo>
                      <a:pt x="336" y="54"/>
                    </a:lnTo>
                    <a:lnTo>
                      <a:pt x="324" y="66"/>
                    </a:lnTo>
                    <a:lnTo>
                      <a:pt x="306" y="54"/>
                    </a:lnTo>
                    <a:lnTo>
                      <a:pt x="300" y="60"/>
                    </a:lnTo>
                    <a:lnTo>
                      <a:pt x="282" y="48"/>
                    </a:lnTo>
                    <a:lnTo>
                      <a:pt x="258" y="42"/>
                    </a:lnTo>
                    <a:lnTo>
                      <a:pt x="222" y="42"/>
                    </a:lnTo>
                    <a:lnTo>
                      <a:pt x="216" y="36"/>
                    </a:lnTo>
                    <a:lnTo>
                      <a:pt x="216" y="30"/>
                    </a:lnTo>
                    <a:lnTo>
                      <a:pt x="168" y="30"/>
                    </a:lnTo>
                    <a:lnTo>
                      <a:pt x="162" y="36"/>
                    </a:lnTo>
                    <a:lnTo>
                      <a:pt x="150" y="42"/>
                    </a:lnTo>
                    <a:lnTo>
                      <a:pt x="114" y="42"/>
                    </a:lnTo>
                    <a:lnTo>
                      <a:pt x="114" y="48"/>
                    </a:lnTo>
                    <a:lnTo>
                      <a:pt x="96" y="66"/>
                    </a:lnTo>
                    <a:lnTo>
                      <a:pt x="78" y="66"/>
                    </a:lnTo>
                    <a:lnTo>
                      <a:pt x="66" y="60"/>
                    </a:lnTo>
                    <a:lnTo>
                      <a:pt x="72" y="78"/>
                    </a:lnTo>
                    <a:lnTo>
                      <a:pt x="90" y="96"/>
                    </a:lnTo>
                    <a:lnTo>
                      <a:pt x="90" y="102"/>
                    </a:lnTo>
                    <a:lnTo>
                      <a:pt x="102" y="108"/>
                    </a:lnTo>
                    <a:lnTo>
                      <a:pt x="108" y="114"/>
                    </a:lnTo>
                    <a:lnTo>
                      <a:pt x="102" y="126"/>
                    </a:lnTo>
                    <a:lnTo>
                      <a:pt x="108" y="132"/>
                    </a:lnTo>
                    <a:lnTo>
                      <a:pt x="108" y="138"/>
                    </a:lnTo>
                    <a:lnTo>
                      <a:pt x="114" y="144"/>
                    </a:lnTo>
                    <a:lnTo>
                      <a:pt x="108" y="150"/>
                    </a:lnTo>
                    <a:lnTo>
                      <a:pt x="102" y="150"/>
                    </a:lnTo>
                    <a:lnTo>
                      <a:pt x="96" y="156"/>
                    </a:lnTo>
                    <a:lnTo>
                      <a:pt x="84" y="156"/>
                    </a:lnTo>
                    <a:lnTo>
                      <a:pt x="30" y="204"/>
                    </a:lnTo>
                    <a:lnTo>
                      <a:pt x="30" y="246"/>
                    </a:lnTo>
                    <a:lnTo>
                      <a:pt x="42" y="258"/>
                    </a:lnTo>
                    <a:lnTo>
                      <a:pt x="18" y="258"/>
                    </a:lnTo>
                    <a:lnTo>
                      <a:pt x="18" y="270"/>
                    </a:lnTo>
                    <a:lnTo>
                      <a:pt x="12" y="276"/>
                    </a:lnTo>
                    <a:lnTo>
                      <a:pt x="12" y="282"/>
                    </a:lnTo>
                    <a:lnTo>
                      <a:pt x="6" y="288"/>
                    </a:lnTo>
                    <a:lnTo>
                      <a:pt x="0" y="288"/>
                    </a:lnTo>
                    <a:lnTo>
                      <a:pt x="0" y="306"/>
                    </a:lnTo>
                    <a:lnTo>
                      <a:pt x="6" y="306"/>
                    </a:lnTo>
                    <a:lnTo>
                      <a:pt x="24" y="324"/>
                    </a:lnTo>
                    <a:close/>
                  </a:path>
                </a:pathLst>
              </a:custGeom>
              <a:solidFill>
                <a:srgbClr val="4966AC"/>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62" name="Turkmenistan" descr="© INSCALE GmbH, 05.05.2010&#10;http://www.presentationload.com/">
                <a:extLst>
                  <a:ext uri="{FF2B5EF4-FFF2-40B4-BE49-F238E27FC236}">
                    <a16:creationId xmlns:a16="http://schemas.microsoft.com/office/drawing/2014/main" id="{D026F4C2-12CC-4BEF-B91D-B0E626559958}"/>
                  </a:ext>
                </a:extLst>
              </p:cNvPr>
              <p:cNvSpPr>
                <a:spLocks/>
              </p:cNvSpPr>
              <p:nvPr/>
            </p:nvSpPr>
            <p:spPr bwMode="gray">
              <a:xfrm>
                <a:off x="5587424" y="3039655"/>
                <a:ext cx="397777" cy="266836"/>
              </a:xfrm>
              <a:custGeom>
                <a:avLst/>
                <a:gdLst>
                  <a:gd name="T0" fmla="*/ 2147483647 w 1008"/>
                  <a:gd name="T1" fmla="*/ 2147483647 h 606"/>
                  <a:gd name="T2" fmla="*/ 2147483647 w 1008"/>
                  <a:gd name="T3" fmla="*/ 2147483647 h 606"/>
                  <a:gd name="T4" fmla="*/ 2147483647 w 1008"/>
                  <a:gd name="T5" fmla="*/ 2147483647 h 606"/>
                  <a:gd name="T6" fmla="*/ 2147483647 w 1008"/>
                  <a:gd name="T7" fmla="*/ 2147483647 h 606"/>
                  <a:gd name="T8" fmla="*/ 2147483647 w 1008"/>
                  <a:gd name="T9" fmla="*/ 2147483647 h 606"/>
                  <a:gd name="T10" fmla="*/ 2147483647 w 1008"/>
                  <a:gd name="T11" fmla="*/ 2147483647 h 606"/>
                  <a:gd name="T12" fmla="*/ 2147483647 w 1008"/>
                  <a:gd name="T13" fmla="*/ 2147483647 h 606"/>
                  <a:gd name="T14" fmla="*/ 2147483647 w 1008"/>
                  <a:gd name="T15" fmla="*/ 2147483647 h 606"/>
                  <a:gd name="T16" fmla="*/ 2147483647 w 1008"/>
                  <a:gd name="T17" fmla="*/ 2147483647 h 606"/>
                  <a:gd name="T18" fmla="*/ 2147483647 w 1008"/>
                  <a:gd name="T19" fmla="*/ 2147483647 h 606"/>
                  <a:gd name="T20" fmla="*/ 2147483647 w 1008"/>
                  <a:gd name="T21" fmla="*/ 2147483647 h 606"/>
                  <a:gd name="T22" fmla="*/ 2147483647 w 1008"/>
                  <a:gd name="T23" fmla="*/ 2147483647 h 606"/>
                  <a:gd name="T24" fmla="*/ 2147483647 w 1008"/>
                  <a:gd name="T25" fmla="*/ 2147483647 h 606"/>
                  <a:gd name="T26" fmla="*/ 2147483647 w 1008"/>
                  <a:gd name="T27" fmla="*/ 2147483647 h 606"/>
                  <a:gd name="T28" fmla="*/ 2147483647 w 1008"/>
                  <a:gd name="T29" fmla="*/ 2147483647 h 606"/>
                  <a:gd name="T30" fmla="*/ 2147483647 w 1008"/>
                  <a:gd name="T31" fmla="*/ 2147483647 h 606"/>
                  <a:gd name="T32" fmla="*/ 2147483647 w 1008"/>
                  <a:gd name="T33" fmla="*/ 2147483647 h 606"/>
                  <a:gd name="T34" fmla="*/ 2147483647 w 1008"/>
                  <a:gd name="T35" fmla="*/ 2147483647 h 606"/>
                  <a:gd name="T36" fmla="*/ 2147483647 w 1008"/>
                  <a:gd name="T37" fmla="*/ 2147483647 h 606"/>
                  <a:gd name="T38" fmla="*/ 2147483647 w 1008"/>
                  <a:gd name="T39" fmla="*/ 2147483647 h 606"/>
                  <a:gd name="T40" fmla="*/ 2147483647 w 1008"/>
                  <a:gd name="T41" fmla="*/ 2147483647 h 606"/>
                  <a:gd name="T42" fmla="*/ 2147483647 w 1008"/>
                  <a:gd name="T43" fmla="*/ 2147483647 h 606"/>
                  <a:gd name="T44" fmla="*/ 2147483647 w 1008"/>
                  <a:gd name="T45" fmla="*/ 2147483647 h 606"/>
                  <a:gd name="T46" fmla="*/ 2147483647 w 1008"/>
                  <a:gd name="T47" fmla="*/ 2147483647 h 606"/>
                  <a:gd name="T48" fmla="*/ 2147483647 w 1008"/>
                  <a:gd name="T49" fmla="*/ 2147483647 h 606"/>
                  <a:gd name="T50" fmla="*/ 2147483647 w 1008"/>
                  <a:gd name="T51" fmla="*/ 2147483647 h 606"/>
                  <a:gd name="T52" fmla="*/ 2147483647 w 1008"/>
                  <a:gd name="T53" fmla="*/ 2147483647 h 606"/>
                  <a:gd name="T54" fmla="*/ 2147483647 w 1008"/>
                  <a:gd name="T55" fmla="*/ 2147483647 h 606"/>
                  <a:gd name="T56" fmla="*/ 2147483647 w 1008"/>
                  <a:gd name="T57" fmla="*/ 2147483647 h 606"/>
                  <a:gd name="T58" fmla="*/ 2147483647 w 1008"/>
                  <a:gd name="T59" fmla="*/ 2147483647 h 606"/>
                  <a:gd name="T60" fmla="*/ 2147483647 w 1008"/>
                  <a:gd name="T61" fmla="*/ 2147483647 h 606"/>
                  <a:gd name="T62" fmla="*/ 2147483647 w 1008"/>
                  <a:gd name="T63" fmla="*/ 2147483647 h 606"/>
                  <a:gd name="T64" fmla="*/ 2147483647 w 1008"/>
                  <a:gd name="T65" fmla="*/ 2147483647 h 606"/>
                  <a:gd name="T66" fmla="*/ 2147483647 w 1008"/>
                  <a:gd name="T67" fmla="*/ 2147483647 h 606"/>
                  <a:gd name="T68" fmla="*/ 2147483647 w 1008"/>
                  <a:gd name="T69" fmla="*/ 2147483647 h 606"/>
                  <a:gd name="T70" fmla="*/ 2147483647 w 1008"/>
                  <a:gd name="T71" fmla="*/ 2147483647 h 606"/>
                  <a:gd name="T72" fmla="*/ 2147483647 w 1008"/>
                  <a:gd name="T73" fmla="*/ 2147483647 h 606"/>
                  <a:gd name="T74" fmla="*/ 2147483647 w 1008"/>
                  <a:gd name="T75" fmla="*/ 2147483647 h 606"/>
                  <a:gd name="T76" fmla="*/ 2147483647 w 1008"/>
                  <a:gd name="T77" fmla="*/ 2147483647 h 606"/>
                  <a:gd name="T78" fmla="*/ 2147483647 w 1008"/>
                  <a:gd name="T79" fmla="*/ 2147483647 h 606"/>
                  <a:gd name="T80" fmla="*/ 2147483647 w 1008"/>
                  <a:gd name="T81" fmla="*/ 2147483647 h 606"/>
                  <a:gd name="T82" fmla="*/ 2147483647 w 1008"/>
                  <a:gd name="T83" fmla="*/ 2147483647 h 606"/>
                  <a:gd name="T84" fmla="*/ 2147483647 w 1008"/>
                  <a:gd name="T85" fmla="*/ 2147483647 h 606"/>
                  <a:gd name="T86" fmla="*/ 2147483647 w 1008"/>
                  <a:gd name="T87" fmla="*/ 2147483647 h 606"/>
                  <a:gd name="T88" fmla="*/ 2147483647 w 1008"/>
                  <a:gd name="T89" fmla="*/ 2147483647 h 606"/>
                  <a:gd name="T90" fmla="*/ 2147483647 w 1008"/>
                  <a:gd name="T91" fmla="*/ 2147483647 h 606"/>
                  <a:gd name="T92" fmla="*/ 2147483647 w 1008"/>
                  <a:gd name="T93" fmla="*/ 2147483647 h 606"/>
                  <a:gd name="T94" fmla="*/ 2147483647 w 1008"/>
                  <a:gd name="T95" fmla="*/ 2147483647 h 606"/>
                  <a:gd name="T96" fmla="*/ 2147483647 w 1008"/>
                  <a:gd name="T97" fmla="*/ 2147483647 h 606"/>
                  <a:gd name="T98" fmla="*/ 2147483647 w 1008"/>
                  <a:gd name="T99" fmla="*/ 2147483647 h 606"/>
                  <a:gd name="T100" fmla="*/ 2147483647 w 1008"/>
                  <a:gd name="T101" fmla="*/ 2147483647 h 606"/>
                  <a:gd name="T102" fmla="*/ 2147483647 w 1008"/>
                  <a:gd name="T103" fmla="*/ 2147483647 h 606"/>
                  <a:gd name="T104" fmla="*/ 0 w 1008"/>
                  <a:gd name="T105" fmla="*/ 2147483647 h 606"/>
                  <a:gd name="T106" fmla="*/ 2147483647 w 1008"/>
                  <a:gd name="T107" fmla="*/ 2147483647 h 606"/>
                  <a:gd name="T108" fmla="*/ 2147483647 w 1008"/>
                  <a:gd name="T109" fmla="*/ 2147483647 h 60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008"/>
                  <a:gd name="T166" fmla="*/ 0 h 606"/>
                  <a:gd name="T167" fmla="*/ 1008 w 1008"/>
                  <a:gd name="T168" fmla="*/ 606 h 60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008" h="606">
                    <a:moveTo>
                      <a:pt x="48" y="150"/>
                    </a:moveTo>
                    <a:lnTo>
                      <a:pt x="48" y="156"/>
                    </a:lnTo>
                    <a:lnTo>
                      <a:pt x="42" y="162"/>
                    </a:lnTo>
                    <a:lnTo>
                      <a:pt x="36" y="174"/>
                    </a:lnTo>
                    <a:lnTo>
                      <a:pt x="36" y="186"/>
                    </a:lnTo>
                    <a:lnTo>
                      <a:pt x="42" y="198"/>
                    </a:lnTo>
                    <a:lnTo>
                      <a:pt x="48" y="204"/>
                    </a:lnTo>
                    <a:lnTo>
                      <a:pt x="54" y="216"/>
                    </a:lnTo>
                    <a:lnTo>
                      <a:pt x="60" y="222"/>
                    </a:lnTo>
                    <a:lnTo>
                      <a:pt x="60" y="228"/>
                    </a:lnTo>
                    <a:lnTo>
                      <a:pt x="90" y="222"/>
                    </a:lnTo>
                    <a:lnTo>
                      <a:pt x="90" y="246"/>
                    </a:lnTo>
                    <a:lnTo>
                      <a:pt x="114" y="258"/>
                    </a:lnTo>
                    <a:lnTo>
                      <a:pt x="90" y="258"/>
                    </a:lnTo>
                    <a:lnTo>
                      <a:pt x="78" y="264"/>
                    </a:lnTo>
                    <a:lnTo>
                      <a:pt x="72" y="264"/>
                    </a:lnTo>
                    <a:lnTo>
                      <a:pt x="72" y="270"/>
                    </a:lnTo>
                    <a:lnTo>
                      <a:pt x="78" y="276"/>
                    </a:lnTo>
                    <a:lnTo>
                      <a:pt x="90" y="276"/>
                    </a:lnTo>
                    <a:lnTo>
                      <a:pt x="96" y="282"/>
                    </a:lnTo>
                    <a:lnTo>
                      <a:pt x="114" y="282"/>
                    </a:lnTo>
                    <a:lnTo>
                      <a:pt x="120" y="288"/>
                    </a:lnTo>
                    <a:lnTo>
                      <a:pt x="126" y="300"/>
                    </a:lnTo>
                    <a:lnTo>
                      <a:pt x="132" y="306"/>
                    </a:lnTo>
                    <a:lnTo>
                      <a:pt x="138" y="354"/>
                    </a:lnTo>
                    <a:lnTo>
                      <a:pt x="150" y="360"/>
                    </a:lnTo>
                    <a:lnTo>
                      <a:pt x="150" y="372"/>
                    </a:lnTo>
                    <a:lnTo>
                      <a:pt x="144" y="378"/>
                    </a:lnTo>
                    <a:lnTo>
                      <a:pt x="144" y="402"/>
                    </a:lnTo>
                    <a:lnTo>
                      <a:pt x="150" y="414"/>
                    </a:lnTo>
                    <a:lnTo>
                      <a:pt x="150" y="426"/>
                    </a:lnTo>
                    <a:lnTo>
                      <a:pt x="156" y="432"/>
                    </a:lnTo>
                    <a:lnTo>
                      <a:pt x="156" y="438"/>
                    </a:lnTo>
                    <a:lnTo>
                      <a:pt x="186" y="438"/>
                    </a:lnTo>
                    <a:lnTo>
                      <a:pt x="198" y="426"/>
                    </a:lnTo>
                    <a:lnTo>
                      <a:pt x="210" y="420"/>
                    </a:lnTo>
                    <a:lnTo>
                      <a:pt x="210" y="408"/>
                    </a:lnTo>
                    <a:lnTo>
                      <a:pt x="216" y="402"/>
                    </a:lnTo>
                    <a:lnTo>
                      <a:pt x="228" y="396"/>
                    </a:lnTo>
                    <a:lnTo>
                      <a:pt x="246" y="378"/>
                    </a:lnTo>
                    <a:lnTo>
                      <a:pt x="258" y="372"/>
                    </a:lnTo>
                    <a:lnTo>
                      <a:pt x="294" y="372"/>
                    </a:lnTo>
                    <a:lnTo>
                      <a:pt x="306" y="378"/>
                    </a:lnTo>
                    <a:lnTo>
                      <a:pt x="312" y="372"/>
                    </a:lnTo>
                    <a:lnTo>
                      <a:pt x="312" y="366"/>
                    </a:lnTo>
                    <a:lnTo>
                      <a:pt x="372" y="366"/>
                    </a:lnTo>
                    <a:lnTo>
                      <a:pt x="384" y="378"/>
                    </a:lnTo>
                    <a:lnTo>
                      <a:pt x="384" y="390"/>
                    </a:lnTo>
                    <a:lnTo>
                      <a:pt x="414" y="390"/>
                    </a:lnTo>
                    <a:lnTo>
                      <a:pt x="420" y="396"/>
                    </a:lnTo>
                    <a:lnTo>
                      <a:pt x="432" y="402"/>
                    </a:lnTo>
                    <a:lnTo>
                      <a:pt x="438" y="408"/>
                    </a:lnTo>
                    <a:lnTo>
                      <a:pt x="450" y="414"/>
                    </a:lnTo>
                    <a:lnTo>
                      <a:pt x="450" y="408"/>
                    </a:lnTo>
                    <a:lnTo>
                      <a:pt x="468" y="408"/>
                    </a:lnTo>
                    <a:lnTo>
                      <a:pt x="480" y="414"/>
                    </a:lnTo>
                    <a:lnTo>
                      <a:pt x="498" y="414"/>
                    </a:lnTo>
                    <a:lnTo>
                      <a:pt x="510" y="420"/>
                    </a:lnTo>
                    <a:lnTo>
                      <a:pt x="516" y="420"/>
                    </a:lnTo>
                    <a:lnTo>
                      <a:pt x="522" y="426"/>
                    </a:lnTo>
                    <a:lnTo>
                      <a:pt x="522" y="432"/>
                    </a:lnTo>
                    <a:lnTo>
                      <a:pt x="528" y="444"/>
                    </a:lnTo>
                    <a:lnTo>
                      <a:pt x="534" y="450"/>
                    </a:lnTo>
                    <a:lnTo>
                      <a:pt x="540" y="450"/>
                    </a:lnTo>
                    <a:lnTo>
                      <a:pt x="546" y="456"/>
                    </a:lnTo>
                    <a:lnTo>
                      <a:pt x="558" y="456"/>
                    </a:lnTo>
                    <a:lnTo>
                      <a:pt x="570" y="468"/>
                    </a:lnTo>
                    <a:lnTo>
                      <a:pt x="582" y="474"/>
                    </a:lnTo>
                    <a:lnTo>
                      <a:pt x="588" y="486"/>
                    </a:lnTo>
                    <a:lnTo>
                      <a:pt x="594" y="492"/>
                    </a:lnTo>
                    <a:lnTo>
                      <a:pt x="660" y="486"/>
                    </a:lnTo>
                    <a:lnTo>
                      <a:pt x="660" y="522"/>
                    </a:lnTo>
                    <a:lnTo>
                      <a:pt x="672" y="522"/>
                    </a:lnTo>
                    <a:lnTo>
                      <a:pt x="666" y="546"/>
                    </a:lnTo>
                    <a:lnTo>
                      <a:pt x="678" y="576"/>
                    </a:lnTo>
                    <a:lnTo>
                      <a:pt x="684" y="582"/>
                    </a:lnTo>
                    <a:lnTo>
                      <a:pt x="696" y="582"/>
                    </a:lnTo>
                    <a:lnTo>
                      <a:pt x="702" y="588"/>
                    </a:lnTo>
                    <a:lnTo>
                      <a:pt x="714" y="588"/>
                    </a:lnTo>
                    <a:lnTo>
                      <a:pt x="720" y="582"/>
                    </a:lnTo>
                    <a:lnTo>
                      <a:pt x="726" y="582"/>
                    </a:lnTo>
                    <a:lnTo>
                      <a:pt x="750" y="606"/>
                    </a:lnTo>
                    <a:lnTo>
                      <a:pt x="774" y="606"/>
                    </a:lnTo>
                    <a:lnTo>
                      <a:pt x="786" y="600"/>
                    </a:lnTo>
                    <a:lnTo>
                      <a:pt x="792" y="594"/>
                    </a:lnTo>
                    <a:lnTo>
                      <a:pt x="804" y="570"/>
                    </a:lnTo>
                    <a:lnTo>
                      <a:pt x="804" y="558"/>
                    </a:lnTo>
                    <a:lnTo>
                      <a:pt x="816" y="558"/>
                    </a:lnTo>
                    <a:lnTo>
                      <a:pt x="852" y="540"/>
                    </a:lnTo>
                    <a:lnTo>
                      <a:pt x="858" y="528"/>
                    </a:lnTo>
                    <a:lnTo>
                      <a:pt x="870" y="522"/>
                    </a:lnTo>
                    <a:lnTo>
                      <a:pt x="882" y="522"/>
                    </a:lnTo>
                    <a:lnTo>
                      <a:pt x="882" y="462"/>
                    </a:lnTo>
                    <a:lnTo>
                      <a:pt x="888" y="450"/>
                    </a:lnTo>
                    <a:lnTo>
                      <a:pt x="900" y="444"/>
                    </a:lnTo>
                    <a:lnTo>
                      <a:pt x="936" y="444"/>
                    </a:lnTo>
                    <a:lnTo>
                      <a:pt x="936" y="420"/>
                    </a:lnTo>
                    <a:lnTo>
                      <a:pt x="948" y="420"/>
                    </a:lnTo>
                    <a:lnTo>
                      <a:pt x="960" y="426"/>
                    </a:lnTo>
                    <a:lnTo>
                      <a:pt x="966" y="432"/>
                    </a:lnTo>
                    <a:lnTo>
                      <a:pt x="978" y="438"/>
                    </a:lnTo>
                    <a:lnTo>
                      <a:pt x="1008" y="438"/>
                    </a:lnTo>
                    <a:lnTo>
                      <a:pt x="1008" y="426"/>
                    </a:lnTo>
                    <a:lnTo>
                      <a:pt x="996" y="414"/>
                    </a:lnTo>
                    <a:lnTo>
                      <a:pt x="996" y="396"/>
                    </a:lnTo>
                    <a:lnTo>
                      <a:pt x="1002" y="390"/>
                    </a:lnTo>
                    <a:lnTo>
                      <a:pt x="954" y="360"/>
                    </a:lnTo>
                    <a:lnTo>
                      <a:pt x="930" y="366"/>
                    </a:lnTo>
                    <a:lnTo>
                      <a:pt x="924" y="366"/>
                    </a:lnTo>
                    <a:lnTo>
                      <a:pt x="912" y="354"/>
                    </a:lnTo>
                    <a:lnTo>
                      <a:pt x="900" y="354"/>
                    </a:lnTo>
                    <a:lnTo>
                      <a:pt x="888" y="342"/>
                    </a:lnTo>
                    <a:lnTo>
                      <a:pt x="876" y="336"/>
                    </a:lnTo>
                    <a:lnTo>
                      <a:pt x="870" y="330"/>
                    </a:lnTo>
                    <a:lnTo>
                      <a:pt x="846" y="318"/>
                    </a:lnTo>
                    <a:lnTo>
                      <a:pt x="828" y="306"/>
                    </a:lnTo>
                    <a:lnTo>
                      <a:pt x="804" y="306"/>
                    </a:lnTo>
                    <a:lnTo>
                      <a:pt x="774" y="288"/>
                    </a:lnTo>
                    <a:lnTo>
                      <a:pt x="768" y="282"/>
                    </a:lnTo>
                    <a:lnTo>
                      <a:pt x="762" y="270"/>
                    </a:lnTo>
                    <a:lnTo>
                      <a:pt x="750" y="258"/>
                    </a:lnTo>
                    <a:lnTo>
                      <a:pt x="744" y="258"/>
                    </a:lnTo>
                    <a:lnTo>
                      <a:pt x="732" y="252"/>
                    </a:lnTo>
                    <a:lnTo>
                      <a:pt x="714" y="252"/>
                    </a:lnTo>
                    <a:lnTo>
                      <a:pt x="702" y="246"/>
                    </a:lnTo>
                    <a:lnTo>
                      <a:pt x="690" y="234"/>
                    </a:lnTo>
                    <a:lnTo>
                      <a:pt x="672" y="198"/>
                    </a:lnTo>
                    <a:lnTo>
                      <a:pt x="666" y="192"/>
                    </a:lnTo>
                    <a:lnTo>
                      <a:pt x="666" y="186"/>
                    </a:lnTo>
                    <a:lnTo>
                      <a:pt x="648" y="168"/>
                    </a:lnTo>
                    <a:lnTo>
                      <a:pt x="630" y="138"/>
                    </a:lnTo>
                    <a:lnTo>
                      <a:pt x="594" y="120"/>
                    </a:lnTo>
                    <a:lnTo>
                      <a:pt x="594" y="126"/>
                    </a:lnTo>
                    <a:lnTo>
                      <a:pt x="540" y="120"/>
                    </a:lnTo>
                    <a:lnTo>
                      <a:pt x="510" y="120"/>
                    </a:lnTo>
                    <a:lnTo>
                      <a:pt x="492" y="102"/>
                    </a:lnTo>
                    <a:lnTo>
                      <a:pt x="492" y="90"/>
                    </a:lnTo>
                    <a:lnTo>
                      <a:pt x="504" y="78"/>
                    </a:lnTo>
                    <a:lnTo>
                      <a:pt x="492" y="72"/>
                    </a:lnTo>
                    <a:lnTo>
                      <a:pt x="492" y="60"/>
                    </a:lnTo>
                    <a:lnTo>
                      <a:pt x="486" y="48"/>
                    </a:lnTo>
                    <a:lnTo>
                      <a:pt x="480" y="42"/>
                    </a:lnTo>
                    <a:lnTo>
                      <a:pt x="444" y="42"/>
                    </a:lnTo>
                    <a:lnTo>
                      <a:pt x="432" y="36"/>
                    </a:lnTo>
                    <a:lnTo>
                      <a:pt x="432" y="24"/>
                    </a:lnTo>
                    <a:lnTo>
                      <a:pt x="408" y="24"/>
                    </a:lnTo>
                    <a:lnTo>
                      <a:pt x="390" y="0"/>
                    </a:lnTo>
                    <a:lnTo>
                      <a:pt x="384" y="12"/>
                    </a:lnTo>
                    <a:lnTo>
                      <a:pt x="354" y="6"/>
                    </a:lnTo>
                    <a:lnTo>
                      <a:pt x="384" y="36"/>
                    </a:lnTo>
                    <a:lnTo>
                      <a:pt x="378" y="30"/>
                    </a:lnTo>
                    <a:lnTo>
                      <a:pt x="366" y="30"/>
                    </a:lnTo>
                    <a:lnTo>
                      <a:pt x="360" y="24"/>
                    </a:lnTo>
                    <a:lnTo>
                      <a:pt x="354" y="24"/>
                    </a:lnTo>
                    <a:lnTo>
                      <a:pt x="348" y="30"/>
                    </a:lnTo>
                    <a:lnTo>
                      <a:pt x="348" y="42"/>
                    </a:lnTo>
                    <a:lnTo>
                      <a:pt x="342" y="42"/>
                    </a:lnTo>
                    <a:lnTo>
                      <a:pt x="336" y="48"/>
                    </a:lnTo>
                    <a:lnTo>
                      <a:pt x="324" y="48"/>
                    </a:lnTo>
                    <a:lnTo>
                      <a:pt x="312" y="54"/>
                    </a:lnTo>
                    <a:lnTo>
                      <a:pt x="294" y="72"/>
                    </a:lnTo>
                    <a:lnTo>
                      <a:pt x="294" y="84"/>
                    </a:lnTo>
                    <a:lnTo>
                      <a:pt x="300" y="102"/>
                    </a:lnTo>
                    <a:lnTo>
                      <a:pt x="312" y="108"/>
                    </a:lnTo>
                    <a:lnTo>
                      <a:pt x="318" y="120"/>
                    </a:lnTo>
                    <a:lnTo>
                      <a:pt x="252" y="120"/>
                    </a:lnTo>
                    <a:lnTo>
                      <a:pt x="240" y="108"/>
                    </a:lnTo>
                    <a:lnTo>
                      <a:pt x="228" y="108"/>
                    </a:lnTo>
                    <a:lnTo>
                      <a:pt x="228" y="114"/>
                    </a:lnTo>
                    <a:lnTo>
                      <a:pt x="216" y="126"/>
                    </a:lnTo>
                    <a:lnTo>
                      <a:pt x="210" y="120"/>
                    </a:lnTo>
                    <a:lnTo>
                      <a:pt x="198" y="114"/>
                    </a:lnTo>
                    <a:lnTo>
                      <a:pt x="174" y="90"/>
                    </a:lnTo>
                    <a:lnTo>
                      <a:pt x="168" y="78"/>
                    </a:lnTo>
                    <a:lnTo>
                      <a:pt x="162" y="72"/>
                    </a:lnTo>
                    <a:lnTo>
                      <a:pt x="156" y="60"/>
                    </a:lnTo>
                    <a:lnTo>
                      <a:pt x="144" y="54"/>
                    </a:lnTo>
                    <a:lnTo>
                      <a:pt x="132" y="42"/>
                    </a:lnTo>
                    <a:lnTo>
                      <a:pt x="120" y="42"/>
                    </a:lnTo>
                    <a:lnTo>
                      <a:pt x="96" y="30"/>
                    </a:lnTo>
                    <a:lnTo>
                      <a:pt x="78" y="30"/>
                    </a:lnTo>
                    <a:lnTo>
                      <a:pt x="72" y="36"/>
                    </a:lnTo>
                    <a:lnTo>
                      <a:pt x="72" y="48"/>
                    </a:lnTo>
                    <a:lnTo>
                      <a:pt x="84" y="54"/>
                    </a:lnTo>
                    <a:lnTo>
                      <a:pt x="90" y="54"/>
                    </a:lnTo>
                    <a:lnTo>
                      <a:pt x="90" y="66"/>
                    </a:lnTo>
                    <a:lnTo>
                      <a:pt x="96" y="66"/>
                    </a:lnTo>
                    <a:lnTo>
                      <a:pt x="96" y="72"/>
                    </a:lnTo>
                    <a:lnTo>
                      <a:pt x="102" y="84"/>
                    </a:lnTo>
                    <a:lnTo>
                      <a:pt x="114" y="90"/>
                    </a:lnTo>
                    <a:lnTo>
                      <a:pt x="126" y="102"/>
                    </a:lnTo>
                    <a:lnTo>
                      <a:pt x="138" y="108"/>
                    </a:lnTo>
                    <a:lnTo>
                      <a:pt x="150" y="120"/>
                    </a:lnTo>
                    <a:lnTo>
                      <a:pt x="162" y="126"/>
                    </a:lnTo>
                    <a:lnTo>
                      <a:pt x="162" y="150"/>
                    </a:lnTo>
                    <a:lnTo>
                      <a:pt x="156" y="156"/>
                    </a:lnTo>
                    <a:lnTo>
                      <a:pt x="144" y="156"/>
                    </a:lnTo>
                    <a:lnTo>
                      <a:pt x="132" y="150"/>
                    </a:lnTo>
                    <a:lnTo>
                      <a:pt x="120" y="138"/>
                    </a:lnTo>
                    <a:lnTo>
                      <a:pt x="120" y="162"/>
                    </a:lnTo>
                    <a:lnTo>
                      <a:pt x="78" y="162"/>
                    </a:lnTo>
                    <a:lnTo>
                      <a:pt x="66" y="144"/>
                    </a:lnTo>
                    <a:lnTo>
                      <a:pt x="60" y="150"/>
                    </a:lnTo>
                    <a:lnTo>
                      <a:pt x="48" y="138"/>
                    </a:lnTo>
                    <a:lnTo>
                      <a:pt x="42" y="126"/>
                    </a:lnTo>
                    <a:lnTo>
                      <a:pt x="36" y="120"/>
                    </a:lnTo>
                    <a:lnTo>
                      <a:pt x="36" y="102"/>
                    </a:lnTo>
                    <a:lnTo>
                      <a:pt x="30" y="96"/>
                    </a:lnTo>
                    <a:lnTo>
                      <a:pt x="30" y="84"/>
                    </a:lnTo>
                    <a:lnTo>
                      <a:pt x="24" y="78"/>
                    </a:lnTo>
                    <a:lnTo>
                      <a:pt x="0" y="78"/>
                    </a:lnTo>
                    <a:lnTo>
                      <a:pt x="0" y="84"/>
                    </a:lnTo>
                    <a:lnTo>
                      <a:pt x="6" y="90"/>
                    </a:lnTo>
                    <a:lnTo>
                      <a:pt x="12" y="102"/>
                    </a:lnTo>
                    <a:lnTo>
                      <a:pt x="18" y="108"/>
                    </a:lnTo>
                    <a:lnTo>
                      <a:pt x="24" y="120"/>
                    </a:lnTo>
                    <a:lnTo>
                      <a:pt x="36" y="126"/>
                    </a:lnTo>
                    <a:lnTo>
                      <a:pt x="42" y="138"/>
                    </a:lnTo>
                    <a:lnTo>
                      <a:pt x="48" y="144"/>
                    </a:lnTo>
                    <a:lnTo>
                      <a:pt x="48" y="150"/>
                    </a:lnTo>
                    <a:close/>
                  </a:path>
                </a:pathLst>
              </a:custGeom>
              <a:solidFill>
                <a:srgbClr val="9D90A0">
                  <a:lumMod val="40000"/>
                  <a:lumOff val="60000"/>
                </a:srgbClr>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63" name="Turkey" descr="© INSCALE GmbH, 05.05.2010&#10;http://www.presentationload.com/">
                <a:extLst>
                  <a:ext uri="{FF2B5EF4-FFF2-40B4-BE49-F238E27FC236}">
                    <a16:creationId xmlns:a16="http://schemas.microsoft.com/office/drawing/2014/main" id="{1887415F-249A-499B-8CDD-FED7F7E9C65C}"/>
                  </a:ext>
                </a:extLst>
              </p:cNvPr>
              <p:cNvSpPr>
                <a:spLocks noEditPoints="1"/>
              </p:cNvSpPr>
              <p:nvPr/>
            </p:nvSpPr>
            <p:spPr bwMode="gray">
              <a:xfrm>
                <a:off x="4888584" y="3060448"/>
                <a:ext cx="525690" cy="223518"/>
              </a:xfrm>
              <a:custGeom>
                <a:avLst/>
                <a:gdLst>
                  <a:gd name="T0" fmla="*/ 2147483647 w 1332"/>
                  <a:gd name="T1" fmla="*/ 2147483647 h 510"/>
                  <a:gd name="T2" fmla="*/ 2147483647 w 1332"/>
                  <a:gd name="T3" fmla="*/ 2147483647 h 510"/>
                  <a:gd name="T4" fmla="*/ 2147483647 w 1332"/>
                  <a:gd name="T5" fmla="*/ 2147483647 h 510"/>
                  <a:gd name="T6" fmla="*/ 2147483647 w 1332"/>
                  <a:gd name="T7" fmla="*/ 2147483647 h 510"/>
                  <a:gd name="T8" fmla="*/ 2147483647 w 1332"/>
                  <a:gd name="T9" fmla="*/ 2147483647 h 510"/>
                  <a:gd name="T10" fmla="*/ 2147483647 w 1332"/>
                  <a:gd name="T11" fmla="*/ 2147483647 h 510"/>
                  <a:gd name="T12" fmla="*/ 2147483647 w 1332"/>
                  <a:gd name="T13" fmla="*/ 2147483647 h 510"/>
                  <a:gd name="T14" fmla="*/ 2147483647 w 1332"/>
                  <a:gd name="T15" fmla="*/ 2147483647 h 510"/>
                  <a:gd name="T16" fmla="*/ 2147483647 w 1332"/>
                  <a:gd name="T17" fmla="*/ 2147483647 h 510"/>
                  <a:gd name="T18" fmla="*/ 2147483647 w 1332"/>
                  <a:gd name="T19" fmla="*/ 2147483647 h 510"/>
                  <a:gd name="T20" fmla="*/ 2147483647 w 1332"/>
                  <a:gd name="T21" fmla="*/ 2147483647 h 510"/>
                  <a:gd name="T22" fmla="*/ 2147483647 w 1332"/>
                  <a:gd name="T23" fmla="*/ 2147483647 h 510"/>
                  <a:gd name="T24" fmla="*/ 2147483647 w 1332"/>
                  <a:gd name="T25" fmla="*/ 2147483647 h 510"/>
                  <a:gd name="T26" fmla="*/ 2147483647 w 1332"/>
                  <a:gd name="T27" fmla="*/ 2147483647 h 510"/>
                  <a:gd name="T28" fmla="*/ 2147483647 w 1332"/>
                  <a:gd name="T29" fmla="*/ 2147483647 h 510"/>
                  <a:gd name="T30" fmla="*/ 2147483647 w 1332"/>
                  <a:gd name="T31" fmla="*/ 2147483647 h 510"/>
                  <a:gd name="T32" fmla="*/ 2147483647 w 1332"/>
                  <a:gd name="T33" fmla="*/ 2147483647 h 510"/>
                  <a:gd name="T34" fmla="*/ 2147483647 w 1332"/>
                  <a:gd name="T35" fmla="*/ 2147483647 h 510"/>
                  <a:gd name="T36" fmla="*/ 2147483647 w 1332"/>
                  <a:gd name="T37" fmla="*/ 2147483647 h 510"/>
                  <a:gd name="T38" fmla="*/ 2147483647 w 1332"/>
                  <a:gd name="T39" fmla="*/ 2147483647 h 510"/>
                  <a:gd name="T40" fmla="*/ 2147483647 w 1332"/>
                  <a:gd name="T41" fmla="*/ 2147483647 h 510"/>
                  <a:gd name="T42" fmla="*/ 2147483647 w 1332"/>
                  <a:gd name="T43" fmla="*/ 2147483647 h 510"/>
                  <a:gd name="T44" fmla="*/ 2147483647 w 1332"/>
                  <a:gd name="T45" fmla="*/ 2147483647 h 510"/>
                  <a:gd name="T46" fmla="*/ 2147483647 w 1332"/>
                  <a:gd name="T47" fmla="*/ 2147483647 h 510"/>
                  <a:gd name="T48" fmla="*/ 2147483647 w 1332"/>
                  <a:gd name="T49" fmla="*/ 2147483647 h 510"/>
                  <a:gd name="T50" fmla="*/ 2147483647 w 1332"/>
                  <a:gd name="T51" fmla="*/ 2147483647 h 510"/>
                  <a:gd name="T52" fmla="*/ 2147483647 w 1332"/>
                  <a:gd name="T53" fmla="*/ 2147483647 h 510"/>
                  <a:gd name="T54" fmla="*/ 2147483647 w 1332"/>
                  <a:gd name="T55" fmla="*/ 2147483647 h 510"/>
                  <a:gd name="T56" fmla="*/ 2147483647 w 1332"/>
                  <a:gd name="T57" fmla="*/ 2147483647 h 510"/>
                  <a:gd name="T58" fmla="*/ 2147483647 w 1332"/>
                  <a:gd name="T59" fmla="*/ 2147483647 h 510"/>
                  <a:gd name="T60" fmla="*/ 2147483647 w 1332"/>
                  <a:gd name="T61" fmla="*/ 2147483647 h 510"/>
                  <a:gd name="T62" fmla="*/ 2147483647 w 1332"/>
                  <a:gd name="T63" fmla="*/ 2147483647 h 510"/>
                  <a:gd name="T64" fmla="*/ 2147483647 w 1332"/>
                  <a:gd name="T65" fmla="*/ 2147483647 h 510"/>
                  <a:gd name="T66" fmla="*/ 2147483647 w 1332"/>
                  <a:gd name="T67" fmla="*/ 2147483647 h 510"/>
                  <a:gd name="T68" fmla="*/ 2147483647 w 1332"/>
                  <a:gd name="T69" fmla="*/ 2147483647 h 510"/>
                  <a:gd name="T70" fmla="*/ 2147483647 w 1332"/>
                  <a:gd name="T71" fmla="*/ 2147483647 h 510"/>
                  <a:gd name="T72" fmla="*/ 2147483647 w 1332"/>
                  <a:gd name="T73" fmla="*/ 2147483647 h 510"/>
                  <a:gd name="T74" fmla="*/ 2147483647 w 1332"/>
                  <a:gd name="T75" fmla="*/ 2147483647 h 510"/>
                  <a:gd name="T76" fmla="*/ 2147483647 w 1332"/>
                  <a:gd name="T77" fmla="*/ 2147483647 h 510"/>
                  <a:gd name="T78" fmla="*/ 2147483647 w 1332"/>
                  <a:gd name="T79" fmla="*/ 2147483647 h 510"/>
                  <a:gd name="T80" fmla="*/ 2147483647 w 1332"/>
                  <a:gd name="T81" fmla="*/ 2147483647 h 510"/>
                  <a:gd name="T82" fmla="*/ 2147483647 w 1332"/>
                  <a:gd name="T83" fmla="*/ 2147483647 h 510"/>
                  <a:gd name="T84" fmla="*/ 2147483647 w 1332"/>
                  <a:gd name="T85" fmla="*/ 2147483647 h 510"/>
                  <a:gd name="T86" fmla="*/ 2147483647 w 1332"/>
                  <a:gd name="T87" fmla="*/ 2147483647 h 510"/>
                  <a:gd name="T88" fmla="*/ 2147483647 w 1332"/>
                  <a:gd name="T89" fmla="*/ 2147483647 h 510"/>
                  <a:gd name="T90" fmla="*/ 2147483647 w 1332"/>
                  <a:gd name="T91" fmla="*/ 2147483647 h 510"/>
                  <a:gd name="T92" fmla="*/ 2147483647 w 1332"/>
                  <a:gd name="T93" fmla="*/ 2147483647 h 510"/>
                  <a:gd name="T94" fmla="*/ 2147483647 w 1332"/>
                  <a:gd name="T95" fmla="*/ 2147483647 h 510"/>
                  <a:gd name="T96" fmla="*/ 2147483647 w 1332"/>
                  <a:gd name="T97" fmla="*/ 2147483647 h 510"/>
                  <a:gd name="T98" fmla="*/ 2147483647 w 1332"/>
                  <a:gd name="T99" fmla="*/ 2147483647 h 510"/>
                  <a:gd name="T100" fmla="*/ 2147483647 w 1332"/>
                  <a:gd name="T101" fmla="*/ 2147483647 h 510"/>
                  <a:gd name="T102" fmla="*/ 2147483647 w 1332"/>
                  <a:gd name="T103" fmla="*/ 2147483647 h 510"/>
                  <a:gd name="T104" fmla="*/ 2147483647 w 1332"/>
                  <a:gd name="T105" fmla="*/ 2147483647 h 510"/>
                  <a:gd name="T106" fmla="*/ 2147483647 w 1332"/>
                  <a:gd name="T107" fmla="*/ 2147483647 h 510"/>
                  <a:gd name="T108" fmla="*/ 2147483647 w 1332"/>
                  <a:gd name="T109" fmla="*/ 2147483647 h 510"/>
                  <a:gd name="T110" fmla="*/ 2147483647 w 1332"/>
                  <a:gd name="T111" fmla="*/ 2147483647 h 510"/>
                  <a:gd name="T112" fmla="*/ 2147483647 w 1332"/>
                  <a:gd name="T113" fmla="*/ 2147483647 h 510"/>
                  <a:gd name="T114" fmla="*/ 2147483647 w 1332"/>
                  <a:gd name="T115" fmla="*/ 2147483647 h 51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332"/>
                  <a:gd name="T175" fmla="*/ 0 h 510"/>
                  <a:gd name="T176" fmla="*/ 1332 w 1332"/>
                  <a:gd name="T177" fmla="*/ 510 h 51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332" h="510">
                    <a:moveTo>
                      <a:pt x="6" y="192"/>
                    </a:moveTo>
                    <a:lnTo>
                      <a:pt x="24" y="186"/>
                    </a:lnTo>
                    <a:lnTo>
                      <a:pt x="30" y="174"/>
                    </a:lnTo>
                    <a:lnTo>
                      <a:pt x="0" y="174"/>
                    </a:lnTo>
                    <a:lnTo>
                      <a:pt x="6" y="192"/>
                    </a:lnTo>
                    <a:close/>
                    <a:moveTo>
                      <a:pt x="42" y="162"/>
                    </a:moveTo>
                    <a:lnTo>
                      <a:pt x="42" y="168"/>
                    </a:lnTo>
                    <a:lnTo>
                      <a:pt x="48" y="174"/>
                    </a:lnTo>
                    <a:lnTo>
                      <a:pt x="60" y="174"/>
                    </a:lnTo>
                    <a:lnTo>
                      <a:pt x="60" y="162"/>
                    </a:lnTo>
                    <a:lnTo>
                      <a:pt x="54" y="156"/>
                    </a:lnTo>
                    <a:lnTo>
                      <a:pt x="54" y="150"/>
                    </a:lnTo>
                    <a:lnTo>
                      <a:pt x="48" y="150"/>
                    </a:lnTo>
                    <a:lnTo>
                      <a:pt x="48" y="156"/>
                    </a:lnTo>
                    <a:lnTo>
                      <a:pt x="42" y="162"/>
                    </a:lnTo>
                    <a:close/>
                    <a:moveTo>
                      <a:pt x="96" y="138"/>
                    </a:moveTo>
                    <a:lnTo>
                      <a:pt x="66" y="138"/>
                    </a:lnTo>
                    <a:lnTo>
                      <a:pt x="66" y="174"/>
                    </a:lnTo>
                    <a:lnTo>
                      <a:pt x="78" y="150"/>
                    </a:lnTo>
                    <a:lnTo>
                      <a:pt x="96" y="138"/>
                    </a:lnTo>
                    <a:close/>
                    <a:moveTo>
                      <a:pt x="1332" y="402"/>
                    </a:moveTo>
                    <a:lnTo>
                      <a:pt x="1332" y="390"/>
                    </a:lnTo>
                    <a:lnTo>
                      <a:pt x="1308" y="384"/>
                    </a:lnTo>
                    <a:lnTo>
                      <a:pt x="1308" y="354"/>
                    </a:lnTo>
                    <a:lnTo>
                      <a:pt x="1272" y="336"/>
                    </a:lnTo>
                    <a:lnTo>
                      <a:pt x="1278" y="330"/>
                    </a:lnTo>
                    <a:lnTo>
                      <a:pt x="1284" y="318"/>
                    </a:lnTo>
                    <a:lnTo>
                      <a:pt x="1284" y="312"/>
                    </a:lnTo>
                    <a:lnTo>
                      <a:pt x="1290" y="306"/>
                    </a:lnTo>
                    <a:lnTo>
                      <a:pt x="1284" y="306"/>
                    </a:lnTo>
                    <a:lnTo>
                      <a:pt x="1278" y="300"/>
                    </a:lnTo>
                    <a:lnTo>
                      <a:pt x="1278" y="288"/>
                    </a:lnTo>
                    <a:lnTo>
                      <a:pt x="1266" y="276"/>
                    </a:lnTo>
                    <a:lnTo>
                      <a:pt x="1266" y="246"/>
                    </a:lnTo>
                    <a:lnTo>
                      <a:pt x="1248" y="222"/>
                    </a:lnTo>
                    <a:lnTo>
                      <a:pt x="1272" y="222"/>
                    </a:lnTo>
                    <a:lnTo>
                      <a:pt x="1272" y="216"/>
                    </a:lnTo>
                    <a:lnTo>
                      <a:pt x="1278" y="210"/>
                    </a:lnTo>
                    <a:lnTo>
                      <a:pt x="1272" y="198"/>
                    </a:lnTo>
                    <a:lnTo>
                      <a:pt x="1272" y="186"/>
                    </a:lnTo>
                    <a:lnTo>
                      <a:pt x="1266" y="180"/>
                    </a:lnTo>
                    <a:lnTo>
                      <a:pt x="1266" y="174"/>
                    </a:lnTo>
                    <a:lnTo>
                      <a:pt x="1260" y="174"/>
                    </a:lnTo>
                    <a:lnTo>
                      <a:pt x="1248" y="180"/>
                    </a:lnTo>
                    <a:lnTo>
                      <a:pt x="1236" y="180"/>
                    </a:lnTo>
                    <a:lnTo>
                      <a:pt x="1224" y="174"/>
                    </a:lnTo>
                    <a:lnTo>
                      <a:pt x="1218" y="168"/>
                    </a:lnTo>
                    <a:lnTo>
                      <a:pt x="1212" y="156"/>
                    </a:lnTo>
                    <a:lnTo>
                      <a:pt x="1212" y="144"/>
                    </a:lnTo>
                    <a:lnTo>
                      <a:pt x="1200" y="108"/>
                    </a:lnTo>
                    <a:lnTo>
                      <a:pt x="1194" y="96"/>
                    </a:lnTo>
                    <a:lnTo>
                      <a:pt x="1194" y="84"/>
                    </a:lnTo>
                    <a:lnTo>
                      <a:pt x="1188" y="78"/>
                    </a:lnTo>
                    <a:lnTo>
                      <a:pt x="1164" y="78"/>
                    </a:lnTo>
                    <a:lnTo>
                      <a:pt x="1164" y="72"/>
                    </a:lnTo>
                    <a:lnTo>
                      <a:pt x="1158" y="60"/>
                    </a:lnTo>
                    <a:lnTo>
                      <a:pt x="1152" y="54"/>
                    </a:lnTo>
                    <a:lnTo>
                      <a:pt x="1140" y="48"/>
                    </a:lnTo>
                    <a:lnTo>
                      <a:pt x="1128" y="48"/>
                    </a:lnTo>
                    <a:lnTo>
                      <a:pt x="1116" y="54"/>
                    </a:lnTo>
                    <a:lnTo>
                      <a:pt x="1110" y="60"/>
                    </a:lnTo>
                    <a:lnTo>
                      <a:pt x="1074" y="54"/>
                    </a:lnTo>
                    <a:lnTo>
                      <a:pt x="1062" y="66"/>
                    </a:lnTo>
                    <a:lnTo>
                      <a:pt x="1026" y="90"/>
                    </a:lnTo>
                    <a:lnTo>
                      <a:pt x="1014" y="96"/>
                    </a:lnTo>
                    <a:lnTo>
                      <a:pt x="930" y="96"/>
                    </a:lnTo>
                    <a:lnTo>
                      <a:pt x="876" y="108"/>
                    </a:lnTo>
                    <a:lnTo>
                      <a:pt x="810" y="84"/>
                    </a:lnTo>
                    <a:lnTo>
                      <a:pt x="786" y="96"/>
                    </a:lnTo>
                    <a:lnTo>
                      <a:pt x="786" y="90"/>
                    </a:lnTo>
                    <a:lnTo>
                      <a:pt x="780" y="84"/>
                    </a:lnTo>
                    <a:lnTo>
                      <a:pt x="774" y="72"/>
                    </a:lnTo>
                    <a:lnTo>
                      <a:pt x="768" y="66"/>
                    </a:lnTo>
                    <a:lnTo>
                      <a:pt x="756" y="66"/>
                    </a:lnTo>
                    <a:lnTo>
                      <a:pt x="744" y="72"/>
                    </a:lnTo>
                    <a:lnTo>
                      <a:pt x="738" y="78"/>
                    </a:lnTo>
                    <a:lnTo>
                      <a:pt x="708" y="60"/>
                    </a:lnTo>
                    <a:lnTo>
                      <a:pt x="708" y="36"/>
                    </a:lnTo>
                    <a:lnTo>
                      <a:pt x="660" y="48"/>
                    </a:lnTo>
                    <a:lnTo>
                      <a:pt x="636" y="30"/>
                    </a:lnTo>
                    <a:lnTo>
                      <a:pt x="630" y="12"/>
                    </a:lnTo>
                    <a:lnTo>
                      <a:pt x="624" y="12"/>
                    </a:lnTo>
                    <a:lnTo>
                      <a:pt x="618" y="18"/>
                    </a:lnTo>
                    <a:lnTo>
                      <a:pt x="600" y="18"/>
                    </a:lnTo>
                    <a:lnTo>
                      <a:pt x="588" y="24"/>
                    </a:lnTo>
                    <a:lnTo>
                      <a:pt x="558" y="24"/>
                    </a:lnTo>
                    <a:lnTo>
                      <a:pt x="534" y="18"/>
                    </a:lnTo>
                    <a:lnTo>
                      <a:pt x="504" y="18"/>
                    </a:lnTo>
                    <a:lnTo>
                      <a:pt x="492" y="24"/>
                    </a:lnTo>
                    <a:lnTo>
                      <a:pt x="456" y="36"/>
                    </a:lnTo>
                    <a:lnTo>
                      <a:pt x="444" y="42"/>
                    </a:lnTo>
                    <a:lnTo>
                      <a:pt x="438" y="48"/>
                    </a:lnTo>
                    <a:lnTo>
                      <a:pt x="426" y="54"/>
                    </a:lnTo>
                    <a:lnTo>
                      <a:pt x="414" y="66"/>
                    </a:lnTo>
                    <a:lnTo>
                      <a:pt x="408" y="66"/>
                    </a:lnTo>
                    <a:lnTo>
                      <a:pt x="396" y="90"/>
                    </a:lnTo>
                    <a:lnTo>
                      <a:pt x="378" y="90"/>
                    </a:lnTo>
                    <a:lnTo>
                      <a:pt x="354" y="84"/>
                    </a:lnTo>
                    <a:lnTo>
                      <a:pt x="294" y="84"/>
                    </a:lnTo>
                    <a:lnTo>
                      <a:pt x="282" y="78"/>
                    </a:lnTo>
                    <a:lnTo>
                      <a:pt x="264" y="78"/>
                    </a:lnTo>
                    <a:lnTo>
                      <a:pt x="252" y="72"/>
                    </a:lnTo>
                    <a:lnTo>
                      <a:pt x="240" y="72"/>
                    </a:lnTo>
                    <a:lnTo>
                      <a:pt x="234" y="66"/>
                    </a:lnTo>
                    <a:lnTo>
                      <a:pt x="198" y="66"/>
                    </a:lnTo>
                    <a:lnTo>
                      <a:pt x="186" y="54"/>
                    </a:lnTo>
                    <a:lnTo>
                      <a:pt x="180" y="36"/>
                    </a:lnTo>
                    <a:lnTo>
                      <a:pt x="180" y="24"/>
                    </a:lnTo>
                    <a:lnTo>
                      <a:pt x="168" y="24"/>
                    </a:lnTo>
                    <a:lnTo>
                      <a:pt x="156" y="18"/>
                    </a:lnTo>
                    <a:lnTo>
                      <a:pt x="144" y="18"/>
                    </a:lnTo>
                    <a:lnTo>
                      <a:pt x="132" y="0"/>
                    </a:lnTo>
                    <a:lnTo>
                      <a:pt x="120" y="18"/>
                    </a:lnTo>
                    <a:lnTo>
                      <a:pt x="90" y="12"/>
                    </a:lnTo>
                    <a:lnTo>
                      <a:pt x="72" y="36"/>
                    </a:lnTo>
                    <a:lnTo>
                      <a:pt x="78" y="42"/>
                    </a:lnTo>
                    <a:lnTo>
                      <a:pt x="90" y="42"/>
                    </a:lnTo>
                    <a:lnTo>
                      <a:pt x="90" y="48"/>
                    </a:lnTo>
                    <a:lnTo>
                      <a:pt x="96" y="54"/>
                    </a:lnTo>
                    <a:lnTo>
                      <a:pt x="96" y="66"/>
                    </a:lnTo>
                    <a:lnTo>
                      <a:pt x="78" y="66"/>
                    </a:lnTo>
                    <a:lnTo>
                      <a:pt x="72" y="72"/>
                    </a:lnTo>
                    <a:lnTo>
                      <a:pt x="72" y="78"/>
                    </a:lnTo>
                    <a:lnTo>
                      <a:pt x="78" y="84"/>
                    </a:lnTo>
                    <a:lnTo>
                      <a:pt x="78" y="96"/>
                    </a:lnTo>
                    <a:lnTo>
                      <a:pt x="72" y="108"/>
                    </a:lnTo>
                    <a:lnTo>
                      <a:pt x="72" y="114"/>
                    </a:lnTo>
                    <a:lnTo>
                      <a:pt x="66" y="120"/>
                    </a:lnTo>
                    <a:lnTo>
                      <a:pt x="66" y="132"/>
                    </a:lnTo>
                    <a:lnTo>
                      <a:pt x="72" y="132"/>
                    </a:lnTo>
                    <a:lnTo>
                      <a:pt x="90" y="126"/>
                    </a:lnTo>
                    <a:lnTo>
                      <a:pt x="102" y="126"/>
                    </a:lnTo>
                    <a:lnTo>
                      <a:pt x="108" y="120"/>
                    </a:lnTo>
                    <a:lnTo>
                      <a:pt x="114" y="120"/>
                    </a:lnTo>
                    <a:lnTo>
                      <a:pt x="114" y="132"/>
                    </a:lnTo>
                    <a:lnTo>
                      <a:pt x="120" y="132"/>
                    </a:lnTo>
                    <a:lnTo>
                      <a:pt x="126" y="126"/>
                    </a:lnTo>
                    <a:lnTo>
                      <a:pt x="138" y="120"/>
                    </a:lnTo>
                    <a:lnTo>
                      <a:pt x="162" y="96"/>
                    </a:lnTo>
                    <a:lnTo>
                      <a:pt x="168" y="96"/>
                    </a:lnTo>
                    <a:lnTo>
                      <a:pt x="174" y="90"/>
                    </a:lnTo>
                    <a:lnTo>
                      <a:pt x="186" y="90"/>
                    </a:lnTo>
                    <a:lnTo>
                      <a:pt x="204" y="84"/>
                    </a:lnTo>
                    <a:lnTo>
                      <a:pt x="216" y="84"/>
                    </a:lnTo>
                    <a:lnTo>
                      <a:pt x="252" y="102"/>
                    </a:lnTo>
                    <a:lnTo>
                      <a:pt x="270" y="108"/>
                    </a:lnTo>
                    <a:lnTo>
                      <a:pt x="282" y="108"/>
                    </a:lnTo>
                    <a:lnTo>
                      <a:pt x="288" y="114"/>
                    </a:lnTo>
                    <a:lnTo>
                      <a:pt x="294" y="114"/>
                    </a:lnTo>
                    <a:lnTo>
                      <a:pt x="270" y="114"/>
                    </a:lnTo>
                    <a:lnTo>
                      <a:pt x="258" y="120"/>
                    </a:lnTo>
                    <a:lnTo>
                      <a:pt x="246" y="120"/>
                    </a:lnTo>
                    <a:lnTo>
                      <a:pt x="246" y="132"/>
                    </a:lnTo>
                    <a:lnTo>
                      <a:pt x="240" y="138"/>
                    </a:lnTo>
                    <a:lnTo>
                      <a:pt x="186" y="144"/>
                    </a:lnTo>
                    <a:lnTo>
                      <a:pt x="138" y="138"/>
                    </a:lnTo>
                    <a:lnTo>
                      <a:pt x="120" y="138"/>
                    </a:lnTo>
                    <a:lnTo>
                      <a:pt x="96" y="150"/>
                    </a:lnTo>
                    <a:lnTo>
                      <a:pt x="84" y="162"/>
                    </a:lnTo>
                    <a:lnTo>
                      <a:pt x="84" y="174"/>
                    </a:lnTo>
                    <a:lnTo>
                      <a:pt x="78" y="192"/>
                    </a:lnTo>
                    <a:lnTo>
                      <a:pt x="78" y="204"/>
                    </a:lnTo>
                    <a:lnTo>
                      <a:pt x="72" y="210"/>
                    </a:lnTo>
                    <a:lnTo>
                      <a:pt x="72" y="216"/>
                    </a:lnTo>
                    <a:lnTo>
                      <a:pt x="114" y="216"/>
                    </a:lnTo>
                    <a:lnTo>
                      <a:pt x="114" y="240"/>
                    </a:lnTo>
                    <a:lnTo>
                      <a:pt x="120" y="246"/>
                    </a:lnTo>
                    <a:lnTo>
                      <a:pt x="126" y="258"/>
                    </a:lnTo>
                    <a:lnTo>
                      <a:pt x="132" y="264"/>
                    </a:lnTo>
                    <a:lnTo>
                      <a:pt x="126" y="282"/>
                    </a:lnTo>
                    <a:lnTo>
                      <a:pt x="138" y="300"/>
                    </a:lnTo>
                    <a:lnTo>
                      <a:pt x="126" y="318"/>
                    </a:lnTo>
                    <a:lnTo>
                      <a:pt x="162" y="354"/>
                    </a:lnTo>
                    <a:lnTo>
                      <a:pt x="156" y="390"/>
                    </a:lnTo>
                    <a:lnTo>
                      <a:pt x="210" y="414"/>
                    </a:lnTo>
                    <a:lnTo>
                      <a:pt x="216" y="444"/>
                    </a:lnTo>
                    <a:lnTo>
                      <a:pt x="216" y="438"/>
                    </a:lnTo>
                    <a:lnTo>
                      <a:pt x="222" y="438"/>
                    </a:lnTo>
                    <a:lnTo>
                      <a:pt x="222" y="432"/>
                    </a:lnTo>
                    <a:lnTo>
                      <a:pt x="228" y="432"/>
                    </a:lnTo>
                    <a:lnTo>
                      <a:pt x="252" y="444"/>
                    </a:lnTo>
                    <a:lnTo>
                      <a:pt x="258" y="444"/>
                    </a:lnTo>
                    <a:lnTo>
                      <a:pt x="264" y="450"/>
                    </a:lnTo>
                    <a:lnTo>
                      <a:pt x="270" y="462"/>
                    </a:lnTo>
                    <a:lnTo>
                      <a:pt x="282" y="468"/>
                    </a:lnTo>
                    <a:lnTo>
                      <a:pt x="294" y="468"/>
                    </a:lnTo>
                    <a:lnTo>
                      <a:pt x="312" y="474"/>
                    </a:lnTo>
                    <a:lnTo>
                      <a:pt x="372" y="474"/>
                    </a:lnTo>
                    <a:lnTo>
                      <a:pt x="372" y="450"/>
                    </a:lnTo>
                    <a:lnTo>
                      <a:pt x="378" y="438"/>
                    </a:lnTo>
                    <a:lnTo>
                      <a:pt x="390" y="426"/>
                    </a:lnTo>
                    <a:lnTo>
                      <a:pt x="408" y="426"/>
                    </a:lnTo>
                    <a:lnTo>
                      <a:pt x="432" y="432"/>
                    </a:lnTo>
                    <a:lnTo>
                      <a:pt x="468" y="444"/>
                    </a:lnTo>
                    <a:lnTo>
                      <a:pt x="474" y="450"/>
                    </a:lnTo>
                    <a:lnTo>
                      <a:pt x="480" y="450"/>
                    </a:lnTo>
                    <a:lnTo>
                      <a:pt x="480" y="456"/>
                    </a:lnTo>
                    <a:lnTo>
                      <a:pt x="486" y="468"/>
                    </a:lnTo>
                    <a:lnTo>
                      <a:pt x="486" y="474"/>
                    </a:lnTo>
                    <a:lnTo>
                      <a:pt x="492" y="480"/>
                    </a:lnTo>
                    <a:lnTo>
                      <a:pt x="504" y="486"/>
                    </a:lnTo>
                    <a:lnTo>
                      <a:pt x="564" y="486"/>
                    </a:lnTo>
                    <a:lnTo>
                      <a:pt x="576" y="480"/>
                    </a:lnTo>
                    <a:lnTo>
                      <a:pt x="594" y="474"/>
                    </a:lnTo>
                    <a:lnTo>
                      <a:pt x="606" y="462"/>
                    </a:lnTo>
                    <a:lnTo>
                      <a:pt x="618" y="456"/>
                    </a:lnTo>
                    <a:lnTo>
                      <a:pt x="630" y="444"/>
                    </a:lnTo>
                    <a:lnTo>
                      <a:pt x="648" y="438"/>
                    </a:lnTo>
                    <a:lnTo>
                      <a:pt x="660" y="432"/>
                    </a:lnTo>
                    <a:lnTo>
                      <a:pt x="672" y="432"/>
                    </a:lnTo>
                    <a:lnTo>
                      <a:pt x="684" y="438"/>
                    </a:lnTo>
                    <a:lnTo>
                      <a:pt x="690" y="444"/>
                    </a:lnTo>
                    <a:lnTo>
                      <a:pt x="696" y="444"/>
                    </a:lnTo>
                    <a:lnTo>
                      <a:pt x="702" y="450"/>
                    </a:lnTo>
                    <a:lnTo>
                      <a:pt x="714" y="450"/>
                    </a:lnTo>
                    <a:lnTo>
                      <a:pt x="726" y="444"/>
                    </a:lnTo>
                    <a:lnTo>
                      <a:pt x="732" y="432"/>
                    </a:lnTo>
                    <a:lnTo>
                      <a:pt x="744" y="420"/>
                    </a:lnTo>
                    <a:lnTo>
                      <a:pt x="756" y="432"/>
                    </a:lnTo>
                    <a:lnTo>
                      <a:pt x="756" y="444"/>
                    </a:lnTo>
                    <a:lnTo>
                      <a:pt x="750" y="450"/>
                    </a:lnTo>
                    <a:lnTo>
                      <a:pt x="744" y="462"/>
                    </a:lnTo>
                    <a:lnTo>
                      <a:pt x="744" y="468"/>
                    </a:lnTo>
                    <a:lnTo>
                      <a:pt x="738" y="474"/>
                    </a:lnTo>
                    <a:lnTo>
                      <a:pt x="738" y="486"/>
                    </a:lnTo>
                    <a:lnTo>
                      <a:pt x="744" y="492"/>
                    </a:lnTo>
                    <a:lnTo>
                      <a:pt x="744" y="498"/>
                    </a:lnTo>
                    <a:lnTo>
                      <a:pt x="756" y="510"/>
                    </a:lnTo>
                    <a:lnTo>
                      <a:pt x="768" y="510"/>
                    </a:lnTo>
                    <a:lnTo>
                      <a:pt x="768" y="504"/>
                    </a:lnTo>
                    <a:lnTo>
                      <a:pt x="774" y="498"/>
                    </a:lnTo>
                    <a:lnTo>
                      <a:pt x="774" y="480"/>
                    </a:lnTo>
                    <a:lnTo>
                      <a:pt x="780" y="486"/>
                    </a:lnTo>
                    <a:lnTo>
                      <a:pt x="792" y="486"/>
                    </a:lnTo>
                    <a:lnTo>
                      <a:pt x="792" y="462"/>
                    </a:lnTo>
                    <a:lnTo>
                      <a:pt x="786" y="462"/>
                    </a:lnTo>
                    <a:lnTo>
                      <a:pt x="786" y="432"/>
                    </a:lnTo>
                    <a:lnTo>
                      <a:pt x="810" y="432"/>
                    </a:lnTo>
                    <a:lnTo>
                      <a:pt x="804" y="438"/>
                    </a:lnTo>
                    <a:lnTo>
                      <a:pt x="804" y="444"/>
                    </a:lnTo>
                    <a:lnTo>
                      <a:pt x="840" y="444"/>
                    </a:lnTo>
                    <a:lnTo>
                      <a:pt x="858" y="438"/>
                    </a:lnTo>
                    <a:lnTo>
                      <a:pt x="864" y="432"/>
                    </a:lnTo>
                    <a:lnTo>
                      <a:pt x="870" y="432"/>
                    </a:lnTo>
                    <a:lnTo>
                      <a:pt x="888" y="414"/>
                    </a:lnTo>
                    <a:lnTo>
                      <a:pt x="894" y="414"/>
                    </a:lnTo>
                    <a:lnTo>
                      <a:pt x="900" y="420"/>
                    </a:lnTo>
                    <a:lnTo>
                      <a:pt x="912" y="426"/>
                    </a:lnTo>
                    <a:lnTo>
                      <a:pt x="924" y="438"/>
                    </a:lnTo>
                    <a:lnTo>
                      <a:pt x="942" y="438"/>
                    </a:lnTo>
                    <a:lnTo>
                      <a:pt x="954" y="444"/>
                    </a:lnTo>
                    <a:lnTo>
                      <a:pt x="966" y="444"/>
                    </a:lnTo>
                    <a:lnTo>
                      <a:pt x="978" y="438"/>
                    </a:lnTo>
                    <a:lnTo>
                      <a:pt x="996" y="438"/>
                    </a:lnTo>
                    <a:lnTo>
                      <a:pt x="1002" y="432"/>
                    </a:lnTo>
                    <a:lnTo>
                      <a:pt x="1014" y="426"/>
                    </a:lnTo>
                    <a:lnTo>
                      <a:pt x="1026" y="414"/>
                    </a:lnTo>
                    <a:lnTo>
                      <a:pt x="1038" y="408"/>
                    </a:lnTo>
                    <a:lnTo>
                      <a:pt x="1086" y="408"/>
                    </a:lnTo>
                    <a:lnTo>
                      <a:pt x="1092" y="414"/>
                    </a:lnTo>
                    <a:lnTo>
                      <a:pt x="1110" y="414"/>
                    </a:lnTo>
                    <a:lnTo>
                      <a:pt x="1122" y="402"/>
                    </a:lnTo>
                    <a:lnTo>
                      <a:pt x="1146" y="402"/>
                    </a:lnTo>
                    <a:lnTo>
                      <a:pt x="1152" y="390"/>
                    </a:lnTo>
                    <a:lnTo>
                      <a:pt x="1152" y="384"/>
                    </a:lnTo>
                    <a:lnTo>
                      <a:pt x="1158" y="384"/>
                    </a:lnTo>
                    <a:lnTo>
                      <a:pt x="1158" y="408"/>
                    </a:lnTo>
                    <a:lnTo>
                      <a:pt x="1164" y="414"/>
                    </a:lnTo>
                    <a:lnTo>
                      <a:pt x="1170" y="414"/>
                    </a:lnTo>
                    <a:lnTo>
                      <a:pt x="1182" y="408"/>
                    </a:lnTo>
                    <a:lnTo>
                      <a:pt x="1188" y="402"/>
                    </a:lnTo>
                    <a:lnTo>
                      <a:pt x="1188" y="390"/>
                    </a:lnTo>
                    <a:lnTo>
                      <a:pt x="1230" y="390"/>
                    </a:lnTo>
                    <a:lnTo>
                      <a:pt x="1242" y="402"/>
                    </a:lnTo>
                    <a:lnTo>
                      <a:pt x="1254" y="402"/>
                    </a:lnTo>
                    <a:lnTo>
                      <a:pt x="1260" y="396"/>
                    </a:lnTo>
                    <a:lnTo>
                      <a:pt x="1260" y="390"/>
                    </a:lnTo>
                    <a:lnTo>
                      <a:pt x="1284" y="390"/>
                    </a:lnTo>
                    <a:lnTo>
                      <a:pt x="1290" y="396"/>
                    </a:lnTo>
                    <a:lnTo>
                      <a:pt x="1290" y="414"/>
                    </a:lnTo>
                    <a:lnTo>
                      <a:pt x="1332" y="402"/>
                    </a:lnTo>
                    <a:close/>
                    <a:moveTo>
                      <a:pt x="102" y="282"/>
                    </a:moveTo>
                    <a:lnTo>
                      <a:pt x="96" y="282"/>
                    </a:lnTo>
                    <a:lnTo>
                      <a:pt x="96" y="312"/>
                    </a:lnTo>
                    <a:lnTo>
                      <a:pt x="102" y="324"/>
                    </a:lnTo>
                    <a:lnTo>
                      <a:pt x="108" y="330"/>
                    </a:lnTo>
                    <a:lnTo>
                      <a:pt x="114" y="324"/>
                    </a:lnTo>
                    <a:lnTo>
                      <a:pt x="114" y="318"/>
                    </a:lnTo>
                    <a:lnTo>
                      <a:pt x="120" y="312"/>
                    </a:lnTo>
                    <a:lnTo>
                      <a:pt x="120" y="300"/>
                    </a:lnTo>
                    <a:lnTo>
                      <a:pt x="102" y="282"/>
                    </a:lnTo>
                    <a:close/>
                  </a:path>
                </a:pathLst>
              </a:custGeom>
              <a:solidFill>
                <a:schemeClr val="bg1">
                  <a:lumMod val="85000"/>
                </a:schemeClr>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64" name="Tajikistan" descr="© INSCALE GmbH, 05.05.2010&#10;http://www.presentationload.com/">
                <a:extLst>
                  <a:ext uri="{FF2B5EF4-FFF2-40B4-BE49-F238E27FC236}">
                    <a16:creationId xmlns:a16="http://schemas.microsoft.com/office/drawing/2014/main" id="{99959977-E988-483E-81B5-99383167A444}"/>
                  </a:ext>
                </a:extLst>
              </p:cNvPr>
              <p:cNvSpPr>
                <a:spLocks/>
              </p:cNvSpPr>
              <p:nvPr/>
            </p:nvSpPr>
            <p:spPr bwMode="gray">
              <a:xfrm>
                <a:off x="5989882" y="3103765"/>
                <a:ext cx="218388" cy="152478"/>
              </a:xfrm>
              <a:custGeom>
                <a:avLst/>
                <a:gdLst>
                  <a:gd name="T0" fmla="*/ 2147483647 w 552"/>
                  <a:gd name="T1" fmla="*/ 2147483647 h 348"/>
                  <a:gd name="T2" fmla="*/ 2147483647 w 552"/>
                  <a:gd name="T3" fmla="*/ 2147483647 h 348"/>
                  <a:gd name="T4" fmla="*/ 2147483647 w 552"/>
                  <a:gd name="T5" fmla="*/ 2147483647 h 348"/>
                  <a:gd name="T6" fmla="*/ 2147483647 w 552"/>
                  <a:gd name="T7" fmla="*/ 2147483647 h 348"/>
                  <a:gd name="T8" fmla="*/ 2147483647 w 552"/>
                  <a:gd name="T9" fmla="*/ 2147483647 h 348"/>
                  <a:gd name="T10" fmla="*/ 2147483647 w 552"/>
                  <a:gd name="T11" fmla="*/ 2147483647 h 348"/>
                  <a:gd name="T12" fmla="*/ 2147483647 w 552"/>
                  <a:gd name="T13" fmla="*/ 2147483647 h 348"/>
                  <a:gd name="T14" fmla="*/ 2147483647 w 552"/>
                  <a:gd name="T15" fmla="*/ 2147483647 h 348"/>
                  <a:gd name="T16" fmla="*/ 2147483647 w 552"/>
                  <a:gd name="T17" fmla="*/ 2147483647 h 348"/>
                  <a:gd name="T18" fmla="*/ 2147483647 w 552"/>
                  <a:gd name="T19" fmla="*/ 2147483647 h 348"/>
                  <a:gd name="T20" fmla="*/ 2147483647 w 552"/>
                  <a:gd name="T21" fmla="*/ 2147483647 h 348"/>
                  <a:gd name="T22" fmla="*/ 2147483647 w 552"/>
                  <a:gd name="T23" fmla="*/ 2147483647 h 348"/>
                  <a:gd name="T24" fmla="*/ 2147483647 w 552"/>
                  <a:gd name="T25" fmla="*/ 2147483647 h 348"/>
                  <a:gd name="T26" fmla="*/ 2147483647 w 552"/>
                  <a:gd name="T27" fmla="*/ 2147483647 h 348"/>
                  <a:gd name="T28" fmla="*/ 2147483647 w 552"/>
                  <a:gd name="T29" fmla="*/ 2147483647 h 348"/>
                  <a:gd name="T30" fmla="*/ 2147483647 w 552"/>
                  <a:gd name="T31" fmla="*/ 2147483647 h 348"/>
                  <a:gd name="T32" fmla="*/ 2147483647 w 552"/>
                  <a:gd name="T33" fmla="*/ 2147483647 h 348"/>
                  <a:gd name="T34" fmla="*/ 2147483647 w 552"/>
                  <a:gd name="T35" fmla="*/ 2147483647 h 348"/>
                  <a:gd name="T36" fmla="*/ 2147483647 w 552"/>
                  <a:gd name="T37" fmla="*/ 2147483647 h 348"/>
                  <a:gd name="T38" fmla="*/ 2147483647 w 552"/>
                  <a:gd name="T39" fmla="*/ 0 h 348"/>
                  <a:gd name="T40" fmla="*/ 2147483647 w 552"/>
                  <a:gd name="T41" fmla="*/ 2147483647 h 348"/>
                  <a:gd name="T42" fmla="*/ 2147483647 w 552"/>
                  <a:gd name="T43" fmla="*/ 2147483647 h 348"/>
                  <a:gd name="T44" fmla="*/ 2147483647 w 552"/>
                  <a:gd name="T45" fmla="*/ 2147483647 h 348"/>
                  <a:gd name="T46" fmla="*/ 2147483647 w 552"/>
                  <a:gd name="T47" fmla="*/ 2147483647 h 348"/>
                  <a:gd name="T48" fmla="*/ 2147483647 w 552"/>
                  <a:gd name="T49" fmla="*/ 2147483647 h 348"/>
                  <a:gd name="T50" fmla="*/ 2147483647 w 552"/>
                  <a:gd name="T51" fmla="*/ 2147483647 h 348"/>
                  <a:gd name="T52" fmla="*/ 2147483647 w 552"/>
                  <a:gd name="T53" fmla="*/ 2147483647 h 348"/>
                  <a:gd name="T54" fmla="*/ 2147483647 w 552"/>
                  <a:gd name="T55" fmla="*/ 2147483647 h 348"/>
                  <a:gd name="T56" fmla="*/ 2147483647 w 552"/>
                  <a:gd name="T57" fmla="*/ 2147483647 h 348"/>
                  <a:gd name="T58" fmla="*/ 2147483647 w 552"/>
                  <a:gd name="T59" fmla="*/ 2147483647 h 348"/>
                  <a:gd name="T60" fmla="*/ 2147483647 w 552"/>
                  <a:gd name="T61" fmla="*/ 2147483647 h 348"/>
                  <a:gd name="T62" fmla="*/ 2147483647 w 552"/>
                  <a:gd name="T63" fmla="*/ 2147483647 h 348"/>
                  <a:gd name="T64" fmla="*/ 2147483647 w 552"/>
                  <a:gd name="T65" fmla="*/ 2147483647 h 348"/>
                  <a:gd name="T66" fmla="*/ 2147483647 w 552"/>
                  <a:gd name="T67" fmla="*/ 2147483647 h 348"/>
                  <a:gd name="T68" fmla="*/ 2147483647 w 552"/>
                  <a:gd name="T69" fmla="*/ 2147483647 h 348"/>
                  <a:gd name="T70" fmla="*/ 2147483647 w 552"/>
                  <a:gd name="T71" fmla="*/ 2147483647 h 348"/>
                  <a:gd name="T72" fmla="*/ 2147483647 w 552"/>
                  <a:gd name="T73" fmla="*/ 2147483647 h 348"/>
                  <a:gd name="T74" fmla="*/ 2147483647 w 552"/>
                  <a:gd name="T75" fmla="*/ 2147483647 h 348"/>
                  <a:gd name="T76" fmla="*/ 2147483647 w 552"/>
                  <a:gd name="T77" fmla="*/ 2147483647 h 348"/>
                  <a:gd name="T78" fmla="*/ 2147483647 w 552"/>
                  <a:gd name="T79" fmla="*/ 2147483647 h 348"/>
                  <a:gd name="T80" fmla="*/ 2147483647 w 552"/>
                  <a:gd name="T81" fmla="*/ 2147483647 h 348"/>
                  <a:gd name="T82" fmla="*/ 2147483647 w 552"/>
                  <a:gd name="T83" fmla="*/ 2147483647 h 348"/>
                  <a:gd name="T84" fmla="*/ 2147483647 w 552"/>
                  <a:gd name="T85" fmla="*/ 2147483647 h 348"/>
                  <a:gd name="T86" fmla="*/ 2147483647 w 552"/>
                  <a:gd name="T87" fmla="*/ 2147483647 h 348"/>
                  <a:gd name="T88" fmla="*/ 2147483647 w 552"/>
                  <a:gd name="T89" fmla="*/ 2147483647 h 348"/>
                  <a:gd name="T90" fmla="*/ 2147483647 w 552"/>
                  <a:gd name="T91" fmla="*/ 2147483647 h 348"/>
                  <a:gd name="T92" fmla="*/ 2147483647 w 552"/>
                  <a:gd name="T93" fmla="*/ 2147483647 h 348"/>
                  <a:gd name="T94" fmla="*/ 2147483647 w 552"/>
                  <a:gd name="T95" fmla="*/ 2147483647 h 348"/>
                  <a:gd name="T96" fmla="*/ 2147483647 w 552"/>
                  <a:gd name="T97" fmla="*/ 2147483647 h 348"/>
                  <a:gd name="T98" fmla="*/ 2147483647 w 552"/>
                  <a:gd name="T99" fmla="*/ 2147483647 h 34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552"/>
                  <a:gd name="T151" fmla="*/ 0 h 348"/>
                  <a:gd name="T152" fmla="*/ 552 w 552"/>
                  <a:gd name="T153" fmla="*/ 348 h 348"/>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552" h="348">
                    <a:moveTo>
                      <a:pt x="528" y="270"/>
                    </a:moveTo>
                    <a:lnTo>
                      <a:pt x="516" y="246"/>
                    </a:lnTo>
                    <a:lnTo>
                      <a:pt x="516" y="204"/>
                    </a:lnTo>
                    <a:lnTo>
                      <a:pt x="510" y="198"/>
                    </a:lnTo>
                    <a:lnTo>
                      <a:pt x="498" y="192"/>
                    </a:lnTo>
                    <a:lnTo>
                      <a:pt x="492" y="192"/>
                    </a:lnTo>
                    <a:lnTo>
                      <a:pt x="480" y="186"/>
                    </a:lnTo>
                    <a:lnTo>
                      <a:pt x="456" y="186"/>
                    </a:lnTo>
                    <a:lnTo>
                      <a:pt x="450" y="192"/>
                    </a:lnTo>
                    <a:lnTo>
                      <a:pt x="438" y="192"/>
                    </a:lnTo>
                    <a:lnTo>
                      <a:pt x="426" y="180"/>
                    </a:lnTo>
                    <a:lnTo>
                      <a:pt x="426" y="168"/>
                    </a:lnTo>
                    <a:lnTo>
                      <a:pt x="432" y="156"/>
                    </a:lnTo>
                    <a:lnTo>
                      <a:pt x="432" y="144"/>
                    </a:lnTo>
                    <a:lnTo>
                      <a:pt x="414" y="144"/>
                    </a:lnTo>
                    <a:lnTo>
                      <a:pt x="414" y="120"/>
                    </a:lnTo>
                    <a:lnTo>
                      <a:pt x="396" y="114"/>
                    </a:lnTo>
                    <a:lnTo>
                      <a:pt x="384" y="126"/>
                    </a:lnTo>
                    <a:lnTo>
                      <a:pt x="342" y="126"/>
                    </a:lnTo>
                    <a:lnTo>
                      <a:pt x="336" y="132"/>
                    </a:lnTo>
                    <a:lnTo>
                      <a:pt x="324" y="138"/>
                    </a:lnTo>
                    <a:lnTo>
                      <a:pt x="312" y="138"/>
                    </a:lnTo>
                    <a:lnTo>
                      <a:pt x="312" y="132"/>
                    </a:lnTo>
                    <a:lnTo>
                      <a:pt x="306" y="132"/>
                    </a:lnTo>
                    <a:lnTo>
                      <a:pt x="294" y="138"/>
                    </a:lnTo>
                    <a:lnTo>
                      <a:pt x="264" y="108"/>
                    </a:lnTo>
                    <a:lnTo>
                      <a:pt x="258" y="114"/>
                    </a:lnTo>
                    <a:lnTo>
                      <a:pt x="246" y="120"/>
                    </a:lnTo>
                    <a:lnTo>
                      <a:pt x="240" y="126"/>
                    </a:lnTo>
                    <a:lnTo>
                      <a:pt x="222" y="126"/>
                    </a:lnTo>
                    <a:lnTo>
                      <a:pt x="210" y="114"/>
                    </a:lnTo>
                    <a:lnTo>
                      <a:pt x="186" y="114"/>
                    </a:lnTo>
                    <a:lnTo>
                      <a:pt x="174" y="108"/>
                    </a:lnTo>
                    <a:lnTo>
                      <a:pt x="156" y="108"/>
                    </a:lnTo>
                    <a:lnTo>
                      <a:pt x="150" y="114"/>
                    </a:lnTo>
                    <a:lnTo>
                      <a:pt x="138" y="114"/>
                    </a:lnTo>
                    <a:lnTo>
                      <a:pt x="126" y="120"/>
                    </a:lnTo>
                    <a:lnTo>
                      <a:pt x="120" y="114"/>
                    </a:lnTo>
                    <a:lnTo>
                      <a:pt x="120" y="108"/>
                    </a:lnTo>
                    <a:lnTo>
                      <a:pt x="114" y="102"/>
                    </a:lnTo>
                    <a:lnTo>
                      <a:pt x="114" y="90"/>
                    </a:lnTo>
                    <a:lnTo>
                      <a:pt x="126" y="84"/>
                    </a:lnTo>
                    <a:lnTo>
                      <a:pt x="132" y="78"/>
                    </a:lnTo>
                    <a:lnTo>
                      <a:pt x="132" y="66"/>
                    </a:lnTo>
                    <a:lnTo>
                      <a:pt x="138" y="60"/>
                    </a:lnTo>
                    <a:lnTo>
                      <a:pt x="150" y="60"/>
                    </a:lnTo>
                    <a:lnTo>
                      <a:pt x="186" y="72"/>
                    </a:lnTo>
                    <a:lnTo>
                      <a:pt x="198" y="78"/>
                    </a:lnTo>
                    <a:lnTo>
                      <a:pt x="204" y="78"/>
                    </a:lnTo>
                    <a:lnTo>
                      <a:pt x="210" y="72"/>
                    </a:lnTo>
                    <a:lnTo>
                      <a:pt x="210" y="66"/>
                    </a:lnTo>
                    <a:lnTo>
                      <a:pt x="204" y="60"/>
                    </a:lnTo>
                    <a:lnTo>
                      <a:pt x="198" y="60"/>
                    </a:lnTo>
                    <a:lnTo>
                      <a:pt x="186" y="54"/>
                    </a:lnTo>
                    <a:lnTo>
                      <a:pt x="180" y="48"/>
                    </a:lnTo>
                    <a:lnTo>
                      <a:pt x="174" y="48"/>
                    </a:lnTo>
                    <a:lnTo>
                      <a:pt x="198" y="12"/>
                    </a:lnTo>
                    <a:lnTo>
                      <a:pt x="192" y="6"/>
                    </a:lnTo>
                    <a:lnTo>
                      <a:pt x="180" y="0"/>
                    </a:lnTo>
                    <a:lnTo>
                      <a:pt x="162" y="0"/>
                    </a:lnTo>
                    <a:lnTo>
                      <a:pt x="156" y="12"/>
                    </a:lnTo>
                    <a:lnTo>
                      <a:pt x="144" y="18"/>
                    </a:lnTo>
                    <a:lnTo>
                      <a:pt x="138" y="30"/>
                    </a:lnTo>
                    <a:lnTo>
                      <a:pt x="132" y="30"/>
                    </a:lnTo>
                    <a:lnTo>
                      <a:pt x="114" y="12"/>
                    </a:lnTo>
                    <a:lnTo>
                      <a:pt x="102" y="12"/>
                    </a:lnTo>
                    <a:lnTo>
                      <a:pt x="102" y="24"/>
                    </a:lnTo>
                    <a:lnTo>
                      <a:pt x="96" y="30"/>
                    </a:lnTo>
                    <a:lnTo>
                      <a:pt x="96" y="42"/>
                    </a:lnTo>
                    <a:lnTo>
                      <a:pt x="108" y="54"/>
                    </a:lnTo>
                    <a:lnTo>
                      <a:pt x="108" y="60"/>
                    </a:lnTo>
                    <a:lnTo>
                      <a:pt x="66" y="60"/>
                    </a:lnTo>
                    <a:lnTo>
                      <a:pt x="90" y="84"/>
                    </a:lnTo>
                    <a:lnTo>
                      <a:pt x="72" y="96"/>
                    </a:lnTo>
                    <a:lnTo>
                      <a:pt x="78" y="96"/>
                    </a:lnTo>
                    <a:lnTo>
                      <a:pt x="78" y="108"/>
                    </a:lnTo>
                    <a:lnTo>
                      <a:pt x="54" y="120"/>
                    </a:lnTo>
                    <a:lnTo>
                      <a:pt x="6" y="120"/>
                    </a:lnTo>
                    <a:lnTo>
                      <a:pt x="0" y="126"/>
                    </a:lnTo>
                    <a:lnTo>
                      <a:pt x="0" y="144"/>
                    </a:lnTo>
                    <a:lnTo>
                      <a:pt x="18" y="144"/>
                    </a:lnTo>
                    <a:lnTo>
                      <a:pt x="30" y="156"/>
                    </a:lnTo>
                    <a:lnTo>
                      <a:pt x="36" y="156"/>
                    </a:lnTo>
                    <a:lnTo>
                      <a:pt x="42" y="162"/>
                    </a:lnTo>
                    <a:lnTo>
                      <a:pt x="54" y="162"/>
                    </a:lnTo>
                    <a:lnTo>
                      <a:pt x="66" y="174"/>
                    </a:lnTo>
                    <a:lnTo>
                      <a:pt x="66" y="180"/>
                    </a:lnTo>
                    <a:lnTo>
                      <a:pt x="60" y="186"/>
                    </a:lnTo>
                    <a:lnTo>
                      <a:pt x="60" y="204"/>
                    </a:lnTo>
                    <a:lnTo>
                      <a:pt x="66" y="210"/>
                    </a:lnTo>
                    <a:lnTo>
                      <a:pt x="78" y="216"/>
                    </a:lnTo>
                    <a:lnTo>
                      <a:pt x="90" y="228"/>
                    </a:lnTo>
                    <a:lnTo>
                      <a:pt x="90" y="246"/>
                    </a:lnTo>
                    <a:lnTo>
                      <a:pt x="84" y="258"/>
                    </a:lnTo>
                    <a:lnTo>
                      <a:pt x="72" y="264"/>
                    </a:lnTo>
                    <a:lnTo>
                      <a:pt x="66" y="276"/>
                    </a:lnTo>
                    <a:lnTo>
                      <a:pt x="60" y="282"/>
                    </a:lnTo>
                    <a:lnTo>
                      <a:pt x="60" y="306"/>
                    </a:lnTo>
                    <a:lnTo>
                      <a:pt x="66" y="312"/>
                    </a:lnTo>
                    <a:lnTo>
                      <a:pt x="78" y="318"/>
                    </a:lnTo>
                    <a:lnTo>
                      <a:pt x="84" y="324"/>
                    </a:lnTo>
                    <a:lnTo>
                      <a:pt x="90" y="324"/>
                    </a:lnTo>
                    <a:lnTo>
                      <a:pt x="108" y="306"/>
                    </a:lnTo>
                    <a:lnTo>
                      <a:pt x="120" y="300"/>
                    </a:lnTo>
                    <a:lnTo>
                      <a:pt x="126" y="294"/>
                    </a:lnTo>
                    <a:lnTo>
                      <a:pt x="138" y="294"/>
                    </a:lnTo>
                    <a:lnTo>
                      <a:pt x="144" y="300"/>
                    </a:lnTo>
                    <a:lnTo>
                      <a:pt x="150" y="312"/>
                    </a:lnTo>
                    <a:lnTo>
                      <a:pt x="156" y="318"/>
                    </a:lnTo>
                    <a:lnTo>
                      <a:pt x="162" y="318"/>
                    </a:lnTo>
                    <a:lnTo>
                      <a:pt x="162" y="288"/>
                    </a:lnTo>
                    <a:lnTo>
                      <a:pt x="174" y="276"/>
                    </a:lnTo>
                    <a:lnTo>
                      <a:pt x="186" y="270"/>
                    </a:lnTo>
                    <a:lnTo>
                      <a:pt x="204" y="270"/>
                    </a:lnTo>
                    <a:lnTo>
                      <a:pt x="216" y="282"/>
                    </a:lnTo>
                    <a:lnTo>
                      <a:pt x="222" y="258"/>
                    </a:lnTo>
                    <a:lnTo>
                      <a:pt x="216" y="258"/>
                    </a:lnTo>
                    <a:lnTo>
                      <a:pt x="210" y="252"/>
                    </a:lnTo>
                    <a:lnTo>
                      <a:pt x="210" y="246"/>
                    </a:lnTo>
                    <a:lnTo>
                      <a:pt x="222" y="234"/>
                    </a:lnTo>
                    <a:lnTo>
                      <a:pt x="228" y="234"/>
                    </a:lnTo>
                    <a:lnTo>
                      <a:pt x="234" y="228"/>
                    </a:lnTo>
                    <a:lnTo>
                      <a:pt x="234" y="204"/>
                    </a:lnTo>
                    <a:lnTo>
                      <a:pt x="240" y="198"/>
                    </a:lnTo>
                    <a:lnTo>
                      <a:pt x="258" y="198"/>
                    </a:lnTo>
                    <a:lnTo>
                      <a:pt x="276" y="216"/>
                    </a:lnTo>
                    <a:lnTo>
                      <a:pt x="276" y="246"/>
                    </a:lnTo>
                    <a:lnTo>
                      <a:pt x="294" y="246"/>
                    </a:lnTo>
                    <a:lnTo>
                      <a:pt x="306" y="312"/>
                    </a:lnTo>
                    <a:lnTo>
                      <a:pt x="306" y="318"/>
                    </a:lnTo>
                    <a:lnTo>
                      <a:pt x="336" y="348"/>
                    </a:lnTo>
                    <a:lnTo>
                      <a:pt x="342" y="348"/>
                    </a:lnTo>
                    <a:lnTo>
                      <a:pt x="348" y="342"/>
                    </a:lnTo>
                    <a:lnTo>
                      <a:pt x="360" y="336"/>
                    </a:lnTo>
                    <a:lnTo>
                      <a:pt x="366" y="324"/>
                    </a:lnTo>
                    <a:lnTo>
                      <a:pt x="372" y="318"/>
                    </a:lnTo>
                    <a:lnTo>
                      <a:pt x="390" y="318"/>
                    </a:lnTo>
                    <a:lnTo>
                      <a:pt x="396" y="312"/>
                    </a:lnTo>
                    <a:lnTo>
                      <a:pt x="402" y="300"/>
                    </a:lnTo>
                    <a:lnTo>
                      <a:pt x="408" y="294"/>
                    </a:lnTo>
                    <a:lnTo>
                      <a:pt x="432" y="282"/>
                    </a:lnTo>
                    <a:lnTo>
                      <a:pt x="456" y="282"/>
                    </a:lnTo>
                    <a:lnTo>
                      <a:pt x="456" y="300"/>
                    </a:lnTo>
                    <a:lnTo>
                      <a:pt x="492" y="288"/>
                    </a:lnTo>
                    <a:lnTo>
                      <a:pt x="516" y="288"/>
                    </a:lnTo>
                    <a:lnTo>
                      <a:pt x="522" y="294"/>
                    </a:lnTo>
                    <a:lnTo>
                      <a:pt x="546" y="294"/>
                    </a:lnTo>
                    <a:lnTo>
                      <a:pt x="552" y="288"/>
                    </a:lnTo>
                    <a:lnTo>
                      <a:pt x="540" y="276"/>
                    </a:lnTo>
                    <a:lnTo>
                      <a:pt x="534" y="276"/>
                    </a:lnTo>
                    <a:lnTo>
                      <a:pt x="528" y="270"/>
                    </a:lnTo>
                    <a:close/>
                  </a:path>
                </a:pathLst>
              </a:custGeom>
              <a:solidFill>
                <a:srgbClr val="9D90A0">
                  <a:lumMod val="40000"/>
                  <a:lumOff val="60000"/>
                </a:srgbClr>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65" name="Syria" descr="© INSCALE GmbH, 05.05.2010&#10;http://www.presentationload.com/">
                <a:extLst>
                  <a:ext uri="{FF2B5EF4-FFF2-40B4-BE49-F238E27FC236}">
                    <a16:creationId xmlns:a16="http://schemas.microsoft.com/office/drawing/2014/main" id="{D47B3453-4C7B-4CDC-9A62-03038411EC02}"/>
                  </a:ext>
                </a:extLst>
              </p:cNvPr>
              <p:cNvSpPr>
                <a:spLocks/>
              </p:cNvSpPr>
              <p:nvPr/>
            </p:nvSpPr>
            <p:spPr bwMode="gray">
              <a:xfrm>
                <a:off x="5172488" y="3228520"/>
                <a:ext cx="177830" cy="181933"/>
              </a:xfrm>
              <a:custGeom>
                <a:avLst/>
                <a:gdLst>
                  <a:gd name="T0" fmla="*/ 2147483647 w 450"/>
                  <a:gd name="T1" fmla="*/ 2147483647 h 414"/>
                  <a:gd name="T2" fmla="*/ 2147483647 w 450"/>
                  <a:gd name="T3" fmla="*/ 2147483647 h 414"/>
                  <a:gd name="T4" fmla="*/ 2147483647 w 450"/>
                  <a:gd name="T5" fmla="*/ 2147483647 h 414"/>
                  <a:gd name="T6" fmla="*/ 2147483647 w 450"/>
                  <a:gd name="T7" fmla="*/ 0 h 414"/>
                  <a:gd name="T8" fmla="*/ 2147483647 w 450"/>
                  <a:gd name="T9" fmla="*/ 2147483647 h 414"/>
                  <a:gd name="T10" fmla="*/ 2147483647 w 450"/>
                  <a:gd name="T11" fmla="*/ 2147483647 h 414"/>
                  <a:gd name="T12" fmla="*/ 2147483647 w 450"/>
                  <a:gd name="T13" fmla="*/ 2147483647 h 414"/>
                  <a:gd name="T14" fmla="*/ 2147483647 w 450"/>
                  <a:gd name="T15" fmla="*/ 2147483647 h 414"/>
                  <a:gd name="T16" fmla="*/ 2147483647 w 450"/>
                  <a:gd name="T17" fmla="*/ 2147483647 h 414"/>
                  <a:gd name="T18" fmla="*/ 2147483647 w 450"/>
                  <a:gd name="T19" fmla="*/ 2147483647 h 414"/>
                  <a:gd name="T20" fmla="*/ 2147483647 w 450"/>
                  <a:gd name="T21" fmla="*/ 2147483647 h 414"/>
                  <a:gd name="T22" fmla="*/ 2147483647 w 450"/>
                  <a:gd name="T23" fmla="*/ 2147483647 h 414"/>
                  <a:gd name="T24" fmla="*/ 2147483647 w 450"/>
                  <a:gd name="T25" fmla="*/ 2147483647 h 414"/>
                  <a:gd name="T26" fmla="*/ 2147483647 w 450"/>
                  <a:gd name="T27" fmla="*/ 2147483647 h 414"/>
                  <a:gd name="T28" fmla="*/ 2147483647 w 450"/>
                  <a:gd name="T29" fmla="*/ 2147483647 h 414"/>
                  <a:gd name="T30" fmla="*/ 2147483647 w 450"/>
                  <a:gd name="T31" fmla="*/ 2147483647 h 414"/>
                  <a:gd name="T32" fmla="*/ 2147483647 w 450"/>
                  <a:gd name="T33" fmla="*/ 2147483647 h 414"/>
                  <a:gd name="T34" fmla="*/ 2147483647 w 450"/>
                  <a:gd name="T35" fmla="*/ 2147483647 h 414"/>
                  <a:gd name="T36" fmla="*/ 2147483647 w 450"/>
                  <a:gd name="T37" fmla="*/ 2147483647 h 414"/>
                  <a:gd name="T38" fmla="*/ 2147483647 w 450"/>
                  <a:gd name="T39" fmla="*/ 2147483647 h 414"/>
                  <a:gd name="T40" fmla="*/ 2147483647 w 450"/>
                  <a:gd name="T41" fmla="*/ 2147483647 h 414"/>
                  <a:gd name="T42" fmla="*/ 2147483647 w 450"/>
                  <a:gd name="T43" fmla="*/ 2147483647 h 414"/>
                  <a:gd name="T44" fmla="*/ 2147483647 w 450"/>
                  <a:gd name="T45" fmla="*/ 2147483647 h 414"/>
                  <a:gd name="T46" fmla="*/ 2147483647 w 450"/>
                  <a:gd name="T47" fmla="*/ 2147483647 h 414"/>
                  <a:gd name="T48" fmla="*/ 2147483647 w 450"/>
                  <a:gd name="T49" fmla="*/ 2147483647 h 414"/>
                  <a:gd name="T50" fmla="*/ 2147483647 w 450"/>
                  <a:gd name="T51" fmla="*/ 2147483647 h 414"/>
                  <a:gd name="T52" fmla="*/ 2147483647 w 450"/>
                  <a:gd name="T53" fmla="*/ 2147483647 h 414"/>
                  <a:gd name="T54" fmla="*/ 2147483647 w 450"/>
                  <a:gd name="T55" fmla="*/ 2147483647 h 414"/>
                  <a:gd name="T56" fmla="*/ 2147483647 w 450"/>
                  <a:gd name="T57" fmla="*/ 2147483647 h 414"/>
                  <a:gd name="T58" fmla="*/ 2147483647 w 450"/>
                  <a:gd name="T59" fmla="*/ 2147483647 h 414"/>
                  <a:gd name="T60" fmla="*/ 2147483647 w 450"/>
                  <a:gd name="T61" fmla="*/ 2147483647 h 414"/>
                  <a:gd name="T62" fmla="*/ 2147483647 w 450"/>
                  <a:gd name="T63" fmla="*/ 2147483647 h 414"/>
                  <a:gd name="T64" fmla="*/ 2147483647 w 450"/>
                  <a:gd name="T65" fmla="*/ 2147483647 h 414"/>
                  <a:gd name="T66" fmla="*/ 2147483647 w 450"/>
                  <a:gd name="T67" fmla="*/ 2147483647 h 414"/>
                  <a:gd name="T68" fmla="*/ 2147483647 w 450"/>
                  <a:gd name="T69" fmla="*/ 2147483647 h 414"/>
                  <a:gd name="T70" fmla="*/ 2147483647 w 450"/>
                  <a:gd name="T71" fmla="*/ 2147483647 h 414"/>
                  <a:gd name="T72" fmla="*/ 2147483647 w 450"/>
                  <a:gd name="T73" fmla="*/ 2147483647 h 414"/>
                  <a:gd name="T74" fmla="*/ 2147483647 w 450"/>
                  <a:gd name="T75" fmla="*/ 2147483647 h 414"/>
                  <a:gd name="T76" fmla="*/ 2147483647 w 450"/>
                  <a:gd name="T77" fmla="*/ 2147483647 h 414"/>
                  <a:gd name="T78" fmla="*/ 2147483647 w 450"/>
                  <a:gd name="T79" fmla="*/ 2147483647 h 414"/>
                  <a:gd name="T80" fmla="*/ 2147483647 w 450"/>
                  <a:gd name="T81" fmla="*/ 2147483647 h 414"/>
                  <a:gd name="T82" fmla="*/ 2147483647 w 450"/>
                  <a:gd name="T83" fmla="*/ 2147483647 h 414"/>
                  <a:gd name="T84" fmla="*/ 2147483647 w 450"/>
                  <a:gd name="T85" fmla="*/ 2147483647 h 414"/>
                  <a:gd name="T86" fmla="*/ 2147483647 w 450"/>
                  <a:gd name="T87" fmla="*/ 2147483647 h 414"/>
                  <a:gd name="T88" fmla="*/ 2147483647 w 450"/>
                  <a:gd name="T89" fmla="*/ 2147483647 h 414"/>
                  <a:gd name="T90" fmla="*/ 2147483647 w 450"/>
                  <a:gd name="T91" fmla="*/ 2147483647 h 414"/>
                  <a:gd name="T92" fmla="*/ 2147483647 w 450"/>
                  <a:gd name="T93" fmla="*/ 2147483647 h 414"/>
                  <a:gd name="T94" fmla="*/ 2147483647 w 450"/>
                  <a:gd name="T95" fmla="*/ 2147483647 h 414"/>
                  <a:gd name="T96" fmla="*/ 2147483647 w 450"/>
                  <a:gd name="T97" fmla="*/ 2147483647 h 41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50"/>
                  <a:gd name="T148" fmla="*/ 0 h 414"/>
                  <a:gd name="T149" fmla="*/ 450 w 450"/>
                  <a:gd name="T150" fmla="*/ 414 h 41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50" h="414">
                    <a:moveTo>
                      <a:pt x="426" y="60"/>
                    </a:moveTo>
                    <a:lnTo>
                      <a:pt x="432" y="54"/>
                    </a:lnTo>
                    <a:lnTo>
                      <a:pt x="438" y="42"/>
                    </a:lnTo>
                    <a:lnTo>
                      <a:pt x="450" y="30"/>
                    </a:lnTo>
                    <a:lnTo>
                      <a:pt x="444" y="30"/>
                    </a:lnTo>
                    <a:lnTo>
                      <a:pt x="438" y="24"/>
                    </a:lnTo>
                    <a:lnTo>
                      <a:pt x="438" y="0"/>
                    </a:lnTo>
                    <a:lnTo>
                      <a:pt x="432" y="0"/>
                    </a:lnTo>
                    <a:lnTo>
                      <a:pt x="432" y="6"/>
                    </a:lnTo>
                    <a:lnTo>
                      <a:pt x="426" y="18"/>
                    </a:lnTo>
                    <a:lnTo>
                      <a:pt x="402" y="18"/>
                    </a:lnTo>
                    <a:lnTo>
                      <a:pt x="390" y="30"/>
                    </a:lnTo>
                    <a:lnTo>
                      <a:pt x="372" y="30"/>
                    </a:lnTo>
                    <a:lnTo>
                      <a:pt x="366" y="24"/>
                    </a:lnTo>
                    <a:lnTo>
                      <a:pt x="318" y="24"/>
                    </a:lnTo>
                    <a:lnTo>
                      <a:pt x="306" y="30"/>
                    </a:lnTo>
                    <a:lnTo>
                      <a:pt x="294" y="42"/>
                    </a:lnTo>
                    <a:lnTo>
                      <a:pt x="282" y="48"/>
                    </a:lnTo>
                    <a:lnTo>
                      <a:pt x="276" y="54"/>
                    </a:lnTo>
                    <a:lnTo>
                      <a:pt x="258" y="54"/>
                    </a:lnTo>
                    <a:lnTo>
                      <a:pt x="246" y="60"/>
                    </a:lnTo>
                    <a:lnTo>
                      <a:pt x="234" y="60"/>
                    </a:lnTo>
                    <a:lnTo>
                      <a:pt x="222" y="54"/>
                    </a:lnTo>
                    <a:lnTo>
                      <a:pt x="204" y="54"/>
                    </a:lnTo>
                    <a:lnTo>
                      <a:pt x="192" y="42"/>
                    </a:lnTo>
                    <a:lnTo>
                      <a:pt x="180" y="36"/>
                    </a:lnTo>
                    <a:lnTo>
                      <a:pt x="174" y="30"/>
                    </a:lnTo>
                    <a:lnTo>
                      <a:pt x="168" y="30"/>
                    </a:lnTo>
                    <a:lnTo>
                      <a:pt x="150" y="48"/>
                    </a:lnTo>
                    <a:lnTo>
                      <a:pt x="144" y="48"/>
                    </a:lnTo>
                    <a:lnTo>
                      <a:pt x="138" y="54"/>
                    </a:lnTo>
                    <a:lnTo>
                      <a:pt x="120" y="60"/>
                    </a:lnTo>
                    <a:lnTo>
                      <a:pt x="84" y="60"/>
                    </a:lnTo>
                    <a:lnTo>
                      <a:pt x="84" y="54"/>
                    </a:lnTo>
                    <a:lnTo>
                      <a:pt x="90" y="48"/>
                    </a:lnTo>
                    <a:lnTo>
                      <a:pt x="66" y="48"/>
                    </a:lnTo>
                    <a:lnTo>
                      <a:pt x="66" y="78"/>
                    </a:lnTo>
                    <a:lnTo>
                      <a:pt x="72" y="78"/>
                    </a:lnTo>
                    <a:lnTo>
                      <a:pt x="72" y="102"/>
                    </a:lnTo>
                    <a:lnTo>
                      <a:pt x="60" y="102"/>
                    </a:lnTo>
                    <a:lnTo>
                      <a:pt x="54" y="96"/>
                    </a:lnTo>
                    <a:lnTo>
                      <a:pt x="54" y="114"/>
                    </a:lnTo>
                    <a:lnTo>
                      <a:pt x="48" y="120"/>
                    </a:lnTo>
                    <a:lnTo>
                      <a:pt x="48" y="126"/>
                    </a:lnTo>
                    <a:lnTo>
                      <a:pt x="36" y="126"/>
                    </a:lnTo>
                    <a:lnTo>
                      <a:pt x="24" y="114"/>
                    </a:lnTo>
                    <a:lnTo>
                      <a:pt x="18" y="120"/>
                    </a:lnTo>
                    <a:lnTo>
                      <a:pt x="12" y="132"/>
                    </a:lnTo>
                    <a:lnTo>
                      <a:pt x="12" y="150"/>
                    </a:lnTo>
                    <a:lnTo>
                      <a:pt x="6" y="150"/>
                    </a:lnTo>
                    <a:lnTo>
                      <a:pt x="0" y="198"/>
                    </a:lnTo>
                    <a:lnTo>
                      <a:pt x="6" y="204"/>
                    </a:lnTo>
                    <a:lnTo>
                      <a:pt x="18" y="210"/>
                    </a:lnTo>
                    <a:lnTo>
                      <a:pt x="24" y="216"/>
                    </a:lnTo>
                    <a:lnTo>
                      <a:pt x="24" y="222"/>
                    </a:lnTo>
                    <a:lnTo>
                      <a:pt x="72" y="222"/>
                    </a:lnTo>
                    <a:lnTo>
                      <a:pt x="66" y="234"/>
                    </a:lnTo>
                    <a:lnTo>
                      <a:pt x="72" y="240"/>
                    </a:lnTo>
                    <a:lnTo>
                      <a:pt x="78" y="252"/>
                    </a:lnTo>
                    <a:lnTo>
                      <a:pt x="78" y="270"/>
                    </a:lnTo>
                    <a:lnTo>
                      <a:pt x="72" y="282"/>
                    </a:lnTo>
                    <a:lnTo>
                      <a:pt x="66" y="282"/>
                    </a:lnTo>
                    <a:lnTo>
                      <a:pt x="54" y="288"/>
                    </a:lnTo>
                    <a:lnTo>
                      <a:pt x="48" y="288"/>
                    </a:lnTo>
                    <a:lnTo>
                      <a:pt x="42" y="294"/>
                    </a:lnTo>
                    <a:lnTo>
                      <a:pt x="42" y="318"/>
                    </a:lnTo>
                    <a:lnTo>
                      <a:pt x="24" y="336"/>
                    </a:lnTo>
                    <a:lnTo>
                      <a:pt x="30" y="378"/>
                    </a:lnTo>
                    <a:lnTo>
                      <a:pt x="36" y="378"/>
                    </a:lnTo>
                    <a:lnTo>
                      <a:pt x="72" y="396"/>
                    </a:lnTo>
                    <a:lnTo>
                      <a:pt x="84" y="408"/>
                    </a:lnTo>
                    <a:lnTo>
                      <a:pt x="96" y="414"/>
                    </a:lnTo>
                    <a:lnTo>
                      <a:pt x="114" y="414"/>
                    </a:lnTo>
                    <a:lnTo>
                      <a:pt x="174" y="384"/>
                    </a:lnTo>
                    <a:lnTo>
                      <a:pt x="204" y="354"/>
                    </a:lnTo>
                    <a:lnTo>
                      <a:pt x="228" y="336"/>
                    </a:lnTo>
                    <a:lnTo>
                      <a:pt x="240" y="324"/>
                    </a:lnTo>
                    <a:lnTo>
                      <a:pt x="300" y="276"/>
                    </a:lnTo>
                    <a:lnTo>
                      <a:pt x="312" y="270"/>
                    </a:lnTo>
                    <a:lnTo>
                      <a:pt x="372" y="246"/>
                    </a:lnTo>
                    <a:lnTo>
                      <a:pt x="396" y="234"/>
                    </a:lnTo>
                    <a:lnTo>
                      <a:pt x="402" y="228"/>
                    </a:lnTo>
                    <a:lnTo>
                      <a:pt x="402" y="222"/>
                    </a:lnTo>
                    <a:lnTo>
                      <a:pt x="384" y="204"/>
                    </a:lnTo>
                    <a:lnTo>
                      <a:pt x="384" y="198"/>
                    </a:lnTo>
                    <a:lnTo>
                      <a:pt x="390" y="180"/>
                    </a:lnTo>
                    <a:lnTo>
                      <a:pt x="396" y="168"/>
                    </a:lnTo>
                    <a:lnTo>
                      <a:pt x="396" y="138"/>
                    </a:lnTo>
                    <a:lnTo>
                      <a:pt x="390" y="126"/>
                    </a:lnTo>
                    <a:lnTo>
                      <a:pt x="390" y="114"/>
                    </a:lnTo>
                    <a:lnTo>
                      <a:pt x="384" y="108"/>
                    </a:lnTo>
                    <a:lnTo>
                      <a:pt x="378" y="96"/>
                    </a:lnTo>
                    <a:lnTo>
                      <a:pt x="378" y="84"/>
                    </a:lnTo>
                    <a:lnTo>
                      <a:pt x="384" y="72"/>
                    </a:lnTo>
                    <a:lnTo>
                      <a:pt x="390" y="66"/>
                    </a:lnTo>
                    <a:lnTo>
                      <a:pt x="402" y="66"/>
                    </a:lnTo>
                    <a:lnTo>
                      <a:pt x="414" y="60"/>
                    </a:lnTo>
                    <a:lnTo>
                      <a:pt x="426" y="60"/>
                    </a:lnTo>
                    <a:close/>
                  </a:path>
                </a:pathLst>
              </a:custGeom>
              <a:solidFill>
                <a:schemeClr val="bg1">
                  <a:lumMod val="85000"/>
                </a:schemeClr>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66" name="Switzerland" descr="© INSCALE GmbH, 05.05.2010&#10;http://www.presentationload.com/">
                <a:extLst>
                  <a:ext uri="{FF2B5EF4-FFF2-40B4-BE49-F238E27FC236}">
                    <a16:creationId xmlns:a16="http://schemas.microsoft.com/office/drawing/2014/main" id="{B75DB148-5AFF-4A1C-8325-679C5EA989FB}"/>
                  </a:ext>
                </a:extLst>
              </p:cNvPr>
              <p:cNvSpPr>
                <a:spLocks/>
              </p:cNvSpPr>
              <p:nvPr/>
            </p:nvSpPr>
            <p:spPr bwMode="gray">
              <a:xfrm>
                <a:off x="4395652" y="2862920"/>
                <a:ext cx="115433" cy="71041"/>
              </a:xfrm>
              <a:custGeom>
                <a:avLst/>
                <a:gdLst>
                  <a:gd name="T0" fmla="*/ 2147483647 w 288"/>
                  <a:gd name="T1" fmla="*/ 2147483647 h 162"/>
                  <a:gd name="T2" fmla="*/ 2147483647 w 288"/>
                  <a:gd name="T3" fmla="*/ 2147483647 h 162"/>
                  <a:gd name="T4" fmla="*/ 2147483647 w 288"/>
                  <a:gd name="T5" fmla="*/ 2147483647 h 162"/>
                  <a:gd name="T6" fmla="*/ 2147483647 w 288"/>
                  <a:gd name="T7" fmla="*/ 2147483647 h 162"/>
                  <a:gd name="T8" fmla="*/ 2147483647 w 288"/>
                  <a:gd name="T9" fmla="*/ 2147483647 h 162"/>
                  <a:gd name="T10" fmla="*/ 2147483647 w 288"/>
                  <a:gd name="T11" fmla="*/ 2147483647 h 162"/>
                  <a:gd name="T12" fmla="*/ 2147483647 w 288"/>
                  <a:gd name="T13" fmla="*/ 2147483647 h 162"/>
                  <a:gd name="T14" fmla="*/ 0 w 288"/>
                  <a:gd name="T15" fmla="*/ 2147483647 h 162"/>
                  <a:gd name="T16" fmla="*/ 2147483647 w 288"/>
                  <a:gd name="T17" fmla="*/ 2147483647 h 162"/>
                  <a:gd name="T18" fmla="*/ 2147483647 w 288"/>
                  <a:gd name="T19" fmla="*/ 2147483647 h 162"/>
                  <a:gd name="T20" fmla="*/ 2147483647 w 288"/>
                  <a:gd name="T21" fmla="*/ 2147483647 h 162"/>
                  <a:gd name="T22" fmla="*/ 2147483647 w 288"/>
                  <a:gd name="T23" fmla="*/ 2147483647 h 162"/>
                  <a:gd name="T24" fmla="*/ 2147483647 w 288"/>
                  <a:gd name="T25" fmla="*/ 2147483647 h 162"/>
                  <a:gd name="T26" fmla="*/ 2147483647 w 288"/>
                  <a:gd name="T27" fmla="*/ 2147483647 h 162"/>
                  <a:gd name="T28" fmla="*/ 2147483647 w 288"/>
                  <a:gd name="T29" fmla="*/ 2147483647 h 162"/>
                  <a:gd name="T30" fmla="*/ 2147483647 w 288"/>
                  <a:gd name="T31" fmla="*/ 2147483647 h 162"/>
                  <a:gd name="T32" fmla="*/ 2147483647 w 288"/>
                  <a:gd name="T33" fmla="*/ 2147483647 h 162"/>
                  <a:gd name="T34" fmla="*/ 2147483647 w 288"/>
                  <a:gd name="T35" fmla="*/ 2147483647 h 162"/>
                  <a:gd name="T36" fmla="*/ 2147483647 w 288"/>
                  <a:gd name="T37" fmla="*/ 2147483647 h 162"/>
                  <a:gd name="T38" fmla="*/ 2147483647 w 288"/>
                  <a:gd name="T39" fmla="*/ 2147483647 h 162"/>
                  <a:gd name="T40" fmla="*/ 2147483647 w 288"/>
                  <a:gd name="T41" fmla="*/ 2147483647 h 162"/>
                  <a:gd name="T42" fmla="*/ 2147483647 w 288"/>
                  <a:gd name="T43" fmla="*/ 2147483647 h 162"/>
                  <a:gd name="T44" fmla="*/ 2147483647 w 288"/>
                  <a:gd name="T45" fmla="*/ 2147483647 h 162"/>
                  <a:gd name="T46" fmla="*/ 2147483647 w 288"/>
                  <a:gd name="T47" fmla="*/ 2147483647 h 162"/>
                  <a:gd name="T48" fmla="*/ 2147483647 w 288"/>
                  <a:gd name="T49" fmla="*/ 2147483647 h 162"/>
                  <a:gd name="T50" fmla="*/ 2147483647 w 288"/>
                  <a:gd name="T51" fmla="*/ 2147483647 h 162"/>
                  <a:gd name="T52" fmla="*/ 2147483647 w 288"/>
                  <a:gd name="T53" fmla="*/ 2147483647 h 162"/>
                  <a:gd name="T54" fmla="*/ 2147483647 w 288"/>
                  <a:gd name="T55" fmla="*/ 2147483647 h 162"/>
                  <a:gd name="T56" fmla="*/ 2147483647 w 288"/>
                  <a:gd name="T57" fmla="*/ 2147483647 h 162"/>
                  <a:gd name="T58" fmla="*/ 2147483647 w 288"/>
                  <a:gd name="T59" fmla="*/ 2147483647 h 162"/>
                  <a:gd name="T60" fmla="*/ 2147483647 w 288"/>
                  <a:gd name="T61" fmla="*/ 2147483647 h 162"/>
                  <a:gd name="T62" fmla="*/ 2147483647 w 288"/>
                  <a:gd name="T63" fmla="*/ 2147483647 h 162"/>
                  <a:gd name="T64" fmla="*/ 2147483647 w 288"/>
                  <a:gd name="T65" fmla="*/ 2147483647 h 162"/>
                  <a:gd name="T66" fmla="*/ 2147483647 w 288"/>
                  <a:gd name="T67" fmla="*/ 0 h 162"/>
                  <a:gd name="T68" fmla="*/ 2147483647 w 288"/>
                  <a:gd name="T69" fmla="*/ 2147483647 h 162"/>
                  <a:gd name="T70" fmla="*/ 2147483647 w 288"/>
                  <a:gd name="T71" fmla="*/ 2147483647 h 162"/>
                  <a:gd name="T72" fmla="*/ 2147483647 w 288"/>
                  <a:gd name="T73" fmla="*/ 2147483647 h 16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88"/>
                  <a:gd name="T112" fmla="*/ 0 h 162"/>
                  <a:gd name="T113" fmla="*/ 288 w 288"/>
                  <a:gd name="T114" fmla="*/ 162 h 16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88" h="162">
                    <a:moveTo>
                      <a:pt x="132" y="24"/>
                    </a:moveTo>
                    <a:lnTo>
                      <a:pt x="96" y="24"/>
                    </a:lnTo>
                    <a:lnTo>
                      <a:pt x="90" y="42"/>
                    </a:lnTo>
                    <a:lnTo>
                      <a:pt x="72" y="30"/>
                    </a:lnTo>
                    <a:lnTo>
                      <a:pt x="66" y="42"/>
                    </a:lnTo>
                    <a:lnTo>
                      <a:pt x="60" y="48"/>
                    </a:lnTo>
                    <a:lnTo>
                      <a:pt x="54" y="60"/>
                    </a:lnTo>
                    <a:lnTo>
                      <a:pt x="48" y="66"/>
                    </a:lnTo>
                    <a:lnTo>
                      <a:pt x="30" y="66"/>
                    </a:lnTo>
                    <a:lnTo>
                      <a:pt x="30" y="78"/>
                    </a:lnTo>
                    <a:lnTo>
                      <a:pt x="18" y="90"/>
                    </a:lnTo>
                    <a:lnTo>
                      <a:pt x="12" y="102"/>
                    </a:lnTo>
                    <a:lnTo>
                      <a:pt x="0" y="108"/>
                    </a:lnTo>
                    <a:lnTo>
                      <a:pt x="6" y="120"/>
                    </a:lnTo>
                    <a:lnTo>
                      <a:pt x="0" y="126"/>
                    </a:lnTo>
                    <a:lnTo>
                      <a:pt x="0" y="132"/>
                    </a:lnTo>
                    <a:lnTo>
                      <a:pt x="6" y="132"/>
                    </a:lnTo>
                    <a:lnTo>
                      <a:pt x="30" y="108"/>
                    </a:lnTo>
                    <a:lnTo>
                      <a:pt x="48" y="108"/>
                    </a:lnTo>
                    <a:lnTo>
                      <a:pt x="54" y="114"/>
                    </a:lnTo>
                    <a:lnTo>
                      <a:pt x="48" y="138"/>
                    </a:lnTo>
                    <a:lnTo>
                      <a:pt x="60" y="150"/>
                    </a:lnTo>
                    <a:lnTo>
                      <a:pt x="60" y="156"/>
                    </a:lnTo>
                    <a:lnTo>
                      <a:pt x="72" y="156"/>
                    </a:lnTo>
                    <a:lnTo>
                      <a:pt x="84" y="144"/>
                    </a:lnTo>
                    <a:lnTo>
                      <a:pt x="96" y="144"/>
                    </a:lnTo>
                    <a:lnTo>
                      <a:pt x="108" y="156"/>
                    </a:lnTo>
                    <a:lnTo>
                      <a:pt x="114" y="156"/>
                    </a:lnTo>
                    <a:lnTo>
                      <a:pt x="132" y="138"/>
                    </a:lnTo>
                    <a:lnTo>
                      <a:pt x="132" y="120"/>
                    </a:lnTo>
                    <a:lnTo>
                      <a:pt x="138" y="114"/>
                    </a:lnTo>
                    <a:lnTo>
                      <a:pt x="150" y="114"/>
                    </a:lnTo>
                    <a:lnTo>
                      <a:pt x="156" y="120"/>
                    </a:lnTo>
                    <a:lnTo>
                      <a:pt x="156" y="126"/>
                    </a:lnTo>
                    <a:lnTo>
                      <a:pt x="162" y="132"/>
                    </a:lnTo>
                    <a:lnTo>
                      <a:pt x="162" y="138"/>
                    </a:lnTo>
                    <a:lnTo>
                      <a:pt x="168" y="138"/>
                    </a:lnTo>
                    <a:lnTo>
                      <a:pt x="192" y="162"/>
                    </a:lnTo>
                    <a:lnTo>
                      <a:pt x="192" y="144"/>
                    </a:lnTo>
                    <a:lnTo>
                      <a:pt x="204" y="132"/>
                    </a:lnTo>
                    <a:lnTo>
                      <a:pt x="210" y="108"/>
                    </a:lnTo>
                    <a:lnTo>
                      <a:pt x="222" y="126"/>
                    </a:lnTo>
                    <a:lnTo>
                      <a:pt x="240" y="120"/>
                    </a:lnTo>
                    <a:lnTo>
                      <a:pt x="258" y="132"/>
                    </a:lnTo>
                    <a:lnTo>
                      <a:pt x="264" y="120"/>
                    </a:lnTo>
                    <a:lnTo>
                      <a:pt x="252" y="108"/>
                    </a:lnTo>
                    <a:lnTo>
                      <a:pt x="252" y="102"/>
                    </a:lnTo>
                    <a:lnTo>
                      <a:pt x="276" y="102"/>
                    </a:lnTo>
                    <a:lnTo>
                      <a:pt x="282" y="84"/>
                    </a:lnTo>
                    <a:lnTo>
                      <a:pt x="288" y="84"/>
                    </a:lnTo>
                    <a:lnTo>
                      <a:pt x="288" y="78"/>
                    </a:lnTo>
                    <a:lnTo>
                      <a:pt x="276" y="66"/>
                    </a:lnTo>
                    <a:lnTo>
                      <a:pt x="270" y="66"/>
                    </a:lnTo>
                    <a:lnTo>
                      <a:pt x="252" y="84"/>
                    </a:lnTo>
                    <a:lnTo>
                      <a:pt x="246" y="84"/>
                    </a:lnTo>
                    <a:lnTo>
                      <a:pt x="246" y="66"/>
                    </a:lnTo>
                    <a:lnTo>
                      <a:pt x="210" y="66"/>
                    </a:lnTo>
                    <a:lnTo>
                      <a:pt x="210" y="60"/>
                    </a:lnTo>
                    <a:lnTo>
                      <a:pt x="216" y="48"/>
                    </a:lnTo>
                    <a:lnTo>
                      <a:pt x="222" y="42"/>
                    </a:lnTo>
                    <a:lnTo>
                      <a:pt x="228" y="42"/>
                    </a:lnTo>
                    <a:lnTo>
                      <a:pt x="228" y="30"/>
                    </a:lnTo>
                    <a:lnTo>
                      <a:pt x="216" y="30"/>
                    </a:lnTo>
                    <a:lnTo>
                      <a:pt x="210" y="18"/>
                    </a:lnTo>
                    <a:lnTo>
                      <a:pt x="192" y="12"/>
                    </a:lnTo>
                    <a:lnTo>
                      <a:pt x="180" y="12"/>
                    </a:lnTo>
                    <a:lnTo>
                      <a:pt x="174" y="6"/>
                    </a:lnTo>
                    <a:lnTo>
                      <a:pt x="162" y="0"/>
                    </a:lnTo>
                    <a:lnTo>
                      <a:pt x="156" y="0"/>
                    </a:lnTo>
                    <a:lnTo>
                      <a:pt x="150" y="6"/>
                    </a:lnTo>
                    <a:lnTo>
                      <a:pt x="150" y="18"/>
                    </a:lnTo>
                    <a:lnTo>
                      <a:pt x="156" y="24"/>
                    </a:lnTo>
                    <a:lnTo>
                      <a:pt x="150" y="18"/>
                    </a:lnTo>
                    <a:lnTo>
                      <a:pt x="132" y="24"/>
                    </a:lnTo>
                    <a:close/>
                  </a:path>
                </a:pathLst>
              </a:custGeom>
              <a:solidFill>
                <a:srgbClr val="4966AC"/>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67" name="Sweden" descr="© INSCALE GmbH, 05.05.2010&#10;http://www.presentationload.com/">
                <a:extLst>
                  <a:ext uri="{FF2B5EF4-FFF2-40B4-BE49-F238E27FC236}">
                    <a16:creationId xmlns:a16="http://schemas.microsoft.com/office/drawing/2014/main" id="{CF7BB8E1-8ECF-4811-9D02-DE98A5190AAF}"/>
                  </a:ext>
                </a:extLst>
              </p:cNvPr>
              <p:cNvSpPr>
                <a:spLocks noEditPoints="1"/>
              </p:cNvSpPr>
              <p:nvPr/>
            </p:nvSpPr>
            <p:spPr bwMode="gray">
              <a:xfrm>
                <a:off x="4526685" y="2171573"/>
                <a:ext cx="272984" cy="434908"/>
              </a:xfrm>
              <a:custGeom>
                <a:avLst/>
                <a:gdLst>
                  <a:gd name="T0" fmla="*/ 2147483647 w 690"/>
                  <a:gd name="T1" fmla="*/ 2147483647 h 990"/>
                  <a:gd name="T2" fmla="*/ 2147483647 w 690"/>
                  <a:gd name="T3" fmla="*/ 2147483647 h 990"/>
                  <a:gd name="T4" fmla="*/ 2147483647 w 690"/>
                  <a:gd name="T5" fmla="*/ 2147483647 h 990"/>
                  <a:gd name="T6" fmla="*/ 2147483647 w 690"/>
                  <a:gd name="T7" fmla="*/ 2147483647 h 990"/>
                  <a:gd name="T8" fmla="*/ 2147483647 w 690"/>
                  <a:gd name="T9" fmla="*/ 2147483647 h 990"/>
                  <a:gd name="T10" fmla="*/ 2147483647 w 690"/>
                  <a:gd name="T11" fmla="*/ 2147483647 h 990"/>
                  <a:gd name="T12" fmla="*/ 2147483647 w 690"/>
                  <a:gd name="T13" fmla="*/ 2147483647 h 990"/>
                  <a:gd name="T14" fmla="*/ 2147483647 w 690"/>
                  <a:gd name="T15" fmla="*/ 2147483647 h 990"/>
                  <a:gd name="T16" fmla="*/ 2147483647 w 690"/>
                  <a:gd name="T17" fmla="*/ 2147483647 h 990"/>
                  <a:gd name="T18" fmla="*/ 2147483647 w 690"/>
                  <a:gd name="T19" fmla="*/ 2147483647 h 990"/>
                  <a:gd name="T20" fmla="*/ 2147483647 w 690"/>
                  <a:gd name="T21" fmla="*/ 2147483647 h 990"/>
                  <a:gd name="T22" fmla="*/ 2147483647 w 690"/>
                  <a:gd name="T23" fmla="*/ 2147483647 h 990"/>
                  <a:gd name="T24" fmla="*/ 2147483647 w 690"/>
                  <a:gd name="T25" fmla="*/ 2147483647 h 990"/>
                  <a:gd name="T26" fmla="*/ 2147483647 w 690"/>
                  <a:gd name="T27" fmla="*/ 2147483647 h 990"/>
                  <a:gd name="T28" fmla="*/ 2147483647 w 690"/>
                  <a:gd name="T29" fmla="*/ 2147483647 h 990"/>
                  <a:gd name="T30" fmla="*/ 2147483647 w 690"/>
                  <a:gd name="T31" fmla="*/ 2147483647 h 990"/>
                  <a:gd name="T32" fmla="*/ 2147483647 w 690"/>
                  <a:gd name="T33" fmla="*/ 2147483647 h 990"/>
                  <a:gd name="T34" fmla="*/ 2147483647 w 690"/>
                  <a:gd name="T35" fmla="*/ 2147483647 h 990"/>
                  <a:gd name="T36" fmla="*/ 2147483647 w 690"/>
                  <a:gd name="T37" fmla="*/ 2147483647 h 990"/>
                  <a:gd name="T38" fmla="*/ 2147483647 w 690"/>
                  <a:gd name="T39" fmla="*/ 2147483647 h 990"/>
                  <a:gd name="T40" fmla="*/ 2147483647 w 690"/>
                  <a:gd name="T41" fmla="*/ 2147483647 h 990"/>
                  <a:gd name="T42" fmla="*/ 2147483647 w 690"/>
                  <a:gd name="T43" fmla="*/ 2147483647 h 990"/>
                  <a:gd name="T44" fmla="*/ 2147483647 w 690"/>
                  <a:gd name="T45" fmla="*/ 2147483647 h 990"/>
                  <a:gd name="T46" fmla="*/ 0 w 690"/>
                  <a:gd name="T47" fmla="*/ 2147483647 h 990"/>
                  <a:gd name="T48" fmla="*/ 2147483647 w 690"/>
                  <a:gd name="T49" fmla="*/ 2147483647 h 990"/>
                  <a:gd name="T50" fmla="*/ 2147483647 w 690"/>
                  <a:gd name="T51" fmla="*/ 2147483647 h 990"/>
                  <a:gd name="T52" fmla="*/ 2147483647 w 690"/>
                  <a:gd name="T53" fmla="*/ 2147483647 h 990"/>
                  <a:gd name="T54" fmla="*/ 2147483647 w 690"/>
                  <a:gd name="T55" fmla="*/ 2147483647 h 990"/>
                  <a:gd name="T56" fmla="*/ 2147483647 w 690"/>
                  <a:gd name="T57" fmla="*/ 2147483647 h 990"/>
                  <a:gd name="T58" fmla="*/ 2147483647 w 690"/>
                  <a:gd name="T59" fmla="*/ 2147483647 h 990"/>
                  <a:gd name="T60" fmla="*/ 2147483647 w 690"/>
                  <a:gd name="T61" fmla="*/ 2147483647 h 990"/>
                  <a:gd name="T62" fmla="*/ 2147483647 w 690"/>
                  <a:gd name="T63" fmla="*/ 2147483647 h 990"/>
                  <a:gd name="T64" fmla="*/ 2147483647 w 690"/>
                  <a:gd name="T65" fmla="*/ 2147483647 h 990"/>
                  <a:gd name="T66" fmla="*/ 2147483647 w 690"/>
                  <a:gd name="T67" fmla="*/ 2147483647 h 990"/>
                  <a:gd name="T68" fmla="*/ 2147483647 w 690"/>
                  <a:gd name="T69" fmla="*/ 2147483647 h 990"/>
                  <a:gd name="T70" fmla="*/ 2147483647 w 690"/>
                  <a:gd name="T71" fmla="*/ 2147483647 h 990"/>
                  <a:gd name="T72" fmla="*/ 2147483647 w 690"/>
                  <a:gd name="T73" fmla="*/ 2147483647 h 990"/>
                  <a:gd name="T74" fmla="*/ 2147483647 w 690"/>
                  <a:gd name="T75" fmla="*/ 2147483647 h 990"/>
                  <a:gd name="T76" fmla="*/ 2147483647 w 690"/>
                  <a:gd name="T77" fmla="*/ 2147483647 h 990"/>
                  <a:gd name="T78" fmla="*/ 2147483647 w 690"/>
                  <a:gd name="T79" fmla="*/ 2147483647 h 990"/>
                  <a:gd name="T80" fmla="*/ 2147483647 w 690"/>
                  <a:gd name="T81" fmla="*/ 2147483647 h 990"/>
                  <a:gd name="T82" fmla="*/ 2147483647 w 690"/>
                  <a:gd name="T83" fmla="*/ 2147483647 h 990"/>
                  <a:gd name="T84" fmla="*/ 2147483647 w 690"/>
                  <a:gd name="T85" fmla="*/ 2147483647 h 990"/>
                  <a:gd name="T86" fmla="*/ 2147483647 w 690"/>
                  <a:gd name="T87" fmla="*/ 2147483647 h 990"/>
                  <a:gd name="T88" fmla="*/ 2147483647 w 690"/>
                  <a:gd name="T89" fmla="*/ 2147483647 h 990"/>
                  <a:gd name="T90" fmla="*/ 2147483647 w 690"/>
                  <a:gd name="T91" fmla="*/ 2147483647 h 990"/>
                  <a:gd name="T92" fmla="*/ 2147483647 w 690"/>
                  <a:gd name="T93" fmla="*/ 2147483647 h 990"/>
                  <a:gd name="T94" fmla="*/ 2147483647 w 690"/>
                  <a:gd name="T95" fmla="*/ 2147483647 h 990"/>
                  <a:gd name="T96" fmla="*/ 2147483647 w 690"/>
                  <a:gd name="T97" fmla="*/ 2147483647 h 990"/>
                  <a:gd name="T98" fmla="*/ 2147483647 w 690"/>
                  <a:gd name="T99" fmla="*/ 2147483647 h 990"/>
                  <a:gd name="T100" fmla="*/ 2147483647 w 690"/>
                  <a:gd name="T101" fmla="*/ 2147483647 h 99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90"/>
                  <a:gd name="T154" fmla="*/ 0 h 990"/>
                  <a:gd name="T155" fmla="*/ 690 w 690"/>
                  <a:gd name="T156" fmla="*/ 990 h 990"/>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90" h="990">
                    <a:moveTo>
                      <a:pt x="678" y="204"/>
                    </a:moveTo>
                    <a:lnTo>
                      <a:pt x="672" y="198"/>
                    </a:lnTo>
                    <a:lnTo>
                      <a:pt x="660" y="192"/>
                    </a:lnTo>
                    <a:lnTo>
                      <a:pt x="648" y="180"/>
                    </a:lnTo>
                    <a:lnTo>
                      <a:pt x="648" y="174"/>
                    </a:lnTo>
                    <a:lnTo>
                      <a:pt x="654" y="162"/>
                    </a:lnTo>
                    <a:lnTo>
                      <a:pt x="660" y="156"/>
                    </a:lnTo>
                    <a:lnTo>
                      <a:pt x="666" y="144"/>
                    </a:lnTo>
                    <a:lnTo>
                      <a:pt x="642" y="132"/>
                    </a:lnTo>
                    <a:lnTo>
                      <a:pt x="648" y="108"/>
                    </a:lnTo>
                    <a:lnTo>
                      <a:pt x="636" y="102"/>
                    </a:lnTo>
                    <a:lnTo>
                      <a:pt x="636" y="96"/>
                    </a:lnTo>
                    <a:lnTo>
                      <a:pt x="642" y="90"/>
                    </a:lnTo>
                    <a:lnTo>
                      <a:pt x="642" y="66"/>
                    </a:lnTo>
                    <a:lnTo>
                      <a:pt x="636" y="66"/>
                    </a:lnTo>
                    <a:lnTo>
                      <a:pt x="630" y="60"/>
                    </a:lnTo>
                    <a:lnTo>
                      <a:pt x="618" y="60"/>
                    </a:lnTo>
                    <a:lnTo>
                      <a:pt x="588" y="42"/>
                    </a:lnTo>
                    <a:lnTo>
                      <a:pt x="552" y="42"/>
                    </a:lnTo>
                    <a:lnTo>
                      <a:pt x="540" y="30"/>
                    </a:lnTo>
                    <a:lnTo>
                      <a:pt x="534" y="30"/>
                    </a:lnTo>
                    <a:lnTo>
                      <a:pt x="528" y="24"/>
                    </a:lnTo>
                    <a:lnTo>
                      <a:pt x="516" y="24"/>
                    </a:lnTo>
                    <a:lnTo>
                      <a:pt x="504" y="18"/>
                    </a:lnTo>
                    <a:lnTo>
                      <a:pt x="498" y="12"/>
                    </a:lnTo>
                    <a:lnTo>
                      <a:pt x="486" y="6"/>
                    </a:lnTo>
                    <a:lnTo>
                      <a:pt x="456" y="0"/>
                    </a:lnTo>
                    <a:lnTo>
                      <a:pt x="456" y="24"/>
                    </a:lnTo>
                    <a:lnTo>
                      <a:pt x="444" y="24"/>
                    </a:lnTo>
                    <a:lnTo>
                      <a:pt x="444" y="30"/>
                    </a:lnTo>
                    <a:lnTo>
                      <a:pt x="456" y="42"/>
                    </a:lnTo>
                    <a:lnTo>
                      <a:pt x="462" y="42"/>
                    </a:lnTo>
                    <a:lnTo>
                      <a:pt x="456" y="48"/>
                    </a:lnTo>
                    <a:lnTo>
                      <a:pt x="444" y="48"/>
                    </a:lnTo>
                    <a:lnTo>
                      <a:pt x="438" y="42"/>
                    </a:lnTo>
                    <a:lnTo>
                      <a:pt x="414" y="42"/>
                    </a:lnTo>
                    <a:lnTo>
                      <a:pt x="390" y="36"/>
                    </a:lnTo>
                    <a:lnTo>
                      <a:pt x="366" y="42"/>
                    </a:lnTo>
                    <a:lnTo>
                      <a:pt x="366" y="30"/>
                    </a:lnTo>
                    <a:lnTo>
                      <a:pt x="360" y="24"/>
                    </a:lnTo>
                    <a:lnTo>
                      <a:pt x="348" y="36"/>
                    </a:lnTo>
                    <a:lnTo>
                      <a:pt x="348" y="66"/>
                    </a:lnTo>
                    <a:lnTo>
                      <a:pt x="342" y="72"/>
                    </a:lnTo>
                    <a:lnTo>
                      <a:pt x="324" y="72"/>
                    </a:lnTo>
                    <a:lnTo>
                      <a:pt x="282" y="78"/>
                    </a:lnTo>
                    <a:lnTo>
                      <a:pt x="264" y="96"/>
                    </a:lnTo>
                    <a:lnTo>
                      <a:pt x="252" y="102"/>
                    </a:lnTo>
                    <a:lnTo>
                      <a:pt x="246" y="102"/>
                    </a:lnTo>
                    <a:lnTo>
                      <a:pt x="246" y="114"/>
                    </a:lnTo>
                    <a:lnTo>
                      <a:pt x="258" y="120"/>
                    </a:lnTo>
                    <a:lnTo>
                      <a:pt x="264" y="126"/>
                    </a:lnTo>
                    <a:lnTo>
                      <a:pt x="258" y="144"/>
                    </a:lnTo>
                    <a:lnTo>
                      <a:pt x="252" y="144"/>
                    </a:lnTo>
                    <a:lnTo>
                      <a:pt x="240" y="150"/>
                    </a:lnTo>
                    <a:lnTo>
                      <a:pt x="234" y="156"/>
                    </a:lnTo>
                    <a:lnTo>
                      <a:pt x="234" y="162"/>
                    </a:lnTo>
                    <a:lnTo>
                      <a:pt x="228" y="168"/>
                    </a:lnTo>
                    <a:lnTo>
                      <a:pt x="210" y="168"/>
                    </a:lnTo>
                    <a:lnTo>
                      <a:pt x="216" y="174"/>
                    </a:lnTo>
                    <a:lnTo>
                      <a:pt x="216" y="180"/>
                    </a:lnTo>
                    <a:lnTo>
                      <a:pt x="222" y="186"/>
                    </a:lnTo>
                    <a:lnTo>
                      <a:pt x="222" y="192"/>
                    </a:lnTo>
                    <a:lnTo>
                      <a:pt x="216" y="192"/>
                    </a:lnTo>
                    <a:lnTo>
                      <a:pt x="210" y="198"/>
                    </a:lnTo>
                    <a:lnTo>
                      <a:pt x="204" y="198"/>
                    </a:lnTo>
                    <a:lnTo>
                      <a:pt x="192" y="204"/>
                    </a:lnTo>
                    <a:lnTo>
                      <a:pt x="174" y="192"/>
                    </a:lnTo>
                    <a:lnTo>
                      <a:pt x="174" y="228"/>
                    </a:lnTo>
                    <a:lnTo>
                      <a:pt x="168" y="270"/>
                    </a:lnTo>
                    <a:lnTo>
                      <a:pt x="138" y="300"/>
                    </a:lnTo>
                    <a:lnTo>
                      <a:pt x="132" y="300"/>
                    </a:lnTo>
                    <a:lnTo>
                      <a:pt x="120" y="306"/>
                    </a:lnTo>
                    <a:lnTo>
                      <a:pt x="132" y="312"/>
                    </a:lnTo>
                    <a:lnTo>
                      <a:pt x="150" y="330"/>
                    </a:lnTo>
                    <a:lnTo>
                      <a:pt x="150" y="336"/>
                    </a:lnTo>
                    <a:lnTo>
                      <a:pt x="144" y="342"/>
                    </a:lnTo>
                    <a:lnTo>
                      <a:pt x="102" y="342"/>
                    </a:lnTo>
                    <a:lnTo>
                      <a:pt x="90" y="348"/>
                    </a:lnTo>
                    <a:lnTo>
                      <a:pt x="84" y="354"/>
                    </a:lnTo>
                    <a:lnTo>
                      <a:pt x="72" y="360"/>
                    </a:lnTo>
                    <a:lnTo>
                      <a:pt x="30" y="402"/>
                    </a:lnTo>
                    <a:lnTo>
                      <a:pt x="36" y="408"/>
                    </a:lnTo>
                    <a:lnTo>
                      <a:pt x="42" y="408"/>
                    </a:lnTo>
                    <a:lnTo>
                      <a:pt x="48" y="414"/>
                    </a:lnTo>
                    <a:lnTo>
                      <a:pt x="48" y="420"/>
                    </a:lnTo>
                    <a:lnTo>
                      <a:pt x="42" y="426"/>
                    </a:lnTo>
                    <a:lnTo>
                      <a:pt x="36" y="426"/>
                    </a:lnTo>
                    <a:lnTo>
                      <a:pt x="30" y="432"/>
                    </a:lnTo>
                    <a:lnTo>
                      <a:pt x="30" y="444"/>
                    </a:lnTo>
                    <a:lnTo>
                      <a:pt x="54" y="468"/>
                    </a:lnTo>
                    <a:lnTo>
                      <a:pt x="54" y="480"/>
                    </a:lnTo>
                    <a:lnTo>
                      <a:pt x="48" y="492"/>
                    </a:lnTo>
                    <a:lnTo>
                      <a:pt x="48" y="510"/>
                    </a:lnTo>
                    <a:lnTo>
                      <a:pt x="60" y="522"/>
                    </a:lnTo>
                    <a:lnTo>
                      <a:pt x="66" y="522"/>
                    </a:lnTo>
                    <a:lnTo>
                      <a:pt x="84" y="540"/>
                    </a:lnTo>
                    <a:lnTo>
                      <a:pt x="84" y="552"/>
                    </a:lnTo>
                    <a:lnTo>
                      <a:pt x="72" y="564"/>
                    </a:lnTo>
                    <a:lnTo>
                      <a:pt x="48" y="570"/>
                    </a:lnTo>
                    <a:lnTo>
                      <a:pt x="54" y="576"/>
                    </a:lnTo>
                    <a:lnTo>
                      <a:pt x="60" y="588"/>
                    </a:lnTo>
                    <a:lnTo>
                      <a:pt x="60" y="594"/>
                    </a:lnTo>
                    <a:lnTo>
                      <a:pt x="66" y="600"/>
                    </a:lnTo>
                    <a:lnTo>
                      <a:pt x="66" y="606"/>
                    </a:lnTo>
                    <a:lnTo>
                      <a:pt x="72" y="618"/>
                    </a:lnTo>
                    <a:lnTo>
                      <a:pt x="66" y="618"/>
                    </a:lnTo>
                    <a:lnTo>
                      <a:pt x="66" y="642"/>
                    </a:lnTo>
                    <a:lnTo>
                      <a:pt x="60" y="648"/>
                    </a:lnTo>
                    <a:lnTo>
                      <a:pt x="24" y="648"/>
                    </a:lnTo>
                    <a:lnTo>
                      <a:pt x="30" y="660"/>
                    </a:lnTo>
                    <a:lnTo>
                      <a:pt x="30" y="666"/>
                    </a:lnTo>
                    <a:lnTo>
                      <a:pt x="24" y="666"/>
                    </a:lnTo>
                    <a:lnTo>
                      <a:pt x="18" y="672"/>
                    </a:lnTo>
                    <a:lnTo>
                      <a:pt x="18" y="678"/>
                    </a:lnTo>
                    <a:lnTo>
                      <a:pt x="30" y="690"/>
                    </a:lnTo>
                    <a:lnTo>
                      <a:pt x="30" y="708"/>
                    </a:lnTo>
                    <a:lnTo>
                      <a:pt x="24" y="714"/>
                    </a:lnTo>
                    <a:lnTo>
                      <a:pt x="18" y="726"/>
                    </a:lnTo>
                    <a:lnTo>
                      <a:pt x="0" y="708"/>
                    </a:lnTo>
                    <a:lnTo>
                      <a:pt x="0" y="768"/>
                    </a:lnTo>
                    <a:lnTo>
                      <a:pt x="6" y="762"/>
                    </a:lnTo>
                    <a:lnTo>
                      <a:pt x="24" y="762"/>
                    </a:lnTo>
                    <a:lnTo>
                      <a:pt x="36" y="774"/>
                    </a:lnTo>
                    <a:lnTo>
                      <a:pt x="36" y="780"/>
                    </a:lnTo>
                    <a:lnTo>
                      <a:pt x="30" y="780"/>
                    </a:lnTo>
                    <a:lnTo>
                      <a:pt x="30" y="774"/>
                    </a:lnTo>
                    <a:lnTo>
                      <a:pt x="24" y="774"/>
                    </a:lnTo>
                    <a:lnTo>
                      <a:pt x="24" y="834"/>
                    </a:lnTo>
                    <a:lnTo>
                      <a:pt x="30" y="840"/>
                    </a:lnTo>
                    <a:lnTo>
                      <a:pt x="36" y="840"/>
                    </a:lnTo>
                    <a:lnTo>
                      <a:pt x="48" y="846"/>
                    </a:lnTo>
                    <a:lnTo>
                      <a:pt x="54" y="858"/>
                    </a:lnTo>
                    <a:lnTo>
                      <a:pt x="60" y="864"/>
                    </a:lnTo>
                    <a:lnTo>
                      <a:pt x="66" y="876"/>
                    </a:lnTo>
                    <a:lnTo>
                      <a:pt x="90" y="900"/>
                    </a:lnTo>
                    <a:lnTo>
                      <a:pt x="96" y="900"/>
                    </a:lnTo>
                    <a:lnTo>
                      <a:pt x="96" y="912"/>
                    </a:lnTo>
                    <a:lnTo>
                      <a:pt x="78" y="912"/>
                    </a:lnTo>
                    <a:lnTo>
                      <a:pt x="78" y="942"/>
                    </a:lnTo>
                    <a:lnTo>
                      <a:pt x="90" y="954"/>
                    </a:lnTo>
                    <a:lnTo>
                      <a:pt x="102" y="960"/>
                    </a:lnTo>
                    <a:lnTo>
                      <a:pt x="96" y="966"/>
                    </a:lnTo>
                    <a:lnTo>
                      <a:pt x="96" y="984"/>
                    </a:lnTo>
                    <a:lnTo>
                      <a:pt x="102" y="984"/>
                    </a:lnTo>
                    <a:lnTo>
                      <a:pt x="108" y="990"/>
                    </a:lnTo>
                    <a:lnTo>
                      <a:pt x="174" y="990"/>
                    </a:lnTo>
                    <a:lnTo>
                      <a:pt x="180" y="984"/>
                    </a:lnTo>
                    <a:lnTo>
                      <a:pt x="180" y="948"/>
                    </a:lnTo>
                    <a:lnTo>
                      <a:pt x="198" y="942"/>
                    </a:lnTo>
                    <a:lnTo>
                      <a:pt x="198" y="924"/>
                    </a:lnTo>
                    <a:lnTo>
                      <a:pt x="264" y="930"/>
                    </a:lnTo>
                    <a:lnTo>
                      <a:pt x="276" y="936"/>
                    </a:lnTo>
                    <a:lnTo>
                      <a:pt x="300" y="876"/>
                    </a:lnTo>
                    <a:lnTo>
                      <a:pt x="300" y="864"/>
                    </a:lnTo>
                    <a:lnTo>
                      <a:pt x="306" y="852"/>
                    </a:lnTo>
                    <a:lnTo>
                      <a:pt x="306" y="816"/>
                    </a:lnTo>
                    <a:lnTo>
                      <a:pt x="300" y="810"/>
                    </a:lnTo>
                    <a:lnTo>
                      <a:pt x="294" y="798"/>
                    </a:lnTo>
                    <a:lnTo>
                      <a:pt x="312" y="798"/>
                    </a:lnTo>
                    <a:lnTo>
                      <a:pt x="324" y="786"/>
                    </a:lnTo>
                    <a:lnTo>
                      <a:pt x="324" y="780"/>
                    </a:lnTo>
                    <a:lnTo>
                      <a:pt x="306" y="762"/>
                    </a:lnTo>
                    <a:lnTo>
                      <a:pt x="294" y="762"/>
                    </a:lnTo>
                    <a:lnTo>
                      <a:pt x="312" y="756"/>
                    </a:lnTo>
                    <a:lnTo>
                      <a:pt x="300" y="750"/>
                    </a:lnTo>
                    <a:lnTo>
                      <a:pt x="324" y="750"/>
                    </a:lnTo>
                    <a:lnTo>
                      <a:pt x="336" y="744"/>
                    </a:lnTo>
                    <a:lnTo>
                      <a:pt x="348" y="744"/>
                    </a:lnTo>
                    <a:lnTo>
                      <a:pt x="354" y="738"/>
                    </a:lnTo>
                    <a:lnTo>
                      <a:pt x="360" y="726"/>
                    </a:lnTo>
                    <a:lnTo>
                      <a:pt x="360" y="714"/>
                    </a:lnTo>
                    <a:lnTo>
                      <a:pt x="366" y="708"/>
                    </a:lnTo>
                    <a:lnTo>
                      <a:pt x="384" y="726"/>
                    </a:lnTo>
                    <a:lnTo>
                      <a:pt x="390" y="726"/>
                    </a:lnTo>
                    <a:lnTo>
                      <a:pt x="396" y="720"/>
                    </a:lnTo>
                    <a:lnTo>
                      <a:pt x="408" y="696"/>
                    </a:lnTo>
                    <a:lnTo>
                      <a:pt x="402" y="690"/>
                    </a:lnTo>
                    <a:lnTo>
                      <a:pt x="402" y="684"/>
                    </a:lnTo>
                    <a:lnTo>
                      <a:pt x="414" y="684"/>
                    </a:lnTo>
                    <a:lnTo>
                      <a:pt x="420" y="678"/>
                    </a:lnTo>
                    <a:lnTo>
                      <a:pt x="432" y="672"/>
                    </a:lnTo>
                    <a:lnTo>
                      <a:pt x="432" y="660"/>
                    </a:lnTo>
                    <a:lnTo>
                      <a:pt x="420" y="636"/>
                    </a:lnTo>
                    <a:lnTo>
                      <a:pt x="408" y="630"/>
                    </a:lnTo>
                    <a:lnTo>
                      <a:pt x="408" y="618"/>
                    </a:lnTo>
                    <a:lnTo>
                      <a:pt x="372" y="600"/>
                    </a:lnTo>
                    <a:lnTo>
                      <a:pt x="360" y="606"/>
                    </a:lnTo>
                    <a:lnTo>
                      <a:pt x="354" y="606"/>
                    </a:lnTo>
                    <a:lnTo>
                      <a:pt x="342" y="600"/>
                    </a:lnTo>
                    <a:lnTo>
                      <a:pt x="330" y="576"/>
                    </a:lnTo>
                    <a:lnTo>
                      <a:pt x="330" y="558"/>
                    </a:lnTo>
                    <a:lnTo>
                      <a:pt x="324" y="546"/>
                    </a:lnTo>
                    <a:lnTo>
                      <a:pt x="324" y="528"/>
                    </a:lnTo>
                    <a:lnTo>
                      <a:pt x="336" y="516"/>
                    </a:lnTo>
                    <a:lnTo>
                      <a:pt x="342" y="504"/>
                    </a:lnTo>
                    <a:lnTo>
                      <a:pt x="342" y="486"/>
                    </a:lnTo>
                    <a:lnTo>
                      <a:pt x="336" y="474"/>
                    </a:lnTo>
                    <a:lnTo>
                      <a:pt x="330" y="468"/>
                    </a:lnTo>
                    <a:lnTo>
                      <a:pt x="330" y="462"/>
                    </a:lnTo>
                    <a:lnTo>
                      <a:pt x="348" y="462"/>
                    </a:lnTo>
                    <a:lnTo>
                      <a:pt x="354" y="456"/>
                    </a:lnTo>
                    <a:lnTo>
                      <a:pt x="354" y="438"/>
                    </a:lnTo>
                    <a:lnTo>
                      <a:pt x="348" y="426"/>
                    </a:lnTo>
                    <a:lnTo>
                      <a:pt x="354" y="432"/>
                    </a:lnTo>
                    <a:lnTo>
                      <a:pt x="378" y="432"/>
                    </a:lnTo>
                    <a:lnTo>
                      <a:pt x="384" y="426"/>
                    </a:lnTo>
                    <a:lnTo>
                      <a:pt x="396" y="420"/>
                    </a:lnTo>
                    <a:lnTo>
                      <a:pt x="408" y="408"/>
                    </a:lnTo>
                    <a:lnTo>
                      <a:pt x="438" y="414"/>
                    </a:lnTo>
                    <a:lnTo>
                      <a:pt x="450" y="390"/>
                    </a:lnTo>
                    <a:lnTo>
                      <a:pt x="480" y="390"/>
                    </a:lnTo>
                    <a:lnTo>
                      <a:pt x="498" y="384"/>
                    </a:lnTo>
                    <a:lnTo>
                      <a:pt x="510" y="378"/>
                    </a:lnTo>
                    <a:lnTo>
                      <a:pt x="522" y="354"/>
                    </a:lnTo>
                    <a:lnTo>
                      <a:pt x="540" y="336"/>
                    </a:lnTo>
                    <a:lnTo>
                      <a:pt x="546" y="324"/>
                    </a:lnTo>
                    <a:lnTo>
                      <a:pt x="528" y="300"/>
                    </a:lnTo>
                    <a:lnTo>
                      <a:pt x="558" y="264"/>
                    </a:lnTo>
                    <a:lnTo>
                      <a:pt x="540" y="246"/>
                    </a:lnTo>
                    <a:lnTo>
                      <a:pt x="576" y="234"/>
                    </a:lnTo>
                    <a:lnTo>
                      <a:pt x="594" y="216"/>
                    </a:lnTo>
                    <a:lnTo>
                      <a:pt x="672" y="222"/>
                    </a:lnTo>
                    <a:lnTo>
                      <a:pt x="684" y="240"/>
                    </a:lnTo>
                    <a:lnTo>
                      <a:pt x="690" y="240"/>
                    </a:lnTo>
                    <a:lnTo>
                      <a:pt x="678" y="204"/>
                    </a:lnTo>
                    <a:close/>
                    <a:moveTo>
                      <a:pt x="390" y="828"/>
                    </a:moveTo>
                    <a:lnTo>
                      <a:pt x="390" y="840"/>
                    </a:lnTo>
                    <a:lnTo>
                      <a:pt x="396" y="852"/>
                    </a:lnTo>
                    <a:lnTo>
                      <a:pt x="396" y="864"/>
                    </a:lnTo>
                    <a:lnTo>
                      <a:pt x="402" y="870"/>
                    </a:lnTo>
                    <a:lnTo>
                      <a:pt x="402" y="876"/>
                    </a:lnTo>
                    <a:lnTo>
                      <a:pt x="414" y="852"/>
                    </a:lnTo>
                    <a:lnTo>
                      <a:pt x="426" y="852"/>
                    </a:lnTo>
                    <a:lnTo>
                      <a:pt x="432" y="846"/>
                    </a:lnTo>
                    <a:lnTo>
                      <a:pt x="438" y="834"/>
                    </a:lnTo>
                    <a:lnTo>
                      <a:pt x="438" y="822"/>
                    </a:lnTo>
                    <a:lnTo>
                      <a:pt x="432" y="816"/>
                    </a:lnTo>
                    <a:lnTo>
                      <a:pt x="450" y="798"/>
                    </a:lnTo>
                    <a:lnTo>
                      <a:pt x="444" y="798"/>
                    </a:lnTo>
                    <a:lnTo>
                      <a:pt x="438" y="804"/>
                    </a:lnTo>
                    <a:lnTo>
                      <a:pt x="420" y="804"/>
                    </a:lnTo>
                    <a:lnTo>
                      <a:pt x="408" y="810"/>
                    </a:lnTo>
                    <a:lnTo>
                      <a:pt x="390" y="828"/>
                    </a:lnTo>
                    <a:close/>
                    <a:moveTo>
                      <a:pt x="300" y="900"/>
                    </a:moveTo>
                    <a:lnTo>
                      <a:pt x="300" y="912"/>
                    </a:lnTo>
                    <a:lnTo>
                      <a:pt x="294" y="924"/>
                    </a:lnTo>
                    <a:lnTo>
                      <a:pt x="300" y="918"/>
                    </a:lnTo>
                    <a:lnTo>
                      <a:pt x="312" y="912"/>
                    </a:lnTo>
                    <a:lnTo>
                      <a:pt x="318" y="900"/>
                    </a:lnTo>
                    <a:lnTo>
                      <a:pt x="318" y="894"/>
                    </a:lnTo>
                    <a:lnTo>
                      <a:pt x="324" y="888"/>
                    </a:lnTo>
                    <a:lnTo>
                      <a:pt x="324" y="882"/>
                    </a:lnTo>
                    <a:lnTo>
                      <a:pt x="342" y="858"/>
                    </a:lnTo>
                    <a:lnTo>
                      <a:pt x="336" y="840"/>
                    </a:lnTo>
                    <a:lnTo>
                      <a:pt x="330" y="852"/>
                    </a:lnTo>
                    <a:lnTo>
                      <a:pt x="312" y="870"/>
                    </a:lnTo>
                    <a:lnTo>
                      <a:pt x="300" y="894"/>
                    </a:lnTo>
                    <a:lnTo>
                      <a:pt x="300" y="900"/>
                    </a:lnTo>
                    <a:close/>
                  </a:path>
                </a:pathLst>
              </a:custGeom>
              <a:solidFill>
                <a:srgbClr val="4966AC"/>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68" name="Spain" descr="© INSCALE GmbH, 05.05.2010&#10;http://www.presentationload.com/">
                <a:extLst>
                  <a:ext uri="{FF2B5EF4-FFF2-40B4-BE49-F238E27FC236}">
                    <a16:creationId xmlns:a16="http://schemas.microsoft.com/office/drawing/2014/main" id="{84FFB120-2891-4351-93FA-4053DEE40E94}"/>
                  </a:ext>
                </a:extLst>
              </p:cNvPr>
              <p:cNvSpPr>
                <a:spLocks noEditPoints="1"/>
              </p:cNvSpPr>
              <p:nvPr/>
            </p:nvSpPr>
            <p:spPr bwMode="gray">
              <a:xfrm>
                <a:off x="4002555" y="3005001"/>
                <a:ext cx="346300" cy="272034"/>
              </a:xfrm>
              <a:custGeom>
                <a:avLst/>
                <a:gdLst>
                  <a:gd name="T0" fmla="*/ 2147483647 w 876"/>
                  <a:gd name="T1" fmla="*/ 2147483647 h 618"/>
                  <a:gd name="T2" fmla="*/ 2147483647 w 876"/>
                  <a:gd name="T3" fmla="*/ 2147483647 h 618"/>
                  <a:gd name="T4" fmla="*/ 2147483647 w 876"/>
                  <a:gd name="T5" fmla="*/ 2147483647 h 618"/>
                  <a:gd name="T6" fmla="*/ 2147483647 w 876"/>
                  <a:gd name="T7" fmla="*/ 2147483647 h 618"/>
                  <a:gd name="T8" fmla="*/ 2147483647 w 876"/>
                  <a:gd name="T9" fmla="*/ 2147483647 h 618"/>
                  <a:gd name="T10" fmla="*/ 2147483647 w 876"/>
                  <a:gd name="T11" fmla="*/ 2147483647 h 618"/>
                  <a:gd name="T12" fmla="*/ 2147483647 w 876"/>
                  <a:gd name="T13" fmla="*/ 2147483647 h 618"/>
                  <a:gd name="T14" fmla="*/ 2147483647 w 876"/>
                  <a:gd name="T15" fmla="*/ 2147483647 h 618"/>
                  <a:gd name="T16" fmla="*/ 2147483647 w 876"/>
                  <a:gd name="T17" fmla="*/ 2147483647 h 618"/>
                  <a:gd name="T18" fmla="*/ 2147483647 w 876"/>
                  <a:gd name="T19" fmla="*/ 2147483647 h 618"/>
                  <a:gd name="T20" fmla="*/ 2147483647 w 876"/>
                  <a:gd name="T21" fmla="*/ 2147483647 h 618"/>
                  <a:gd name="T22" fmla="*/ 2147483647 w 876"/>
                  <a:gd name="T23" fmla="*/ 2147483647 h 618"/>
                  <a:gd name="T24" fmla="*/ 2147483647 w 876"/>
                  <a:gd name="T25" fmla="*/ 2147483647 h 618"/>
                  <a:gd name="T26" fmla="*/ 2147483647 w 876"/>
                  <a:gd name="T27" fmla="*/ 2147483647 h 618"/>
                  <a:gd name="T28" fmla="*/ 2147483647 w 876"/>
                  <a:gd name="T29" fmla="*/ 2147483647 h 618"/>
                  <a:gd name="T30" fmla="*/ 2147483647 w 876"/>
                  <a:gd name="T31" fmla="*/ 2147483647 h 618"/>
                  <a:gd name="T32" fmla="*/ 2147483647 w 876"/>
                  <a:gd name="T33" fmla="*/ 2147483647 h 618"/>
                  <a:gd name="T34" fmla="*/ 2147483647 w 876"/>
                  <a:gd name="T35" fmla="*/ 2147483647 h 618"/>
                  <a:gd name="T36" fmla="*/ 2147483647 w 876"/>
                  <a:gd name="T37" fmla="*/ 2147483647 h 618"/>
                  <a:gd name="T38" fmla="*/ 2147483647 w 876"/>
                  <a:gd name="T39" fmla="*/ 2147483647 h 618"/>
                  <a:gd name="T40" fmla="*/ 2147483647 w 876"/>
                  <a:gd name="T41" fmla="*/ 0 h 618"/>
                  <a:gd name="T42" fmla="*/ 2147483647 w 876"/>
                  <a:gd name="T43" fmla="*/ 2147483647 h 618"/>
                  <a:gd name="T44" fmla="*/ 0 w 876"/>
                  <a:gd name="T45" fmla="*/ 2147483647 h 618"/>
                  <a:gd name="T46" fmla="*/ 2147483647 w 876"/>
                  <a:gd name="T47" fmla="*/ 2147483647 h 618"/>
                  <a:gd name="T48" fmla="*/ 2147483647 w 876"/>
                  <a:gd name="T49" fmla="*/ 2147483647 h 618"/>
                  <a:gd name="T50" fmla="*/ 2147483647 w 876"/>
                  <a:gd name="T51" fmla="*/ 2147483647 h 618"/>
                  <a:gd name="T52" fmla="*/ 2147483647 w 876"/>
                  <a:gd name="T53" fmla="*/ 2147483647 h 618"/>
                  <a:gd name="T54" fmla="*/ 2147483647 w 876"/>
                  <a:gd name="T55" fmla="*/ 2147483647 h 618"/>
                  <a:gd name="T56" fmla="*/ 2147483647 w 876"/>
                  <a:gd name="T57" fmla="*/ 2147483647 h 618"/>
                  <a:gd name="T58" fmla="*/ 2147483647 w 876"/>
                  <a:gd name="T59" fmla="*/ 2147483647 h 618"/>
                  <a:gd name="T60" fmla="*/ 2147483647 w 876"/>
                  <a:gd name="T61" fmla="*/ 2147483647 h 618"/>
                  <a:gd name="T62" fmla="*/ 2147483647 w 876"/>
                  <a:gd name="T63" fmla="*/ 2147483647 h 618"/>
                  <a:gd name="T64" fmla="*/ 2147483647 w 876"/>
                  <a:gd name="T65" fmla="*/ 2147483647 h 618"/>
                  <a:gd name="T66" fmla="*/ 2147483647 w 876"/>
                  <a:gd name="T67" fmla="*/ 2147483647 h 618"/>
                  <a:gd name="T68" fmla="*/ 2147483647 w 876"/>
                  <a:gd name="T69" fmla="*/ 2147483647 h 618"/>
                  <a:gd name="T70" fmla="*/ 2147483647 w 876"/>
                  <a:gd name="T71" fmla="*/ 2147483647 h 618"/>
                  <a:gd name="T72" fmla="*/ 2147483647 w 876"/>
                  <a:gd name="T73" fmla="*/ 2147483647 h 618"/>
                  <a:gd name="T74" fmla="*/ 2147483647 w 876"/>
                  <a:gd name="T75" fmla="*/ 2147483647 h 618"/>
                  <a:gd name="T76" fmla="*/ 2147483647 w 876"/>
                  <a:gd name="T77" fmla="*/ 2147483647 h 618"/>
                  <a:gd name="T78" fmla="*/ 2147483647 w 876"/>
                  <a:gd name="T79" fmla="*/ 2147483647 h 618"/>
                  <a:gd name="T80" fmla="*/ 2147483647 w 876"/>
                  <a:gd name="T81" fmla="*/ 2147483647 h 618"/>
                  <a:gd name="T82" fmla="*/ 2147483647 w 876"/>
                  <a:gd name="T83" fmla="*/ 2147483647 h 618"/>
                  <a:gd name="T84" fmla="*/ 2147483647 w 876"/>
                  <a:gd name="T85" fmla="*/ 2147483647 h 618"/>
                  <a:gd name="T86" fmla="*/ 2147483647 w 876"/>
                  <a:gd name="T87" fmla="*/ 2147483647 h 618"/>
                  <a:gd name="T88" fmla="*/ 2147483647 w 876"/>
                  <a:gd name="T89" fmla="*/ 2147483647 h 618"/>
                  <a:gd name="T90" fmla="*/ 2147483647 w 876"/>
                  <a:gd name="T91" fmla="*/ 2147483647 h 618"/>
                  <a:gd name="T92" fmla="*/ 2147483647 w 876"/>
                  <a:gd name="T93" fmla="*/ 2147483647 h 618"/>
                  <a:gd name="T94" fmla="*/ 2147483647 w 876"/>
                  <a:gd name="T95" fmla="*/ 2147483647 h 618"/>
                  <a:gd name="T96" fmla="*/ 2147483647 w 876"/>
                  <a:gd name="T97" fmla="*/ 2147483647 h 618"/>
                  <a:gd name="T98" fmla="*/ 2147483647 w 876"/>
                  <a:gd name="T99" fmla="*/ 2147483647 h 618"/>
                  <a:gd name="T100" fmla="*/ 2147483647 w 876"/>
                  <a:gd name="T101" fmla="*/ 2147483647 h 618"/>
                  <a:gd name="T102" fmla="*/ 2147483647 w 876"/>
                  <a:gd name="T103" fmla="*/ 2147483647 h 618"/>
                  <a:gd name="T104" fmla="*/ 2147483647 w 876"/>
                  <a:gd name="T105" fmla="*/ 2147483647 h 618"/>
                  <a:gd name="T106" fmla="*/ 2147483647 w 876"/>
                  <a:gd name="T107" fmla="*/ 2147483647 h 618"/>
                  <a:gd name="T108" fmla="*/ 2147483647 w 876"/>
                  <a:gd name="T109" fmla="*/ 2147483647 h 61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876"/>
                  <a:gd name="T166" fmla="*/ 0 h 618"/>
                  <a:gd name="T167" fmla="*/ 876 w 876"/>
                  <a:gd name="T168" fmla="*/ 618 h 61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876" h="618">
                    <a:moveTo>
                      <a:pt x="804" y="318"/>
                    </a:moveTo>
                    <a:lnTo>
                      <a:pt x="798" y="312"/>
                    </a:lnTo>
                    <a:lnTo>
                      <a:pt x="798" y="306"/>
                    </a:lnTo>
                    <a:lnTo>
                      <a:pt x="786" y="306"/>
                    </a:lnTo>
                    <a:lnTo>
                      <a:pt x="762" y="318"/>
                    </a:lnTo>
                    <a:lnTo>
                      <a:pt x="750" y="330"/>
                    </a:lnTo>
                    <a:lnTo>
                      <a:pt x="750" y="336"/>
                    </a:lnTo>
                    <a:lnTo>
                      <a:pt x="756" y="342"/>
                    </a:lnTo>
                    <a:lnTo>
                      <a:pt x="768" y="342"/>
                    </a:lnTo>
                    <a:lnTo>
                      <a:pt x="774" y="348"/>
                    </a:lnTo>
                    <a:lnTo>
                      <a:pt x="774" y="354"/>
                    </a:lnTo>
                    <a:lnTo>
                      <a:pt x="804" y="354"/>
                    </a:lnTo>
                    <a:lnTo>
                      <a:pt x="816" y="342"/>
                    </a:lnTo>
                    <a:lnTo>
                      <a:pt x="816" y="324"/>
                    </a:lnTo>
                    <a:lnTo>
                      <a:pt x="810" y="318"/>
                    </a:lnTo>
                    <a:lnTo>
                      <a:pt x="804" y="318"/>
                    </a:lnTo>
                    <a:close/>
                    <a:moveTo>
                      <a:pt x="672" y="390"/>
                    </a:moveTo>
                    <a:lnTo>
                      <a:pt x="678" y="396"/>
                    </a:lnTo>
                    <a:lnTo>
                      <a:pt x="684" y="396"/>
                    </a:lnTo>
                    <a:lnTo>
                      <a:pt x="690" y="390"/>
                    </a:lnTo>
                    <a:lnTo>
                      <a:pt x="690" y="372"/>
                    </a:lnTo>
                    <a:lnTo>
                      <a:pt x="684" y="372"/>
                    </a:lnTo>
                    <a:lnTo>
                      <a:pt x="672" y="384"/>
                    </a:lnTo>
                    <a:lnTo>
                      <a:pt x="672" y="390"/>
                    </a:lnTo>
                    <a:close/>
                    <a:moveTo>
                      <a:pt x="840" y="300"/>
                    </a:moveTo>
                    <a:lnTo>
                      <a:pt x="840" y="306"/>
                    </a:lnTo>
                    <a:lnTo>
                      <a:pt x="852" y="318"/>
                    </a:lnTo>
                    <a:lnTo>
                      <a:pt x="870" y="318"/>
                    </a:lnTo>
                    <a:lnTo>
                      <a:pt x="876" y="312"/>
                    </a:lnTo>
                    <a:lnTo>
                      <a:pt x="864" y="300"/>
                    </a:lnTo>
                    <a:lnTo>
                      <a:pt x="852" y="300"/>
                    </a:lnTo>
                    <a:lnTo>
                      <a:pt x="846" y="294"/>
                    </a:lnTo>
                    <a:lnTo>
                      <a:pt x="840" y="300"/>
                    </a:lnTo>
                    <a:close/>
                    <a:moveTo>
                      <a:pt x="804" y="150"/>
                    </a:moveTo>
                    <a:lnTo>
                      <a:pt x="798" y="138"/>
                    </a:lnTo>
                    <a:lnTo>
                      <a:pt x="798" y="132"/>
                    </a:lnTo>
                    <a:lnTo>
                      <a:pt x="810" y="120"/>
                    </a:lnTo>
                    <a:lnTo>
                      <a:pt x="798" y="114"/>
                    </a:lnTo>
                    <a:lnTo>
                      <a:pt x="792" y="108"/>
                    </a:lnTo>
                    <a:lnTo>
                      <a:pt x="792" y="102"/>
                    </a:lnTo>
                    <a:lnTo>
                      <a:pt x="780" y="102"/>
                    </a:lnTo>
                    <a:lnTo>
                      <a:pt x="780" y="108"/>
                    </a:lnTo>
                    <a:lnTo>
                      <a:pt x="774" y="114"/>
                    </a:lnTo>
                    <a:lnTo>
                      <a:pt x="756" y="114"/>
                    </a:lnTo>
                    <a:lnTo>
                      <a:pt x="750" y="108"/>
                    </a:lnTo>
                    <a:lnTo>
                      <a:pt x="726" y="108"/>
                    </a:lnTo>
                    <a:lnTo>
                      <a:pt x="726" y="102"/>
                    </a:lnTo>
                    <a:lnTo>
                      <a:pt x="708" y="102"/>
                    </a:lnTo>
                    <a:lnTo>
                      <a:pt x="696" y="108"/>
                    </a:lnTo>
                    <a:lnTo>
                      <a:pt x="690" y="84"/>
                    </a:lnTo>
                    <a:lnTo>
                      <a:pt x="672" y="84"/>
                    </a:lnTo>
                    <a:lnTo>
                      <a:pt x="672" y="78"/>
                    </a:lnTo>
                    <a:lnTo>
                      <a:pt x="666" y="72"/>
                    </a:lnTo>
                    <a:lnTo>
                      <a:pt x="648" y="72"/>
                    </a:lnTo>
                    <a:lnTo>
                      <a:pt x="642" y="78"/>
                    </a:lnTo>
                    <a:lnTo>
                      <a:pt x="642" y="90"/>
                    </a:lnTo>
                    <a:lnTo>
                      <a:pt x="624" y="96"/>
                    </a:lnTo>
                    <a:lnTo>
                      <a:pt x="624" y="84"/>
                    </a:lnTo>
                    <a:lnTo>
                      <a:pt x="594" y="84"/>
                    </a:lnTo>
                    <a:lnTo>
                      <a:pt x="582" y="72"/>
                    </a:lnTo>
                    <a:lnTo>
                      <a:pt x="570" y="72"/>
                    </a:lnTo>
                    <a:lnTo>
                      <a:pt x="564" y="78"/>
                    </a:lnTo>
                    <a:lnTo>
                      <a:pt x="546" y="60"/>
                    </a:lnTo>
                    <a:lnTo>
                      <a:pt x="510" y="60"/>
                    </a:lnTo>
                    <a:lnTo>
                      <a:pt x="516" y="54"/>
                    </a:lnTo>
                    <a:lnTo>
                      <a:pt x="516" y="48"/>
                    </a:lnTo>
                    <a:lnTo>
                      <a:pt x="504" y="36"/>
                    </a:lnTo>
                    <a:lnTo>
                      <a:pt x="498" y="36"/>
                    </a:lnTo>
                    <a:lnTo>
                      <a:pt x="492" y="42"/>
                    </a:lnTo>
                    <a:lnTo>
                      <a:pt x="486" y="36"/>
                    </a:lnTo>
                    <a:lnTo>
                      <a:pt x="450" y="36"/>
                    </a:lnTo>
                    <a:lnTo>
                      <a:pt x="390" y="24"/>
                    </a:lnTo>
                    <a:lnTo>
                      <a:pt x="378" y="24"/>
                    </a:lnTo>
                    <a:lnTo>
                      <a:pt x="348" y="36"/>
                    </a:lnTo>
                    <a:lnTo>
                      <a:pt x="294" y="30"/>
                    </a:lnTo>
                    <a:lnTo>
                      <a:pt x="258" y="12"/>
                    </a:lnTo>
                    <a:lnTo>
                      <a:pt x="234" y="12"/>
                    </a:lnTo>
                    <a:lnTo>
                      <a:pt x="216" y="18"/>
                    </a:lnTo>
                    <a:lnTo>
                      <a:pt x="162" y="18"/>
                    </a:lnTo>
                    <a:lnTo>
                      <a:pt x="150" y="12"/>
                    </a:lnTo>
                    <a:lnTo>
                      <a:pt x="138" y="12"/>
                    </a:lnTo>
                    <a:lnTo>
                      <a:pt x="126" y="6"/>
                    </a:lnTo>
                    <a:lnTo>
                      <a:pt x="120" y="0"/>
                    </a:lnTo>
                    <a:lnTo>
                      <a:pt x="108" y="0"/>
                    </a:lnTo>
                    <a:lnTo>
                      <a:pt x="96" y="6"/>
                    </a:lnTo>
                    <a:lnTo>
                      <a:pt x="72" y="30"/>
                    </a:lnTo>
                    <a:lnTo>
                      <a:pt x="60" y="30"/>
                    </a:lnTo>
                    <a:lnTo>
                      <a:pt x="48" y="36"/>
                    </a:lnTo>
                    <a:lnTo>
                      <a:pt x="30" y="36"/>
                    </a:lnTo>
                    <a:lnTo>
                      <a:pt x="6" y="48"/>
                    </a:lnTo>
                    <a:lnTo>
                      <a:pt x="0" y="60"/>
                    </a:lnTo>
                    <a:lnTo>
                      <a:pt x="0" y="72"/>
                    </a:lnTo>
                    <a:lnTo>
                      <a:pt x="6" y="78"/>
                    </a:lnTo>
                    <a:lnTo>
                      <a:pt x="12" y="90"/>
                    </a:lnTo>
                    <a:lnTo>
                      <a:pt x="24" y="96"/>
                    </a:lnTo>
                    <a:lnTo>
                      <a:pt x="30" y="102"/>
                    </a:lnTo>
                    <a:lnTo>
                      <a:pt x="18" y="138"/>
                    </a:lnTo>
                    <a:lnTo>
                      <a:pt x="24" y="144"/>
                    </a:lnTo>
                    <a:lnTo>
                      <a:pt x="24" y="150"/>
                    </a:lnTo>
                    <a:lnTo>
                      <a:pt x="30" y="144"/>
                    </a:lnTo>
                    <a:lnTo>
                      <a:pt x="54" y="132"/>
                    </a:lnTo>
                    <a:lnTo>
                      <a:pt x="78" y="132"/>
                    </a:lnTo>
                    <a:lnTo>
                      <a:pt x="78" y="138"/>
                    </a:lnTo>
                    <a:lnTo>
                      <a:pt x="66" y="150"/>
                    </a:lnTo>
                    <a:lnTo>
                      <a:pt x="60" y="150"/>
                    </a:lnTo>
                    <a:lnTo>
                      <a:pt x="60" y="156"/>
                    </a:lnTo>
                    <a:lnTo>
                      <a:pt x="72" y="156"/>
                    </a:lnTo>
                    <a:lnTo>
                      <a:pt x="78" y="150"/>
                    </a:lnTo>
                    <a:lnTo>
                      <a:pt x="96" y="150"/>
                    </a:lnTo>
                    <a:lnTo>
                      <a:pt x="102" y="156"/>
                    </a:lnTo>
                    <a:lnTo>
                      <a:pt x="114" y="156"/>
                    </a:lnTo>
                    <a:lnTo>
                      <a:pt x="120" y="150"/>
                    </a:lnTo>
                    <a:lnTo>
                      <a:pt x="120" y="144"/>
                    </a:lnTo>
                    <a:lnTo>
                      <a:pt x="174" y="144"/>
                    </a:lnTo>
                    <a:lnTo>
                      <a:pt x="174" y="162"/>
                    </a:lnTo>
                    <a:lnTo>
                      <a:pt x="180" y="162"/>
                    </a:lnTo>
                    <a:lnTo>
                      <a:pt x="192" y="168"/>
                    </a:lnTo>
                    <a:lnTo>
                      <a:pt x="192" y="174"/>
                    </a:lnTo>
                    <a:lnTo>
                      <a:pt x="168" y="198"/>
                    </a:lnTo>
                    <a:lnTo>
                      <a:pt x="144" y="210"/>
                    </a:lnTo>
                    <a:lnTo>
                      <a:pt x="138" y="216"/>
                    </a:lnTo>
                    <a:lnTo>
                      <a:pt x="138" y="222"/>
                    </a:lnTo>
                    <a:lnTo>
                      <a:pt x="144" y="222"/>
                    </a:lnTo>
                    <a:lnTo>
                      <a:pt x="150" y="228"/>
                    </a:lnTo>
                    <a:lnTo>
                      <a:pt x="150" y="240"/>
                    </a:lnTo>
                    <a:lnTo>
                      <a:pt x="144" y="258"/>
                    </a:lnTo>
                    <a:lnTo>
                      <a:pt x="144" y="276"/>
                    </a:lnTo>
                    <a:lnTo>
                      <a:pt x="138" y="276"/>
                    </a:lnTo>
                    <a:lnTo>
                      <a:pt x="132" y="282"/>
                    </a:lnTo>
                    <a:lnTo>
                      <a:pt x="132" y="294"/>
                    </a:lnTo>
                    <a:lnTo>
                      <a:pt x="138" y="300"/>
                    </a:lnTo>
                    <a:lnTo>
                      <a:pt x="138" y="312"/>
                    </a:lnTo>
                    <a:lnTo>
                      <a:pt x="126" y="324"/>
                    </a:lnTo>
                    <a:lnTo>
                      <a:pt x="90" y="324"/>
                    </a:lnTo>
                    <a:lnTo>
                      <a:pt x="114" y="348"/>
                    </a:lnTo>
                    <a:lnTo>
                      <a:pt x="114" y="360"/>
                    </a:lnTo>
                    <a:lnTo>
                      <a:pt x="120" y="366"/>
                    </a:lnTo>
                    <a:lnTo>
                      <a:pt x="132" y="372"/>
                    </a:lnTo>
                    <a:lnTo>
                      <a:pt x="132" y="378"/>
                    </a:lnTo>
                    <a:lnTo>
                      <a:pt x="120" y="390"/>
                    </a:lnTo>
                    <a:lnTo>
                      <a:pt x="108" y="396"/>
                    </a:lnTo>
                    <a:lnTo>
                      <a:pt x="96" y="408"/>
                    </a:lnTo>
                    <a:lnTo>
                      <a:pt x="96" y="414"/>
                    </a:lnTo>
                    <a:lnTo>
                      <a:pt x="102" y="420"/>
                    </a:lnTo>
                    <a:lnTo>
                      <a:pt x="102" y="426"/>
                    </a:lnTo>
                    <a:lnTo>
                      <a:pt x="108" y="438"/>
                    </a:lnTo>
                    <a:lnTo>
                      <a:pt x="114" y="444"/>
                    </a:lnTo>
                    <a:lnTo>
                      <a:pt x="126" y="444"/>
                    </a:lnTo>
                    <a:lnTo>
                      <a:pt x="126" y="450"/>
                    </a:lnTo>
                    <a:lnTo>
                      <a:pt x="114" y="462"/>
                    </a:lnTo>
                    <a:lnTo>
                      <a:pt x="102" y="462"/>
                    </a:lnTo>
                    <a:lnTo>
                      <a:pt x="96" y="474"/>
                    </a:lnTo>
                    <a:lnTo>
                      <a:pt x="90" y="480"/>
                    </a:lnTo>
                    <a:lnTo>
                      <a:pt x="90" y="528"/>
                    </a:lnTo>
                    <a:lnTo>
                      <a:pt x="120" y="528"/>
                    </a:lnTo>
                    <a:lnTo>
                      <a:pt x="144" y="546"/>
                    </a:lnTo>
                    <a:lnTo>
                      <a:pt x="162" y="546"/>
                    </a:lnTo>
                    <a:lnTo>
                      <a:pt x="156" y="576"/>
                    </a:lnTo>
                    <a:lnTo>
                      <a:pt x="162" y="576"/>
                    </a:lnTo>
                    <a:lnTo>
                      <a:pt x="162" y="594"/>
                    </a:lnTo>
                    <a:lnTo>
                      <a:pt x="168" y="606"/>
                    </a:lnTo>
                    <a:lnTo>
                      <a:pt x="174" y="612"/>
                    </a:lnTo>
                    <a:lnTo>
                      <a:pt x="192" y="612"/>
                    </a:lnTo>
                    <a:lnTo>
                      <a:pt x="198" y="618"/>
                    </a:lnTo>
                    <a:lnTo>
                      <a:pt x="204" y="618"/>
                    </a:lnTo>
                    <a:lnTo>
                      <a:pt x="210" y="612"/>
                    </a:lnTo>
                    <a:lnTo>
                      <a:pt x="222" y="606"/>
                    </a:lnTo>
                    <a:lnTo>
                      <a:pt x="240" y="588"/>
                    </a:lnTo>
                    <a:lnTo>
                      <a:pt x="252" y="582"/>
                    </a:lnTo>
                    <a:lnTo>
                      <a:pt x="264" y="582"/>
                    </a:lnTo>
                    <a:lnTo>
                      <a:pt x="294" y="564"/>
                    </a:lnTo>
                    <a:lnTo>
                      <a:pt x="360" y="564"/>
                    </a:lnTo>
                    <a:lnTo>
                      <a:pt x="366" y="558"/>
                    </a:lnTo>
                    <a:lnTo>
                      <a:pt x="378" y="558"/>
                    </a:lnTo>
                    <a:lnTo>
                      <a:pt x="390" y="570"/>
                    </a:lnTo>
                    <a:lnTo>
                      <a:pt x="396" y="570"/>
                    </a:lnTo>
                    <a:lnTo>
                      <a:pt x="408" y="564"/>
                    </a:lnTo>
                    <a:lnTo>
                      <a:pt x="420" y="564"/>
                    </a:lnTo>
                    <a:lnTo>
                      <a:pt x="426" y="558"/>
                    </a:lnTo>
                    <a:lnTo>
                      <a:pt x="432" y="558"/>
                    </a:lnTo>
                    <a:lnTo>
                      <a:pt x="432" y="570"/>
                    </a:lnTo>
                    <a:lnTo>
                      <a:pt x="438" y="570"/>
                    </a:lnTo>
                    <a:lnTo>
                      <a:pt x="450" y="558"/>
                    </a:lnTo>
                    <a:lnTo>
                      <a:pt x="462" y="534"/>
                    </a:lnTo>
                    <a:lnTo>
                      <a:pt x="462" y="522"/>
                    </a:lnTo>
                    <a:lnTo>
                      <a:pt x="498" y="492"/>
                    </a:lnTo>
                    <a:lnTo>
                      <a:pt x="528" y="492"/>
                    </a:lnTo>
                    <a:lnTo>
                      <a:pt x="534" y="474"/>
                    </a:lnTo>
                    <a:lnTo>
                      <a:pt x="534" y="468"/>
                    </a:lnTo>
                    <a:lnTo>
                      <a:pt x="540" y="462"/>
                    </a:lnTo>
                    <a:lnTo>
                      <a:pt x="540" y="450"/>
                    </a:lnTo>
                    <a:lnTo>
                      <a:pt x="546" y="444"/>
                    </a:lnTo>
                    <a:lnTo>
                      <a:pt x="552" y="432"/>
                    </a:lnTo>
                    <a:lnTo>
                      <a:pt x="552" y="426"/>
                    </a:lnTo>
                    <a:lnTo>
                      <a:pt x="570" y="426"/>
                    </a:lnTo>
                    <a:lnTo>
                      <a:pt x="594" y="414"/>
                    </a:lnTo>
                    <a:lnTo>
                      <a:pt x="600" y="408"/>
                    </a:lnTo>
                    <a:lnTo>
                      <a:pt x="594" y="396"/>
                    </a:lnTo>
                    <a:lnTo>
                      <a:pt x="588" y="390"/>
                    </a:lnTo>
                    <a:lnTo>
                      <a:pt x="582" y="378"/>
                    </a:lnTo>
                    <a:lnTo>
                      <a:pt x="576" y="372"/>
                    </a:lnTo>
                    <a:lnTo>
                      <a:pt x="570" y="372"/>
                    </a:lnTo>
                    <a:lnTo>
                      <a:pt x="570" y="336"/>
                    </a:lnTo>
                    <a:lnTo>
                      <a:pt x="582" y="312"/>
                    </a:lnTo>
                    <a:lnTo>
                      <a:pt x="594" y="306"/>
                    </a:lnTo>
                    <a:lnTo>
                      <a:pt x="600" y="294"/>
                    </a:lnTo>
                    <a:lnTo>
                      <a:pt x="612" y="282"/>
                    </a:lnTo>
                    <a:lnTo>
                      <a:pt x="618" y="270"/>
                    </a:lnTo>
                    <a:lnTo>
                      <a:pt x="630" y="258"/>
                    </a:lnTo>
                    <a:lnTo>
                      <a:pt x="642" y="258"/>
                    </a:lnTo>
                    <a:lnTo>
                      <a:pt x="654" y="246"/>
                    </a:lnTo>
                    <a:lnTo>
                      <a:pt x="654" y="240"/>
                    </a:lnTo>
                    <a:lnTo>
                      <a:pt x="648" y="240"/>
                    </a:lnTo>
                    <a:lnTo>
                      <a:pt x="648" y="228"/>
                    </a:lnTo>
                    <a:lnTo>
                      <a:pt x="654" y="222"/>
                    </a:lnTo>
                    <a:lnTo>
                      <a:pt x="726" y="198"/>
                    </a:lnTo>
                    <a:lnTo>
                      <a:pt x="750" y="186"/>
                    </a:lnTo>
                    <a:lnTo>
                      <a:pt x="756" y="174"/>
                    </a:lnTo>
                    <a:lnTo>
                      <a:pt x="768" y="168"/>
                    </a:lnTo>
                    <a:lnTo>
                      <a:pt x="774" y="168"/>
                    </a:lnTo>
                    <a:lnTo>
                      <a:pt x="786" y="156"/>
                    </a:lnTo>
                    <a:lnTo>
                      <a:pt x="798" y="156"/>
                    </a:lnTo>
                    <a:lnTo>
                      <a:pt x="804" y="150"/>
                    </a:lnTo>
                    <a:close/>
                  </a:path>
                </a:pathLst>
              </a:custGeom>
              <a:solidFill>
                <a:srgbClr val="4966AC"/>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69" name="Slovenia" descr="© INSCALE GmbH, 05.05.2010&#10;http://www.presentationload.com/">
                <a:extLst>
                  <a:ext uri="{FF2B5EF4-FFF2-40B4-BE49-F238E27FC236}">
                    <a16:creationId xmlns:a16="http://schemas.microsoft.com/office/drawing/2014/main" id="{A6F81541-E282-4ED3-9860-F085363525A2}"/>
                  </a:ext>
                </a:extLst>
              </p:cNvPr>
              <p:cNvSpPr>
                <a:spLocks/>
              </p:cNvSpPr>
              <p:nvPr/>
            </p:nvSpPr>
            <p:spPr bwMode="gray">
              <a:xfrm>
                <a:off x="4578162" y="2894109"/>
                <a:ext cx="84235" cy="51981"/>
              </a:xfrm>
              <a:custGeom>
                <a:avLst/>
                <a:gdLst>
                  <a:gd name="T0" fmla="*/ 2147483647 w 210"/>
                  <a:gd name="T1" fmla="*/ 2147483647 h 120"/>
                  <a:gd name="T2" fmla="*/ 2147483647 w 210"/>
                  <a:gd name="T3" fmla="*/ 2147483647 h 120"/>
                  <a:gd name="T4" fmla="*/ 2147483647 w 210"/>
                  <a:gd name="T5" fmla="*/ 2147483647 h 120"/>
                  <a:gd name="T6" fmla="*/ 2147483647 w 210"/>
                  <a:gd name="T7" fmla="*/ 2147483647 h 120"/>
                  <a:gd name="T8" fmla="*/ 2147483647 w 210"/>
                  <a:gd name="T9" fmla="*/ 2147483647 h 120"/>
                  <a:gd name="T10" fmla="*/ 2147483647 w 210"/>
                  <a:gd name="T11" fmla="*/ 2147483647 h 120"/>
                  <a:gd name="T12" fmla="*/ 2147483647 w 210"/>
                  <a:gd name="T13" fmla="*/ 2147483647 h 120"/>
                  <a:gd name="T14" fmla="*/ 2147483647 w 210"/>
                  <a:gd name="T15" fmla="*/ 2147483647 h 120"/>
                  <a:gd name="T16" fmla="*/ 2147483647 w 210"/>
                  <a:gd name="T17" fmla="*/ 2147483647 h 120"/>
                  <a:gd name="T18" fmla="*/ 2147483647 w 210"/>
                  <a:gd name="T19" fmla="*/ 2147483647 h 120"/>
                  <a:gd name="T20" fmla="*/ 2147483647 w 210"/>
                  <a:gd name="T21" fmla="*/ 2147483647 h 120"/>
                  <a:gd name="T22" fmla="*/ 2147483647 w 210"/>
                  <a:gd name="T23" fmla="*/ 2147483647 h 120"/>
                  <a:gd name="T24" fmla="*/ 2147483647 w 210"/>
                  <a:gd name="T25" fmla="*/ 2147483647 h 120"/>
                  <a:gd name="T26" fmla="*/ 2147483647 w 210"/>
                  <a:gd name="T27" fmla="*/ 2147483647 h 120"/>
                  <a:gd name="T28" fmla="*/ 2147483647 w 210"/>
                  <a:gd name="T29" fmla="*/ 2147483647 h 120"/>
                  <a:gd name="T30" fmla="*/ 2147483647 w 210"/>
                  <a:gd name="T31" fmla="*/ 2147483647 h 120"/>
                  <a:gd name="T32" fmla="*/ 2147483647 w 210"/>
                  <a:gd name="T33" fmla="*/ 2147483647 h 120"/>
                  <a:gd name="T34" fmla="*/ 2147483647 w 210"/>
                  <a:gd name="T35" fmla="*/ 2147483647 h 120"/>
                  <a:gd name="T36" fmla="*/ 2147483647 w 210"/>
                  <a:gd name="T37" fmla="*/ 2147483647 h 120"/>
                  <a:gd name="T38" fmla="*/ 2147483647 w 210"/>
                  <a:gd name="T39" fmla="*/ 2147483647 h 120"/>
                  <a:gd name="T40" fmla="*/ 2147483647 w 210"/>
                  <a:gd name="T41" fmla="*/ 2147483647 h 120"/>
                  <a:gd name="T42" fmla="*/ 2147483647 w 210"/>
                  <a:gd name="T43" fmla="*/ 0 h 120"/>
                  <a:gd name="T44" fmla="*/ 2147483647 w 210"/>
                  <a:gd name="T45" fmla="*/ 2147483647 h 120"/>
                  <a:gd name="T46" fmla="*/ 2147483647 w 210"/>
                  <a:gd name="T47" fmla="*/ 2147483647 h 120"/>
                  <a:gd name="T48" fmla="*/ 2147483647 w 210"/>
                  <a:gd name="T49" fmla="*/ 2147483647 h 120"/>
                  <a:gd name="T50" fmla="*/ 2147483647 w 210"/>
                  <a:gd name="T51" fmla="*/ 2147483647 h 120"/>
                  <a:gd name="T52" fmla="*/ 2147483647 w 210"/>
                  <a:gd name="T53" fmla="*/ 2147483647 h 120"/>
                  <a:gd name="T54" fmla="*/ 2147483647 w 210"/>
                  <a:gd name="T55" fmla="*/ 2147483647 h 120"/>
                  <a:gd name="T56" fmla="*/ 2147483647 w 210"/>
                  <a:gd name="T57" fmla="*/ 2147483647 h 120"/>
                  <a:gd name="T58" fmla="*/ 2147483647 w 210"/>
                  <a:gd name="T59" fmla="*/ 2147483647 h 120"/>
                  <a:gd name="T60" fmla="*/ 2147483647 w 210"/>
                  <a:gd name="T61" fmla="*/ 2147483647 h 120"/>
                  <a:gd name="T62" fmla="*/ 2147483647 w 210"/>
                  <a:gd name="T63" fmla="*/ 2147483647 h 120"/>
                  <a:gd name="T64" fmla="*/ 2147483647 w 210"/>
                  <a:gd name="T65" fmla="*/ 2147483647 h 120"/>
                  <a:gd name="T66" fmla="*/ 2147483647 w 210"/>
                  <a:gd name="T67" fmla="*/ 2147483647 h 120"/>
                  <a:gd name="T68" fmla="*/ 0 w 210"/>
                  <a:gd name="T69" fmla="*/ 2147483647 h 120"/>
                  <a:gd name="T70" fmla="*/ 2147483647 w 210"/>
                  <a:gd name="T71" fmla="*/ 2147483647 h 120"/>
                  <a:gd name="T72" fmla="*/ 2147483647 w 210"/>
                  <a:gd name="T73" fmla="*/ 2147483647 h 120"/>
                  <a:gd name="T74" fmla="*/ 2147483647 w 210"/>
                  <a:gd name="T75" fmla="*/ 2147483647 h 120"/>
                  <a:gd name="T76" fmla="*/ 2147483647 w 210"/>
                  <a:gd name="T77" fmla="*/ 2147483647 h 120"/>
                  <a:gd name="T78" fmla="*/ 2147483647 w 210"/>
                  <a:gd name="T79" fmla="*/ 2147483647 h 120"/>
                  <a:gd name="T80" fmla="*/ 2147483647 w 210"/>
                  <a:gd name="T81" fmla="*/ 2147483647 h 120"/>
                  <a:gd name="T82" fmla="*/ 2147483647 w 210"/>
                  <a:gd name="T83" fmla="*/ 2147483647 h 120"/>
                  <a:gd name="T84" fmla="*/ 2147483647 w 210"/>
                  <a:gd name="T85" fmla="*/ 2147483647 h 120"/>
                  <a:gd name="T86" fmla="*/ 2147483647 w 210"/>
                  <a:gd name="T87" fmla="*/ 2147483647 h 12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10"/>
                  <a:gd name="T133" fmla="*/ 0 h 120"/>
                  <a:gd name="T134" fmla="*/ 210 w 210"/>
                  <a:gd name="T135" fmla="*/ 120 h 12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10" h="120">
                    <a:moveTo>
                      <a:pt x="24" y="120"/>
                    </a:moveTo>
                    <a:lnTo>
                      <a:pt x="42" y="120"/>
                    </a:lnTo>
                    <a:lnTo>
                      <a:pt x="42" y="108"/>
                    </a:lnTo>
                    <a:lnTo>
                      <a:pt x="54" y="114"/>
                    </a:lnTo>
                    <a:lnTo>
                      <a:pt x="72" y="114"/>
                    </a:lnTo>
                    <a:lnTo>
                      <a:pt x="78" y="102"/>
                    </a:lnTo>
                    <a:lnTo>
                      <a:pt x="78" y="108"/>
                    </a:lnTo>
                    <a:lnTo>
                      <a:pt x="84" y="114"/>
                    </a:lnTo>
                    <a:lnTo>
                      <a:pt x="126" y="114"/>
                    </a:lnTo>
                    <a:lnTo>
                      <a:pt x="126" y="96"/>
                    </a:lnTo>
                    <a:lnTo>
                      <a:pt x="138" y="90"/>
                    </a:lnTo>
                    <a:lnTo>
                      <a:pt x="150" y="78"/>
                    </a:lnTo>
                    <a:lnTo>
                      <a:pt x="150" y="72"/>
                    </a:lnTo>
                    <a:lnTo>
                      <a:pt x="144" y="66"/>
                    </a:lnTo>
                    <a:lnTo>
                      <a:pt x="144" y="54"/>
                    </a:lnTo>
                    <a:lnTo>
                      <a:pt x="174" y="54"/>
                    </a:lnTo>
                    <a:lnTo>
                      <a:pt x="186" y="48"/>
                    </a:lnTo>
                    <a:lnTo>
                      <a:pt x="186" y="36"/>
                    </a:lnTo>
                    <a:lnTo>
                      <a:pt x="210" y="36"/>
                    </a:lnTo>
                    <a:lnTo>
                      <a:pt x="192" y="24"/>
                    </a:lnTo>
                    <a:lnTo>
                      <a:pt x="186" y="6"/>
                    </a:lnTo>
                    <a:lnTo>
                      <a:pt x="180" y="0"/>
                    </a:lnTo>
                    <a:lnTo>
                      <a:pt x="174" y="12"/>
                    </a:lnTo>
                    <a:lnTo>
                      <a:pt x="168" y="30"/>
                    </a:lnTo>
                    <a:lnTo>
                      <a:pt x="144" y="24"/>
                    </a:lnTo>
                    <a:lnTo>
                      <a:pt x="132" y="30"/>
                    </a:lnTo>
                    <a:lnTo>
                      <a:pt x="84" y="30"/>
                    </a:lnTo>
                    <a:lnTo>
                      <a:pt x="84" y="42"/>
                    </a:lnTo>
                    <a:lnTo>
                      <a:pt x="54" y="42"/>
                    </a:lnTo>
                    <a:lnTo>
                      <a:pt x="48" y="36"/>
                    </a:lnTo>
                    <a:lnTo>
                      <a:pt x="30" y="36"/>
                    </a:lnTo>
                    <a:lnTo>
                      <a:pt x="24" y="42"/>
                    </a:lnTo>
                    <a:lnTo>
                      <a:pt x="6" y="42"/>
                    </a:lnTo>
                    <a:lnTo>
                      <a:pt x="6" y="48"/>
                    </a:lnTo>
                    <a:lnTo>
                      <a:pt x="0" y="54"/>
                    </a:lnTo>
                    <a:lnTo>
                      <a:pt x="12" y="60"/>
                    </a:lnTo>
                    <a:lnTo>
                      <a:pt x="6" y="96"/>
                    </a:lnTo>
                    <a:lnTo>
                      <a:pt x="18" y="96"/>
                    </a:lnTo>
                    <a:lnTo>
                      <a:pt x="30" y="102"/>
                    </a:lnTo>
                    <a:lnTo>
                      <a:pt x="36" y="102"/>
                    </a:lnTo>
                    <a:lnTo>
                      <a:pt x="36" y="108"/>
                    </a:lnTo>
                    <a:lnTo>
                      <a:pt x="30" y="108"/>
                    </a:lnTo>
                    <a:lnTo>
                      <a:pt x="30" y="114"/>
                    </a:lnTo>
                    <a:lnTo>
                      <a:pt x="24" y="120"/>
                    </a:lnTo>
                    <a:close/>
                  </a:path>
                </a:pathLst>
              </a:custGeom>
              <a:solidFill>
                <a:srgbClr val="4966AC"/>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70" name="Slovakia" descr="© INSCALE GmbH, 05.05.2010&#10;http://www.presentationload.com/">
                <a:extLst>
                  <a:ext uri="{FF2B5EF4-FFF2-40B4-BE49-F238E27FC236}">
                    <a16:creationId xmlns:a16="http://schemas.microsoft.com/office/drawing/2014/main" id="{A0F84F07-D286-497E-A086-F963BE2432B4}"/>
                  </a:ext>
                </a:extLst>
              </p:cNvPr>
              <p:cNvSpPr>
                <a:spLocks/>
              </p:cNvSpPr>
              <p:nvPr/>
            </p:nvSpPr>
            <p:spPr bwMode="gray">
              <a:xfrm>
                <a:off x="4663957" y="2804008"/>
                <a:ext cx="140392" cy="64110"/>
              </a:xfrm>
              <a:custGeom>
                <a:avLst/>
                <a:gdLst>
                  <a:gd name="T0" fmla="*/ 2147483647 w 354"/>
                  <a:gd name="T1" fmla="*/ 2147483647 h 144"/>
                  <a:gd name="T2" fmla="*/ 2147483647 w 354"/>
                  <a:gd name="T3" fmla="*/ 2147483647 h 144"/>
                  <a:gd name="T4" fmla="*/ 2147483647 w 354"/>
                  <a:gd name="T5" fmla="*/ 2147483647 h 144"/>
                  <a:gd name="T6" fmla="*/ 2147483647 w 354"/>
                  <a:gd name="T7" fmla="*/ 2147483647 h 144"/>
                  <a:gd name="T8" fmla="*/ 2147483647 w 354"/>
                  <a:gd name="T9" fmla="*/ 2147483647 h 144"/>
                  <a:gd name="T10" fmla="*/ 2147483647 w 354"/>
                  <a:gd name="T11" fmla="*/ 2147483647 h 144"/>
                  <a:gd name="T12" fmla="*/ 2147483647 w 354"/>
                  <a:gd name="T13" fmla="*/ 2147483647 h 144"/>
                  <a:gd name="T14" fmla="*/ 2147483647 w 354"/>
                  <a:gd name="T15" fmla="*/ 0 h 144"/>
                  <a:gd name="T16" fmla="*/ 2147483647 w 354"/>
                  <a:gd name="T17" fmla="*/ 2147483647 h 144"/>
                  <a:gd name="T18" fmla="*/ 2147483647 w 354"/>
                  <a:gd name="T19" fmla="*/ 0 h 144"/>
                  <a:gd name="T20" fmla="*/ 2147483647 w 354"/>
                  <a:gd name="T21" fmla="*/ 2147483647 h 144"/>
                  <a:gd name="T22" fmla="*/ 2147483647 w 354"/>
                  <a:gd name="T23" fmla="*/ 2147483647 h 144"/>
                  <a:gd name="T24" fmla="*/ 2147483647 w 354"/>
                  <a:gd name="T25" fmla="*/ 2147483647 h 144"/>
                  <a:gd name="T26" fmla="*/ 2147483647 w 354"/>
                  <a:gd name="T27" fmla="*/ 2147483647 h 144"/>
                  <a:gd name="T28" fmla="*/ 2147483647 w 354"/>
                  <a:gd name="T29" fmla="*/ 2147483647 h 144"/>
                  <a:gd name="T30" fmla="*/ 0 w 354"/>
                  <a:gd name="T31" fmla="*/ 2147483647 h 144"/>
                  <a:gd name="T32" fmla="*/ 2147483647 w 354"/>
                  <a:gd name="T33" fmla="*/ 2147483647 h 144"/>
                  <a:gd name="T34" fmla="*/ 2147483647 w 354"/>
                  <a:gd name="T35" fmla="*/ 2147483647 h 144"/>
                  <a:gd name="T36" fmla="*/ 2147483647 w 354"/>
                  <a:gd name="T37" fmla="*/ 2147483647 h 144"/>
                  <a:gd name="T38" fmla="*/ 2147483647 w 354"/>
                  <a:gd name="T39" fmla="*/ 2147483647 h 144"/>
                  <a:gd name="T40" fmla="*/ 2147483647 w 354"/>
                  <a:gd name="T41" fmla="*/ 2147483647 h 144"/>
                  <a:gd name="T42" fmla="*/ 2147483647 w 354"/>
                  <a:gd name="T43" fmla="*/ 2147483647 h 144"/>
                  <a:gd name="T44" fmla="*/ 2147483647 w 354"/>
                  <a:gd name="T45" fmla="*/ 2147483647 h 144"/>
                  <a:gd name="T46" fmla="*/ 2147483647 w 354"/>
                  <a:gd name="T47" fmla="*/ 2147483647 h 144"/>
                  <a:gd name="T48" fmla="*/ 2147483647 w 354"/>
                  <a:gd name="T49" fmla="*/ 2147483647 h 144"/>
                  <a:gd name="T50" fmla="*/ 2147483647 w 354"/>
                  <a:gd name="T51" fmla="*/ 2147483647 h 144"/>
                  <a:gd name="T52" fmla="*/ 2147483647 w 354"/>
                  <a:gd name="T53" fmla="*/ 2147483647 h 144"/>
                  <a:gd name="T54" fmla="*/ 2147483647 w 354"/>
                  <a:gd name="T55" fmla="*/ 2147483647 h 144"/>
                  <a:gd name="T56" fmla="*/ 2147483647 w 354"/>
                  <a:gd name="T57" fmla="*/ 2147483647 h 144"/>
                  <a:gd name="T58" fmla="*/ 2147483647 w 354"/>
                  <a:gd name="T59" fmla="*/ 2147483647 h 144"/>
                  <a:gd name="T60" fmla="*/ 2147483647 w 354"/>
                  <a:gd name="T61" fmla="*/ 2147483647 h 144"/>
                  <a:gd name="T62" fmla="*/ 2147483647 w 354"/>
                  <a:gd name="T63" fmla="*/ 2147483647 h 144"/>
                  <a:gd name="T64" fmla="*/ 2147483647 w 354"/>
                  <a:gd name="T65" fmla="*/ 2147483647 h 144"/>
                  <a:gd name="T66" fmla="*/ 2147483647 w 354"/>
                  <a:gd name="T67" fmla="*/ 2147483647 h 144"/>
                  <a:gd name="T68" fmla="*/ 2147483647 w 354"/>
                  <a:gd name="T69" fmla="*/ 2147483647 h 14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54"/>
                  <a:gd name="T106" fmla="*/ 0 h 144"/>
                  <a:gd name="T107" fmla="*/ 354 w 354"/>
                  <a:gd name="T108" fmla="*/ 144 h 14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54" h="144">
                    <a:moveTo>
                      <a:pt x="348" y="30"/>
                    </a:moveTo>
                    <a:lnTo>
                      <a:pt x="324" y="30"/>
                    </a:lnTo>
                    <a:lnTo>
                      <a:pt x="300" y="6"/>
                    </a:lnTo>
                    <a:lnTo>
                      <a:pt x="276" y="6"/>
                    </a:lnTo>
                    <a:lnTo>
                      <a:pt x="270" y="12"/>
                    </a:lnTo>
                    <a:lnTo>
                      <a:pt x="258" y="18"/>
                    </a:lnTo>
                    <a:lnTo>
                      <a:pt x="246" y="18"/>
                    </a:lnTo>
                    <a:lnTo>
                      <a:pt x="240" y="12"/>
                    </a:lnTo>
                    <a:lnTo>
                      <a:pt x="210" y="12"/>
                    </a:lnTo>
                    <a:lnTo>
                      <a:pt x="210" y="18"/>
                    </a:lnTo>
                    <a:lnTo>
                      <a:pt x="204" y="24"/>
                    </a:lnTo>
                    <a:lnTo>
                      <a:pt x="192" y="24"/>
                    </a:lnTo>
                    <a:lnTo>
                      <a:pt x="186" y="18"/>
                    </a:lnTo>
                    <a:lnTo>
                      <a:pt x="186" y="12"/>
                    </a:lnTo>
                    <a:lnTo>
                      <a:pt x="180" y="12"/>
                    </a:lnTo>
                    <a:lnTo>
                      <a:pt x="168" y="0"/>
                    </a:lnTo>
                    <a:lnTo>
                      <a:pt x="156" y="0"/>
                    </a:lnTo>
                    <a:lnTo>
                      <a:pt x="144" y="12"/>
                    </a:lnTo>
                    <a:lnTo>
                      <a:pt x="138" y="12"/>
                    </a:lnTo>
                    <a:lnTo>
                      <a:pt x="126" y="0"/>
                    </a:lnTo>
                    <a:lnTo>
                      <a:pt x="108" y="12"/>
                    </a:lnTo>
                    <a:lnTo>
                      <a:pt x="84" y="18"/>
                    </a:lnTo>
                    <a:lnTo>
                      <a:pt x="84" y="42"/>
                    </a:lnTo>
                    <a:lnTo>
                      <a:pt x="72" y="48"/>
                    </a:lnTo>
                    <a:lnTo>
                      <a:pt x="66" y="54"/>
                    </a:lnTo>
                    <a:lnTo>
                      <a:pt x="54" y="60"/>
                    </a:lnTo>
                    <a:lnTo>
                      <a:pt x="36" y="60"/>
                    </a:lnTo>
                    <a:lnTo>
                      <a:pt x="36" y="54"/>
                    </a:lnTo>
                    <a:lnTo>
                      <a:pt x="30" y="60"/>
                    </a:lnTo>
                    <a:lnTo>
                      <a:pt x="12" y="60"/>
                    </a:lnTo>
                    <a:lnTo>
                      <a:pt x="6" y="66"/>
                    </a:lnTo>
                    <a:lnTo>
                      <a:pt x="0" y="90"/>
                    </a:lnTo>
                    <a:lnTo>
                      <a:pt x="0" y="102"/>
                    </a:lnTo>
                    <a:lnTo>
                      <a:pt x="6" y="102"/>
                    </a:lnTo>
                    <a:lnTo>
                      <a:pt x="6" y="114"/>
                    </a:lnTo>
                    <a:lnTo>
                      <a:pt x="12" y="114"/>
                    </a:lnTo>
                    <a:lnTo>
                      <a:pt x="12" y="126"/>
                    </a:lnTo>
                    <a:lnTo>
                      <a:pt x="6" y="132"/>
                    </a:lnTo>
                    <a:lnTo>
                      <a:pt x="18" y="138"/>
                    </a:lnTo>
                    <a:lnTo>
                      <a:pt x="30" y="120"/>
                    </a:lnTo>
                    <a:lnTo>
                      <a:pt x="36" y="126"/>
                    </a:lnTo>
                    <a:lnTo>
                      <a:pt x="42" y="138"/>
                    </a:lnTo>
                    <a:lnTo>
                      <a:pt x="48" y="144"/>
                    </a:lnTo>
                    <a:lnTo>
                      <a:pt x="90" y="144"/>
                    </a:lnTo>
                    <a:lnTo>
                      <a:pt x="108" y="138"/>
                    </a:lnTo>
                    <a:lnTo>
                      <a:pt x="120" y="138"/>
                    </a:lnTo>
                    <a:lnTo>
                      <a:pt x="132" y="114"/>
                    </a:lnTo>
                    <a:lnTo>
                      <a:pt x="168" y="120"/>
                    </a:lnTo>
                    <a:lnTo>
                      <a:pt x="174" y="108"/>
                    </a:lnTo>
                    <a:lnTo>
                      <a:pt x="198" y="108"/>
                    </a:lnTo>
                    <a:lnTo>
                      <a:pt x="210" y="102"/>
                    </a:lnTo>
                    <a:lnTo>
                      <a:pt x="216" y="102"/>
                    </a:lnTo>
                    <a:lnTo>
                      <a:pt x="228" y="90"/>
                    </a:lnTo>
                    <a:lnTo>
                      <a:pt x="234" y="78"/>
                    </a:lnTo>
                    <a:lnTo>
                      <a:pt x="258" y="78"/>
                    </a:lnTo>
                    <a:lnTo>
                      <a:pt x="258" y="90"/>
                    </a:lnTo>
                    <a:lnTo>
                      <a:pt x="276" y="96"/>
                    </a:lnTo>
                    <a:lnTo>
                      <a:pt x="276" y="78"/>
                    </a:lnTo>
                    <a:lnTo>
                      <a:pt x="288" y="78"/>
                    </a:lnTo>
                    <a:lnTo>
                      <a:pt x="288" y="90"/>
                    </a:lnTo>
                    <a:lnTo>
                      <a:pt x="300" y="90"/>
                    </a:lnTo>
                    <a:lnTo>
                      <a:pt x="312" y="84"/>
                    </a:lnTo>
                    <a:lnTo>
                      <a:pt x="336" y="84"/>
                    </a:lnTo>
                    <a:lnTo>
                      <a:pt x="336" y="90"/>
                    </a:lnTo>
                    <a:lnTo>
                      <a:pt x="336" y="72"/>
                    </a:lnTo>
                    <a:lnTo>
                      <a:pt x="342" y="72"/>
                    </a:lnTo>
                    <a:lnTo>
                      <a:pt x="348" y="66"/>
                    </a:lnTo>
                    <a:lnTo>
                      <a:pt x="348" y="60"/>
                    </a:lnTo>
                    <a:lnTo>
                      <a:pt x="354" y="54"/>
                    </a:lnTo>
                    <a:lnTo>
                      <a:pt x="354" y="30"/>
                    </a:lnTo>
                    <a:lnTo>
                      <a:pt x="348" y="30"/>
                    </a:lnTo>
                    <a:close/>
                  </a:path>
                </a:pathLst>
              </a:custGeom>
              <a:solidFill>
                <a:srgbClr val="4966AC"/>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71" name="Russia (Urup,Simushir)" descr="© INSCALE GmbH, 05.05.2010&#10;http://www.presentationload.com/">
                <a:extLst>
                  <a:ext uri="{FF2B5EF4-FFF2-40B4-BE49-F238E27FC236}">
                    <a16:creationId xmlns:a16="http://schemas.microsoft.com/office/drawing/2014/main" id="{84765EB6-0784-409A-B822-91906C31BC97}"/>
                  </a:ext>
                </a:extLst>
              </p:cNvPr>
              <p:cNvSpPr>
                <a:spLocks noEditPoints="1"/>
              </p:cNvSpPr>
              <p:nvPr/>
            </p:nvSpPr>
            <p:spPr bwMode="gray">
              <a:xfrm>
                <a:off x="7938211" y="2479993"/>
                <a:ext cx="118553" cy="525008"/>
              </a:xfrm>
              <a:custGeom>
                <a:avLst/>
                <a:gdLst>
                  <a:gd name="T0" fmla="*/ 0 w 300"/>
                  <a:gd name="T1" fmla="*/ 2147483647 h 1194"/>
                  <a:gd name="T2" fmla="*/ 2147483647 w 300"/>
                  <a:gd name="T3" fmla="*/ 2147483647 h 1194"/>
                  <a:gd name="T4" fmla="*/ 2147483647 w 300"/>
                  <a:gd name="T5" fmla="*/ 2147483647 h 1194"/>
                  <a:gd name="T6" fmla="*/ 2147483647 w 300"/>
                  <a:gd name="T7" fmla="*/ 2147483647 h 1194"/>
                  <a:gd name="T8" fmla="*/ 0 w 300"/>
                  <a:gd name="T9" fmla="*/ 2147483647 h 1194"/>
                  <a:gd name="T10" fmla="*/ 2147483647 w 300"/>
                  <a:gd name="T11" fmla="*/ 2147483647 h 1194"/>
                  <a:gd name="T12" fmla="*/ 2147483647 w 300"/>
                  <a:gd name="T13" fmla="*/ 2147483647 h 1194"/>
                  <a:gd name="T14" fmla="*/ 2147483647 w 300"/>
                  <a:gd name="T15" fmla="*/ 2147483647 h 1194"/>
                  <a:gd name="T16" fmla="*/ 2147483647 w 300"/>
                  <a:gd name="T17" fmla="*/ 2147483647 h 1194"/>
                  <a:gd name="T18" fmla="*/ 2147483647 w 300"/>
                  <a:gd name="T19" fmla="*/ 2147483647 h 1194"/>
                  <a:gd name="T20" fmla="*/ 2147483647 w 300"/>
                  <a:gd name="T21" fmla="*/ 2147483647 h 1194"/>
                  <a:gd name="T22" fmla="*/ 2147483647 w 300"/>
                  <a:gd name="T23" fmla="*/ 2147483647 h 1194"/>
                  <a:gd name="T24" fmla="*/ 2147483647 w 300"/>
                  <a:gd name="T25" fmla="*/ 2147483647 h 1194"/>
                  <a:gd name="T26" fmla="*/ 2147483647 w 300"/>
                  <a:gd name="T27" fmla="*/ 2147483647 h 1194"/>
                  <a:gd name="T28" fmla="*/ 2147483647 w 300"/>
                  <a:gd name="T29" fmla="*/ 2147483647 h 1194"/>
                  <a:gd name="T30" fmla="*/ 2147483647 w 300"/>
                  <a:gd name="T31" fmla="*/ 2147483647 h 1194"/>
                  <a:gd name="T32" fmla="*/ 2147483647 w 300"/>
                  <a:gd name="T33" fmla="*/ 2147483647 h 1194"/>
                  <a:gd name="T34" fmla="*/ 2147483647 w 300"/>
                  <a:gd name="T35" fmla="*/ 2147483647 h 1194"/>
                  <a:gd name="T36" fmla="*/ 2147483647 w 300"/>
                  <a:gd name="T37" fmla="*/ 2147483647 h 1194"/>
                  <a:gd name="T38" fmla="*/ 2147483647 w 300"/>
                  <a:gd name="T39" fmla="*/ 2147483647 h 1194"/>
                  <a:gd name="T40" fmla="*/ 2147483647 w 300"/>
                  <a:gd name="T41" fmla="*/ 2147483647 h 1194"/>
                  <a:gd name="T42" fmla="*/ 2147483647 w 300"/>
                  <a:gd name="T43" fmla="*/ 2147483647 h 1194"/>
                  <a:gd name="T44" fmla="*/ 2147483647 w 300"/>
                  <a:gd name="T45" fmla="*/ 2147483647 h 1194"/>
                  <a:gd name="T46" fmla="*/ 2147483647 w 300"/>
                  <a:gd name="T47" fmla="*/ 2147483647 h 1194"/>
                  <a:gd name="T48" fmla="*/ 2147483647 w 300"/>
                  <a:gd name="T49" fmla="*/ 2147483647 h 1194"/>
                  <a:gd name="T50" fmla="*/ 2147483647 w 300"/>
                  <a:gd name="T51" fmla="*/ 2147483647 h 1194"/>
                  <a:gd name="T52" fmla="*/ 2147483647 w 300"/>
                  <a:gd name="T53" fmla="*/ 2147483647 h 1194"/>
                  <a:gd name="T54" fmla="*/ 2147483647 w 300"/>
                  <a:gd name="T55" fmla="*/ 2147483647 h 1194"/>
                  <a:gd name="T56" fmla="*/ 2147483647 w 300"/>
                  <a:gd name="T57" fmla="*/ 2147483647 h 1194"/>
                  <a:gd name="T58" fmla="*/ 2147483647 w 300"/>
                  <a:gd name="T59" fmla="*/ 2147483647 h 1194"/>
                  <a:gd name="T60" fmla="*/ 2147483647 w 300"/>
                  <a:gd name="T61" fmla="*/ 2147483647 h 1194"/>
                  <a:gd name="T62" fmla="*/ 2147483647 w 300"/>
                  <a:gd name="T63" fmla="*/ 2147483647 h 1194"/>
                  <a:gd name="T64" fmla="*/ 2147483647 w 300"/>
                  <a:gd name="T65" fmla="*/ 2147483647 h 1194"/>
                  <a:gd name="T66" fmla="*/ 2147483647 w 300"/>
                  <a:gd name="T67" fmla="*/ 2147483647 h 1194"/>
                  <a:gd name="T68" fmla="*/ 2147483647 w 300"/>
                  <a:gd name="T69" fmla="*/ 2147483647 h 1194"/>
                  <a:gd name="T70" fmla="*/ 2147483647 w 300"/>
                  <a:gd name="T71" fmla="*/ 2147483647 h 1194"/>
                  <a:gd name="T72" fmla="*/ 2147483647 w 300"/>
                  <a:gd name="T73" fmla="*/ 2147483647 h 1194"/>
                  <a:gd name="T74" fmla="*/ 2147483647 w 300"/>
                  <a:gd name="T75" fmla="*/ 2147483647 h 1194"/>
                  <a:gd name="T76" fmla="*/ 2147483647 w 300"/>
                  <a:gd name="T77" fmla="*/ 2147483647 h 1194"/>
                  <a:gd name="T78" fmla="*/ 2147483647 w 300"/>
                  <a:gd name="T79" fmla="*/ 2147483647 h 1194"/>
                  <a:gd name="T80" fmla="*/ 2147483647 w 300"/>
                  <a:gd name="T81" fmla="*/ 2147483647 h 1194"/>
                  <a:gd name="T82" fmla="*/ 2147483647 w 300"/>
                  <a:gd name="T83" fmla="*/ 2147483647 h 1194"/>
                  <a:gd name="T84" fmla="*/ 2147483647 w 300"/>
                  <a:gd name="T85" fmla="*/ 2147483647 h 1194"/>
                  <a:gd name="T86" fmla="*/ 2147483647 w 300"/>
                  <a:gd name="T87" fmla="*/ 2147483647 h 1194"/>
                  <a:gd name="T88" fmla="*/ 2147483647 w 300"/>
                  <a:gd name="T89" fmla="*/ 2147483647 h 1194"/>
                  <a:gd name="T90" fmla="*/ 2147483647 w 300"/>
                  <a:gd name="T91" fmla="*/ 2147483647 h 1194"/>
                  <a:gd name="T92" fmla="*/ 2147483647 w 300"/>
                  <a:gd name="T93" fmla="*/ 2147483647 h 1194"/>
                  <a:gd name="T94" fmla="*/ 2147483647 w 300"/>
                  <a:gd name="T95" fmla="*/ 2147483647 h 1194"/>
                  <a:gd name="T96" fmla="*/ 2147483647 w 300"/>
                  <a:gd name="T97" fmla="*/ 2147483647 h 1194"/>
                  <a:gd name="T98" fmla="*/ 2147483647 w 300"/>
                  <a:gd name="T99" fmla="*/ 0 h 1194"/>
                  <a:gd name="T100" fmla="*/ 2147483647 w 300"/>
                  <a:gd name="T101" fmla="*/ 2147483647 h 119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00"/>
                  <a:gd name="T154" fmla="*/ 0 h 1194"/>
                  <a:gd name="T155" fmla="*/ 300 w 300"/>
                  <a:gd name="T156" fmla="*/ 1194 h 119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00" h="1194">
                    <a:moveTo>
                      <a:pt x="0" y="1194"/>
                    </a:moveTo>
                    <a:lnTo>
                      <a:pt x="12" y="1188"/>
                    </a:lnTo>
                    <a:lnTo>
                      <a:pt x="36" y="1146"/>
                    </a:lnTo>
                    <a:lnTo>
                      <a:pt x="18" y="1134"/>
                    </a:lnTo>
                    <a:lnTo>
                      <a:pt x="0" y="1194"/>
                    </a:lnTo>
                    <a:close/>
                    <a:moveTo>
                      <a:pt x="114" y="1068"/>
                    </a:moveTo>
                    <a:lnTo>
                      <a:pt x="72" y="1062"/>
                    </a:lnTo>
                    <a:lnTo>
                      <a:pt x="54" y="1134"/>
                    </a:lnTo>
                    <a:lnTo>
                      <a:pt x="66" y="1134"/>
                    </a:lnTo>
                    <a:lnTo>
                      <a:pt x="84" y="1104"/>
                    </a:lnTo>
                    <a:lnTo>
                      <a:pt x="132" y="1074"/>
                    </a:lnTo>
                    <a:lnTo>
                      <a:pt x="120" y="1050"/>
                    </a:lnTo>
                    <a:lnTo>
                      <a:pt x="114" y="1068"/>
                    </a:lnTo>
                    <a:close/>
                    <a:moveTo>
                      <a:pt x="192" y="1008"/>
                    </a:moveTo>
                    <a:lnTo>
                      <a:pt x="186" y="1008"/>
                    </a:lnTo>
                    <a:lnTo>
                      <a:pt x="180" y="1020"/>
                    </a:lnTo>
                    <a:lnTo>
                      <a:pt x="174" y="1026"/>
                    </a:lnTo>
                    <a:lnTo>
                      <a:pt x="168" y="1038"/>
                    </a:lnTo>
                    <a:lnTo>
                      <a:pt x="168" y="1044"/>
                    </a:lnTo>
                    <a:lnTo>
                      <a:pt x="174" y="1050"/>
                    </a:lnTo>
                    <a:lnTo>
                      <a:pt x="180" y="1050"/>
                    </a:lnTo>
                    <a:lnTo>
                      <a:pt x="198" y="1032"/>
                    </a:lnTo>
                    <a:lnTo>
                      <a:pt x="198" y="1014"/>
                    </a:lnTo>
                    <a:lnTo>
                      <a:pt x="192" y="1008"/>
                    </a:lnTo>
                    <a:close/>
                    <a:moveTo>
                      <a:pt x="282" y="636"/>
                    </a:moveTo>
                    <a:lnTo>
                      <a:pt x="264" y="654"/>
                    </a:lnTo>
                    <a:lnTo>
                      <a:pt x="276" y="678"/>
                    </a:lnTo>
                    <a:lnTo>
                      <a:pt x="258" y="678"/>
                    </a:lnTo>
                    <a:lnTo>
                      <a:pt x="258" y="702"/>
                    </a:lnTo>
                    <a:lnTo>
                      <a:pt x="282" y="702"/>
                    </a:lnTo>
                    <a:lnTo>
                      <a:pt x="294" y="684"/>
                    </a:lnTo>
                    <a:lnTo>
                      <a:pt x="282" y="654"/>
                    </a:lnTo>
                    <a:lnTo>
                      <a:pt x="300" y="654"/>
                    </a:lnTo>
                    <a:lnTo>
                      <a:pt x="282" y="636"/>
                    </a:lnTo>
                    <a:close/>
                    <a:moveTo>
                      <a:pt x="276" y="768"/>
                    </a:moveTo>
                    <a:lnTo>
                      <a:pt x="294" y="750"/>
                    </a:lnTo>
                    <a:lnTo>
                      <a:pt x="270" y="732"/>
                    </a:lnTo>
                    <a:lnTo>
                      <a:pt x="276" y="768"/>
                    </a:lnTo>
                    <a:close/>
                    <a:moveTo>
                      <a:pt x="258" y="954"/>
                    </a:moveTo>
                    <a:lnTo>
                      <a:pt x="258" y="924"/>
                    </a:lnTo>
                    <a:lnTo>
                      <a:pt x="240" y="948"/>
                    </a:lnTo>
                    <a:lnTo>
                      <a:pt x="258" y="954"/>
                    </a:lnTo>
                    <a:close/>
                    <a:moveTo>
                      <a:pt x="252" y="858"/>
                    </a:moveTo>
                    <a:lnTo>
                      <a:pt x="270" y="858"/>
                    </a:lnTo>
                    <a:lnTo>
                      <a:pt x="252" y="840"/>
                    </a:lnTo>
                    <a:lnTo>
                      <a:pt x="252" y="858"/>
                    </a:lnTo>
                    <a:close/>
                    <a:moveTo>
                      <a:pt x="126" y="24"/>
                    </a:moveTo>
                    <a:lnTo>
                      <a:pt x="144" y="60"/>
                    </a:lnTo>
                    <a:lnTo>
                      <a:pt x="174" y="24"/>
                    </a:lnTo>
                    <a:lnTo>
                      <a:pt x="162" y="0"/>
                    </a:lnTo>
                    <a:lnTo>
                      <a:pt x="126" y="24"/>
                    </a:lnTo>
                    <a:close/>
                  </a:path>
                </a:pathLst>
              </a:custGeom>
              <a:solidFill>
                <a:srgbClr val="9D90A0">
                  <a:lumMod val="40000"/>
                  <a:lumOff val="60000"/>
                </a:srgbClr>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72" name="Russia" descr="© INSCALE GmbH, 05.05.2010&#10;http://www.presentationload.com/">
                <a:extLst>
                  <a:ext uri="{FF2B5EF4-FFF2-40B4-BE49-F238E27FC236}">
                    <a16:creationId xmlns:a16="http://schemas.microsoft.com/office/drawing/2014/main" id="{BE9A8334-EFA3-42CB-854A-F1D2D3AD630C}"/>
                  </a:ext>
                </a:extLst>
              </p:cNvPr>
              <p:cNvSpPr>
                <a:spLocks noEditPoints="1"/>
              </p:cNvSpPr>
              <p:nvPr/>
            </p:nvSpPr>
            <p:spPr bwMode="gray">
              <a:xfrm>
                <a:off x="4727913" y="1828498"/>
                <a:ext cx="3578436" cy="1266603"/>
              </a:xfrm>
              <a:custGeom>
                <a:avLst/>
                <a:gdLst>
                  <a:gd name="T0" fmla="*/ 2147483647 w 9048"/>
                  <a:gd name="T1" fmla="*/ 2147483647 h 2880"/>
                  <a:gd name="T2" fmla="*/ 2147483647 w 9048"/>
                  <a:gd name="T3" fmla="*/ 2147483647 h 2880"/>
                  <a:gd name="T4" fmla="*/ 2147483647 w 9048"/>
                  <a:gd name="T5" fmla="*/ 2147483647 h 2880"/>
                  <a:gd name="T6" fmla="*/ 2147483647 w 9048"/>
                  <a:gd name="T7" fmla="*/ 2147483647 h 2880"/>
                  <a:gd name="T8" fmla="*/ 2147483647 w 9048"/>
                  <a:gd name="T9" fmla="*/ 2147483647 h 2880"/>
                  <a:gd name="T10" fmla="*/ 2147483647 w 9048"/>
                  <a:gd name="T11" fmla="*/ 2147483647 h 2880"/>
                  <a:gd name="T12" fmla="*/ 2147483647 w 9048"/>
                  <a:gd name="T13" fmla="*/ 2147483647 h 2880"/>
                  <a:gd name="T14" fmla="*/ 2147483647 w 9048"/>
                  <a:gd name="T15" fmla="*/ 2147483647 h 2880"/>
                  <a:gd name="T16" fmla="*/ 2147483647 w 9048"/>
                  <a:gd name="T17" fmla="*/ 2147483647 h 2880"/>
                  <a:gd name="T18" fmla="*/ 2147483647 w 9048"/>
                  <a:gd name="T19" fmla="*/ 2147483647 h 2880"/>
                  <a:gd name="T20" fmla="*/ 2147483647 w 9048"/>
                  <a:gd name="T21" fmla="*/ 2147483647 h 2880"/>
                  <a:gd name="T22" fmla="*/ 2147483647 w 9048"/>
                  <a:gd name="T23" fmla="*/ 2147483647 h 2880"/>
                  <a:gd name="T24" fmla="*/ 2147483647 w 9048"/>
                  <a:gd name="T25" fmla="*/ 2147483647 h 2880"/>
                  <a:gd name="T26" fmla="*/ 2147483647 w 9048"/>
                  <a:gd name="T27" fmla="*/ 2147483647 h 2880"/>
                  <a:gd name="T28" fmla="*/ 2147483647 w 9048"/>
                  <a:gd name="T29" fmla="*/ 2147483647 h 2880"/>
                  <a:gd name="T30" fmla="*/ 2147483647 w 9048"/>
                  <a:gd name="T31" fmla="*/ 2147483647 h 2880"/>
                  <a:gd name="T32" fmla="*/ 2147483647 w 9048"/>
                  <a:gd name="T33" fmla="*/ 2147483647 h 2880"/>
                  <a:gd name="T34" fmla="*/ 2147483647 w 9048"/>
                  <a:gd name="T35" fmla="*/ 2147483647 h 2880"/>
                  <a:gd name="T36" fmla="*/ 2147483647 w 9048"/>
                  <a:gd name="T37" fmla="*/ 2147483647 h 2880"/>
                  <a:gd name="T38" fmla="*/ 2147483647 w 9048"/>
                  <a:gd name="T39" fmla="*/ 2147483647 h 2880"/>
                  <a:gd name="T40" fmla="*/ 2147483647 w 9048"/>
                  <a:gd name="T41" fmla="*/ 2147483647 h 2880"/>
                  <a:gd name="T42" fmla="*/ 2147483647 w 9048"/>
                  <a:gd name="T43" fmla="*/ 2147483647 h 2880"/>
                  <a:gd name="T44" fmla="*/ 2147483647 w 9048"/>
                  <a:gd name="T45" fmla="*/ 2147483647 h 2880"/>
                  <a:gd name="T46" fmla="*/ 2147483647 w 9048"/>
                  <a:gd name="T47" fmla="*/ 2147483647 h 2880"/>
                  <a:gd name="T48" fmla="*/ 2147483647 w 9048"/>
                  <a:gd name="T49" fmla="*/ 2147483647 h 2880"/>
                  <a:gd name="T50" fmla="*/ 2147483647 w 9048"/>
                  <a:gd name="T51" fmla="*/ 2147483647 h 2880"/>
                  <a:gd name="T52" fmla="*/ 2147483647 w 9048"/>
                  <a:gd name="T53" fmla="*/ 2147483647 h 2880"/>
                  <a:gd name="T54" fmla="*/ 2147483647 w 9048"/>
                  <a:gd name="T55" fmla="*/ 2147483647 h 2880"/>
                  <a:gd name="T56" fmla="*/ 2147483647 w 9048"/>
                  <a:gd name="T57" fmla="*/ 2147483647 h 2880"/>
                  <a:gd name="T58" fmla="*/ 2147483647 w 9048"/>
                  <a:gd name="T59" fmla="*/ 2147483647 h 2880"/>
                  <a:gd name="T60" fmla="*/ 2147483647 w 9048"/>
                  <a:gd name="T61" fmla="*/ 2147483647 h 2880"/>
                  <a:gd name="T62" fmla="*/ 2147483647 w 9048"/>
                  <a:gd name="T63" fmla="*/ 2147483647 h 2880"/>
                  <a:gd name="T64" fmla="*/ 2147483647 w 9048"/>
                  <a:gd name="T65" fmla="*/ 2147483647 h 2880"/>
                  <a:gd name="T66" fmla="*/ 2147483647 w 9048"/>
                  <a:gd name="T67" fmla="*/ 2147483647 h 2880"/>
                  <a:gd name="T68" fmla="*/ 2147483647 w 9048"/>
                  <a:gd name="T69" fmla="*/ 2147483647 h 2880"/>
                  <a:gd name="T70" fmla="*/ 2147483647 w 9048"/>
                  <a:gd name="T71" fmla="*/ 2147483647 h 2880"/>
                  <a:gd name="T72" fmla="*/ 2147483647 w 9048"/>
                  <a:gd name="T73" fmla="*/ 2147483647 h 2880"/>
                  <a:gd name="T74" fmla="*/ 2147483647 w 9048"/>
                  <a:gd name="T75" fmla="*/ 2147483647 h 2880"/>
                  <a:gd name="T76" fmla="*/ 2147483647 w 9048"/>
                  <a:gd name="T77" fmla="*/ 2147483647 h 2880"/>
                  <a:gd name="T78" fmla="*/ 2147483647 w 9048"/>
                  <a:gd name="T79" fmla="*/ 2147483647 h 2880"/>
                  <a:gd name="T80" fmla="*/ 2147483647 w 9048"/>
                  <a:gd name="T81" fmla="*/ 2147483647 h 2880"/>
                  <a:gd name="T82" fmla="*/ 2147483647 w 9048"/>
                  <a:gd name="T83" fmla="*/ 2147483647 h 2880"/>
                  <a:gd name="T84" fmla="*/ 2147483647 w 9048"/>
                  <a:gd name="T85" fmla="*/ 2147483647 h 2880"/>
                  <a:gd name="T86" fmla="*/ 2147483647 w 9048"/>
                  <a:gd name="T87" fmla="*/ 2147483647 h 2880"/>
                  <a:gd name="T88" fmla="*/ 2147483647 w 9048"/>
                  <a:gd name="T89" fmla="*/ 2147483647 h 2880"/>
                  <a:gd name="T90" fmla="*/ 2147483647 w 9048"/>
                  <a:gd name="T91" fmla="*/ 2147483647 h 2880"/>
                  <a:gd name="T92" fmla="*/ 2147483647 w 9048"/>
                  <a:gd name="T93" fmla="*/ 2147483647 h 2880"/>
                  <a:gd name="T94" fmla="*/ 2147483647 w 9048"/>
                  <a:gd name="T95" fmla="*/ 2147483647 h 2880"/>
                  <a:gd name="T96" fmla="*/ 2147483647 w 9048"/>
                  <a:gd name="T97" fmla="*/ 2147483647 h 2880"/>
                  <a:gd name="T98" fmla="*/ 2147483647 w 9048"/>
                  <a:gd name="T99" fmla="*/ 2147483647 h 2880"/>
                  <a:gd name="T100" fmla="*/ 2147483647 w 9048"/>
                  <a:gd name="T101" fmla="*/ 2147483647 h 2880"/>
                  <a:gd name="T102" fmla="*/ 2147483647 w 9048"/>
                  <a:gd name="T103" fmla="*/ 2147483647 h 2880"/>
                  <a:gd name="T104" fmla="*/ 2147483647 w 9048"/>
                  <a:gd name="T105" fmla="*/ 2147483647 h 2880"/>
                  <a:gd name="T106" fmla="*/ 2147483647 w 9048"/>
                  <a:gd name="T107" fmla="*/ 2147483647 h 2880"/>
                  <a:gd name="T108" fmla="*/ 2147483647 w 9048"/>
                  <a:gd name="T109" fmla="*/ 2147483647 h 2880"/>
                  <a:gd name="T110" fmla="*/ 2147483647 w 9048"/>
                  <a:gd name="T111" fmla="*/ 2147483647 h 2880"/>
                  <a:gd name="T112" fmla="*/ 2147483647 w 9048"/>
                  <a:gd name="T113" fmla="*/ 2147483647 h 2880"/>
                  <a:gd name="T114" fmla="*/ 2147483647 w 9048"/>
                  <a:gd name="T115" fmla="*/ 2147483647 h 2880"/>
                  <a:gd name="T116" fmla="*/ 2147483647 w 9048"/>
                  <a:gd name="T117" fmla="*/ 2147483647 h 2880"/>
                  <a:gd name="T118" fmla="*/ 2147483647 w 9048"/>
                  <a:gd name="T119" fmla="*/ 2147483647 h 2880"/>
                  <a:gd name="T120" fmla="*/ 2147483647 w 9048"/>
                  <a:gd name="T121" fmla="*/ 2147483647 h 2880"/>
                  <a:gd name="T122" fmla="*/ 2147483647 w 9048"/>
                  <a:gd name="T123" fmla="*/ 2147483647 h 2880"/>
                  <a:gd name="T124" fmla="*/ 2147483647 w 9048"/>
                  <a:gd name="T125" fmla="*/ 2147483647 h 288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9048"/>
                  <a:gd name="T190" fmla="*/ 0 h 2880"/>
                  <a:gd name="T191" fmla="*/ 9048 w 9048"/>
                  <a:gd name="T192" fmla="*/ 2880 h 2880"/>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9048" h="2880">
                    <a:moveTo>
                      <a:pt x="2790" y="546"/>
                    </a:moveTo>
                    <a:lnTo>
                      <a:pt x="2760" y="540"/>
                    </a:lnTo>
                    <a:lnTo>
                      <a:pt x="2736" y="558"/>
                    </a:lnTo>
                    <a:lnTo>
                      <a:pt x="2778" y="570"/>
                    </a:lnTo>
                    <a:lnTo>
                      <a:pt x="2790" y="546"/>
                    </a:lnTo>
                    <a:close/>
                    <a:moveTo>
                      <a:pt x="2832" y="522"/>
                    </a:moveTo>
                    <a:lnTo>
                      <a:pt x="2820" y="516"/>
                    </a:lnTo>
                    <a:lnTo>
                      <a:pt x="2814" y="510"/>
                    </a:lnTo>
                    <a:lnTo>
                      <a:pt x="2808" y="510"/>
                    </a:lnTo>
                    <a:lnTo>
                      <a:pt x="2808" y="528"/>
                    </a:lnTo>
                    <a:lnTo>
                      <a:pt x="2820" y="534"/>
                    </a:lnTo>
                    <a:lnTo>
                      <a:pt x="2832" y="534"/>
                    </a:lnTo>
                    <a:lnTo>
                      <a:pt x="2844" y="540"/>
                    </a:lnTo>
                    <a:lnTo>
                      <a:pt x="2850" y="540"/>
                    </a:lnTo>
                    <a:lnTo>
                      <a:pt x="2850" y="534"/>
                    </a:lnTo>
                    <a:lnTo>
                      <a:pt x="2844" y="528"/>
                    </a:lnTo>
                    <a:lnTo>
                      <a:pt x="2832" y="522"/>
                    </a:lnTo>
                    <a:close/>
                    <a:moveTo>
                      <a:pt x="1704" y="18"/>
                    </a:moveTo>
                    <a:lnTo>
                      <a:pt x="1710" y="18"/>
                    </a:lnTo>
                    <a:lnTo>
                      <a:pt x="1716" y="12"/>
                    </a:lnTo>
                    <a:lnTo>
                      <a:pt x="1728" y="6"/>
                    </a:lnTo>
                    <a:lnTo>
                      <a:pt x="1734" y="0"/>
                    </a:lnTo>
                    <a:lnTo>
                      <a:pt x="1644" y="0"/>
                    </a:lnTo>
                    <a:lnTo>
                      <a:pt x="1638" y="12"/>
                    </a:lnTo>
                    <a:lnTo>
                      <a:pt x="1680" y="12"/>
                    </a:lnTo>
                    <a:lnTo>
                      <a:pt x="1686" y="18"/>
                    </a:lnTo>
                    <a:lnTo>
                      <a:pt x="1704" y="18"/>
                    </a:lnTo>
                    <a:close/>
                    <a:moveTo>
                      <a:pt x="1740" y="60"/>
                    </a:moveTo>
                    <a:lnTo>
                      <a:pt x="1746" y="60"/>
                    </a:lnTo>
                    <a:lnTo>
                      <a:pt x="1758" y="48"/>
                    </a:lnTo>
                    <a:lnTo>
                      <a:pt x="1764" y="48"/>
                    </a:lnTo>
                    <a:lnTo>
                      <a:pt x="1770" y="54"/>
                    </a:lnTo>
                    <a:lnTo>
                      <a:pt x="1782" y="54"/>
                    </a:lnTo>
                    <a:lnTo>
                      <a:pt x="1788" y="60"/>
                    </a:lnTo>
                    <a:lnTo>
                      <a:pt x="1800" y="60"/>
                    </a:lnTo>
                    <a:lnTo>
                      <a:pt x="1812" y="48"/>
                    </a:lnTo>
                    <a:lnTo>
                      <a:pt x="1812" y="36"/>
                    </a:lnTo>
                    <a:lnTo>
                      <a:pt x="1806" y="30"/>
                    </a:lnTo>
                    <a:lnTo>
                      <a:pt x="1794" y="24"/>
                    </a:lnTo>
                    <a:lnTo>
                      <a:pt x="1758" y="24"/>
                    </a:lnTo>
                    <a:lnTo>
                      <a:pt x="1710" y="48"/>
                    </a:lnTo>
                    <a:lnTo>
                      <a:pt x="1716" y="54"/>
                    </a:lnTo>
                    <a:lnTo>
                      <a:pt x="1728" y="60"/>
                    </a:lnTo>
                    <a:lnTo>
                      <a:pt x="1740" y="60"/>
                    </a:lnTo>
                    <a:close/>
                    <a:moveTo>
                      <a:pt x="2382" y="510"/>
                    </a:moveTo>
                    <a:lnTo>
                      <a:pt x="2400" y="504"/>
                    </a:lnTo>
                    <a:lnTo>
                      <a:pt x="2412" y="498"/>
                    </a:lnTo>
                    <a:lnTo>
                      <a:pt x="2412" y="486"/>
                    </a:lnTo>
                    <a:lnTo>
                      <a:pt x="2406" y="486"/>
                    </a:lnTo>
                    <a:lnTo>
                      <a:pt x="2400" y="480"/>
                    </a:lnTo>
                    <a:lnTo>
                      <a:pt x="2346" y="480"/>
                    </a:lnTo>
                    <a:lnTo>
                      <a:pt x="2346" y="492"/>
                    </a:lnTo>
                    <a:lnTo>
                      <a:pt x="2358" y="504"/>
                    </a:lnTo>
                    <a:lnTo>
                      <a:pt x="2370" y="510"/>
                    </a:lnTo>
                    <a:lnTo>
                      <a:pt x="2382" y="510"/>
                    </a:lnTo>
                    <a:close/>
                    <a:moveTo>
                      <a:pt x="1590" y="30"/>
                    </a:moveTo>
                    <a:lnTo>
                      <a:pt x="1548" y="24"/>
                    </a:lnTo>
                    <a:lnTo>
                      <a:pt x="1554" y="36"/>
                    </a:lnTo>
                    <a:lnTo>
                      <a:pt x="1590" y="30"/>
                    </a:lnTo>
                    <a:close/>
                    <a:moveTo>
                      <a:pt x="1890" y="696"/>
                    </a:moveTo>
                    <a:lnTo>
                      <a:pt x="1896" y="708"/>
                    </a:lnTo>
                    <a:lnTo>
                      <a:pt x="1920" y="720"/>
                    </a:lnTo>
                    <a:lnTo>
                      <a:pt x="1950" y="738"/>
                    </a:lnTo>
                    <a:lnTo>
                      <a:pt x="1974" y="744"/>
                    </a:lnTo>
                    <a:lnTo>
                      <a:pt x="1992" y="738"/>
                    </a:lnTo>
                    <a:lnTo>
                      <a:pt x="1980" y="720"/>
                    </a:lnTo>
                    <a:lnTo>
                      <a:pt x="1950" y="702"/>
                    </a:lnTo>
                    <a:lnTo>
                      <a:pt x="1914" y="696"/>
                    </a:lnTo>
                    <a:lnTo>
                      <a:pt x="1890" y="696"/>
                    </a:lnTo>
                    <a:close/>
                    <a:moveTo>
                      <a:pt x="3108" y="126"/>
                    </a:moveTo>
                    <a:lnTo>
                      <a:pt x="3120" y="108"/>
                    </a:lnTo>
                    <a:lnTo>
                      <a:pt x="3030" y="108"/>
                    </a:lnTo>
                    <a:lnTo>
                      <a:pt x="3108" y="126"/>
                    </a:lnTo>
                    <a:close/>
                    <a:moveTo>
                      <a:pt x="1560" y="102"/>
                    </a:moveTo>
                    <a:lnTo>
                      <a:pt x="1632" y="102"/>
                    </a:lnTo>
                    <a:lnTo>
                      <a:pt x="1608" y="84"/>
                    </a:lnTo>
                    <a:lnTo>
                      <a:pt x="1560" y="102"/>
                    </a:lnTo>
                    <a:close/>
                    <a:moveTo>
                      <a:pt x="1572" y="60"/>
                    </a:moveTo>
                    <a:lnTo>
                      <a:pt x="1584" y="66"/>
                    </a:lnTo>
                    <a:lnTo>
                      <a:pt x="1596" y="78"/>
                    </a:lnTo>
                    <a:lnTo>
                      <a:pt x="1620" y="66"/>
                    </a:lnTo>
                    <a:lnTo>
                      <a:pt x="1620" y="72"/>
                    </a:lnTo>
                    <a:lnTo>
                      <a:pt x="1644" y="72"/>
                    </a:lnTo>
                    <a:lnTo>
                      <a:pt x="1668" y="60"/>
                    </a:lnTo>
                    <a:lnTo>
                      <a:pt x="1674" y="54"/>
                    </a:lnTo>
                    <a:lnTo>
                      <a:pt x="1680" y="54"/>
                    </a:lnTo>
                    <a:lnTo>
                      <a:pt x="1626" y="48"/>
                    </a:lnTo>
                    <a:lnTo>
                      <a:pt x="1614" y="54"/>
                    </a:lnTo>
                    <a:lnTo>
                      <a:pt x="1608" y="54"/>
                    </a:lnTo>
                    <a:lnTo>
                      <a:pt x="1602" y="48"/>
                    </a:lnTo>
                    <a:lnTo>
                      <a:pt x="1584" y="48"/>
                    </a:lnTo>
                    <a:lnTo>
                      <a:pt x="1572" y="60"/>
                    </a:lnTo>
                    <a:close/>
                    <a:moveTo>
                      <a:pt x="1662" y="36"/>
                    </a:moveTo>
                    <a:lnTo>
                      <a:pt x="1602" y="36"/>
                    </a:lnTo>
                    <a:lnTo>
                      <a:pt x="1650" y="48"/>
                    </a:lnTo>
                    <a:lnTo>
                      <a:pt x="1662" y="36"/>
                    </a:lnTo>
                    <a:close/>
                    <a:moveTo>
                      <a:pt x="1542" y="522"/>
                    </a:moveTo>
                    <a:lnTo>
                      <a:pt x="1500" y="528"/>
                    </a:lnTo>
                    <a:lnTo>
                      <a:pt x="1512" y="552"/>
                    </a:lnTo>
                    <a:lnTo>
                      <a:pt x="1542" y="534"/>
                    </a:lnTo>
                    <a:lnTo>
                      <a:pt x="1524" y="558"/>
                    </a:lnTo>
                    <a:lnTo>
                      <a:pt x="1518" y="558"/>
                    </a:lnTo>
                    <a:lnTo>
                      <a:pt x="1512" y="564"/>
                    </a:lnTo>
                    <a:lnTo>
                      <a:pt x="1506" y="564"/>
                    </a:lnTo>
                    <a:lnTo>
                      <a:pt x="1494" y="570"/>
                    </a:lnTo>
                    <a:lnTo>
                      <a:pt x="1488" y="576"/>
                    </a:lnTo>
                    <a:lnTo>
                      <a:pt x="1488" y="582"/>
                    </a:lnTo>
                    <a:lnTo>
                      <a:pt x="1500" y="594"/>
                    </a:lnTo>
                    <a:lnTo>
                      <a:pt x="1524" y="606"/>
                    </a:lnTo>
                    <a:lnTo>
                      <a:pt x="1566" y="606"/>
                    </a:lnTo>
                    <a:lnTo>
                      <a:pt x="1590" y="612"/>
                    </a:lnTo>
                    <a:lnTo>
                      <a:pt x="1608" y="618"/>
                    </a:lnTo>
                    <a:lnTo>
                      <a:pt x="1614" y="624"/>
                    </a:lnTo>
                    <a:lnTo>
                      <a:pt x="1620" y="636"/>
                    </a:lnTo>
                    <a:lnTo>
                      <a:pt x="1620" y="648"/>
                    </a:lnTo>
                    <a:lnTo>
                      <a:pt x="1626" y="654"/>
                    </a:lnTo>
                    <a:lnTo>
                      <a:pt x="1626" y="660"/>
                    </a:lnTo>
                    <a:lnTo>
                      <a:pt x="1644" y="660"/>
                    </a:lnTo>
                    <a:lnTo>
                      <a:pt x="1662" y="666"/>
                    </a:lnTo>
                    <a:lnTo>
                      <a:pt x="1674" y="666"/>
                    </a:lnTo>
                    <a:lnTo>
                      <a:pt x="1692" y="672"/>
                    </a:lnTo>
                    <a:lnTo>
                      <a:pt x="1704" y="672"/>
                    </a:lnTo>
                    <a:lnTo>
                      <a:pt x="1818" y="666"/>
                    </a:lnTo>
                    <a:lnTo>
                      <a:pt x="1806" y="666"/>
                    </a:lnTo>
                    <a:lnTo>
                      <a:pt x="1734" y="642"/>
                    </a:lnTo>
                    <a:lnTo>
                      <a:pt x="1704" y="618"/>
                    </a:lnTo>
                    <a:lnTo>
                      <a:pt x="1692" y="600"/>
                    </a:lnTo>
                    <a:lnTo>
                      <a:pt x="1686" y="588"/>
                    </a:lnTo>
                    <a:lnTo>
                      <a:pt x="1674" y="582"/>
                    </a:lnTo>
                    <a:lnTo>
                      <a:pt x="1674" y="570"/>
                    </a:lnTo>
                    <a:lnTo>
                      <a:pt x="1668" y="564"/>
                    </a:lnTo>
                    <a:lnTo>
                      <a:pt x="1692" y="516"/>
                    </a:lnTo>
                    <a:lnTo>
                      <a:pt x="1686" y="510"/>
                    </a:lnTo>
                    <a:lnTo>
                      <a:pt x="1686" y="504"/>
                    </a:lnTo>
                    <a:lnTo>
                      <a:pt x="1674" y="504"/>
                    </a:lnTo>
                    <a:lnTo>
                      <a:pt x="1710" y="498"/>
                    </a:lnTo>
                    <a:lnTo>
                      <a:pt x="1698" y="480"/>
                    </a:lnTo>
                    <a:lnTo>
                      <a:pt x="1734" y="480"/>
                    </a:lnTo>
                    <a:lnTo>
                      <a:pt x="1710" y="468"/>
                    </a:lnTo>
                    <a:lnTo>
                      <a:pt x="1734" y="474"/>
                    </a:lnTo>
                    <a:lnTo>
                      <a:pt x="1740" y="462"/>
                    </a:lnTo>
                    <a:lnTo>
                      <a:pt x="1722" y="450"/>
                    </a:lnTo>
                    <a:lnTo>
                      <a:pt x="1764" y="450"/>
                    </a:lnTo>
                    <a:lnTo>
                      <a:pt x="1770" y="444"/>
                    </a:lnTo>
                    <a:lnTo>
                      <a:pt x="1752" y="426"/>
                    </a:lnTo>
                    <a:lnTo>
                      <a:pt x="1782" y="432"/>
                    </a:lnTo>
                    <a:lnTo>
                      <a:pt x="1782" y="402"/>
                    </a:lnTo>
                    <a:lnTo>
                      <a:pt x="1788" y="408"/>
                    </a:lnTo>
                    <a:lnTo>
                      <a:pt x="1800" y="414"/>
                    </a:lnTo>
                    <a:lnTo>
                      <a:pt x="1812" y="414"/>
                    </a:lnTo>
                    <a:lnTo>
                      <a:pt x="1830" y="408"/>
                    </a:lnTo>
                    <a:lnTo>
                      <a:pt x="1842" y="402"/>
                    </a:lnTo>
                    <a:lnTo>
                      <a:pt x="1860" y="390"/>
                    </a:lnTo>
                    <a:lnTo>
                      <a:pt x="1878" y="372"/>
                    </a:lnTo>
                    <a:lnTo>
                      <a:pt x="1896" y="372"/>
                    </a:lnTo>
                    <a:lnTo>
                      <a:pt x="1938" y="366"/>
                    </a:lnTo>
                    <a:lnTo>
                      <a:pt x="1992" y="354"/>
                    </a:lnTo>
                    <a:lnTo>
                      <a:pt x="2046" y="348"/>
                    </a:lnTo>
                    <a:lnTo>
                      <a:pt x="2094" y="336"/>
                    </a:lnTo>
                    <a:lnTo>
                      <a:pt x="2124" y="330"/>
                    </a:lnTo>
                    <a:lnTo>
                      <a:pt x="2136" y="324"/>
                    </a:lnTo>
                    <a:lnTo>
                      <a:pt x="2154" y="318"/>
                    </a:lnTo>
                    <a:lnTo>
                      <a:pt x="2160" y="312"/>
                    </a:lnTo>
                    <a:lnTo>
                      <a:pt x="2166" y="300"/>
                    </a:lnTo>
                    <a:lnTo>
                      <a:pt x="2166" y="294"/>
                    </a:lnTo>
                    <a:lnTo>
                      <a:pt x="2154" y="282"/>
                    </a:lnTo>
                    <a:lnTo>
                      <a:pt x="2136" y="276"/>
                    </a:lnTo>
                    <a:lnTo>
                      <a:pt x="2088" y="270"/>
                    </a:lnTo>
                    <a:lnTo>
                      <a:pt x="2046" y="276"/>
                    </a:lnTo>
                    <a:lnTo>
                      <a:pt x="2016" y="288"/>
                    </a:lnTo>
                    <a:lnTo>
                      <a:pt x="1980" y="300"/>
                    </a:lnTo>
                    <a:lnTo>
                      <a:pt x="1938" y="318"/>
                    </a:lnTo>
                    <a:lnTo>
                      <a:pt x="1860" y="318"/>
                    </a:lnTo>
                    <a:lnTo>
                      <a:pt x="1842" y="312"/>
                    </a:lnTo>
                    <a:lnTo>
                      <a:pt x="1824" y="312"/>
                    </a:lnTo>
                    <a:lnTo>
                      <a:pt x="1806" y="336"/>
                    </a:lnTo>
                    <a:lnTo>
                      <a:pt x="1782" y="318"/>
                    </a:lnTo>
                    <a:lnTo>
                      <a:pt x="1728" y="342"/>
                    </a:lnTo>
                    <a:lnTo>
                      <a:pt x="1698" y="342"/>
                    </a:lnTo>
                    <a:lnTo>
                      <a:pt x="1668" y="366"/>
                    </a:lnTo>
                    <a:lnTo>
                      <a:pt x="1692" y="372"/>
                    </a:lnTo>
                    <a:lnTo>
                      <a:pt x="1644" y="372"/>
                    </a:lnTo>
                    <a:lnTo>
                      <a:pt x="1614" y="378"/>
                    </a:lnTo>
                    <a:lnTo>
                      <a:pt x="1614" y="396"/>
                    </a:lnTo>
                    <a:lnTo>
                      <a:pt x="1638" y="378"/>
                    </a:lnTo>
                    <a:lnTo>
                      <a:pt x="1644" y="396"/>
                    </a:lnTo>
                    <a:lnTo>
                      <a:pt x="1668" y="396"/>
                    </a:lnTo>
                    <a:lnTo>
                      <a:pt x="1662" y="408"/>
                    </a:lnTo>
                    <a:lnTo>
                      <a:pt x="1620" y="408"/>
                    </a:lnTo>
                    <a:lnTo>
                      <a:pt x="1614" y="420"/>
                    </a:lnTo>
                    <a:lnTo>
                      <a:pt x="1644" y="426"/>
                    </a:lnTo>
                    <a:lnTo>
                      <a:pt x="1596" y="432"/>
                    </a:lnTo>
                    <a:lnTo>
                      <a:pt x="1632" y="438"/>
                    </a:lnTo>
                    <a:lnTo>
                      <a:pt x="1584" y="444"/>
                    </a:lnTo>
                    <a:lnTo>
                      <a:pt x="1584" y="462"/>
                    </a:lnTo>
                    <a:lnTo>
                      <a:pt x="1554" y="474"/>
                    </a:lnTo>
                    <a:lnTo>
                      <a:pt x="1560" y="486"/>
                    </a:lnTo>
                    <a:lnTo>
                      <a:pt x="1602" y="468"/>
                    </a:lnTo>
                    <a:lnTo>
                      <a:pt x="1590" y="498"/>
                    </a:lnTo>
                    <a:lnTo>
                      <a:pt x="1554" y="498"/>
                    </a:lnTo>
                    <a:lnTo>
                      <a:pt x="1542" y="504"/>
                    </a:lnTo>
                    <a:lnTo>
                      <a:pt x="1542" y="522"/>
                    </a:lnTo>
                    <a:close/>
                    <a:moveTo>
                      <a:pt x="5778" y="498"/>
                    </a:moveTo>
                    <a:lnTo>
                      <a:pt x="5850" y="486"/>
                    </a:lnTo>
                    <a:lnTo>
                      <a:pt x="5958" y="504"/>
                    </a:lnTo>
                    <a:lnTo>
                      <a:pt x="5952" y="492"/>
                    </a:lnTo>
                    <a:lnTo>
                      <a:pt x="5940" y="486"/>
                    </a:lnTo>
                    <a:lnTo>
                      <a:pt x="5928" y="474"/>
                    </a:lnTo>
                    <a:lnTo>
                      <a:pt x="5904" y="462"/>
                    </a:lnTo>
                    <a:lnTo>
                      <a:pt x="5844" y="462"/>
                    </a:lnTo>
                    <a:lnTo>
                      <a:pt x="5808" y="468"/>
                    </a:lnTo>
                    <a:lnTo>
                      <a:pt x="5796" y="468"/>
                    </a:lnTo>
                    <a:lnTo>
                      <a:pt x="5778" y="498"/>
                    </a:lnTo>
                    <a:close/>
                    <a:moveTo>
                      <a:pt x="5784" y="378"/>
                    </a:moveTo>
                    <a:lnTo>
                      <a:pt x="5838" y="384"/>
                    </a:lnTo>
                    <a:lnTo>
                      <a:pt x="5844" y="378"/>
                    </a:lnTo>
                    <a:lnTo>
                      <a:pt x="5850" y="366"/>
                    </a:lnTo>
                    <a:lnTo>
                      <a:pt x="5838" y="354"/>
                    </a:lnTo>
                    <a:lnTo>
                      <a:pt x="5802" y="354"/>
                    </a:lnTo>
                    <a:lnTo>
                      <a:pt x="5742" y="342"/>
                    </a:lnTo>
                    <a:lnTo>
                      <a:pt x="5724" y="342"/>
                    </a:lnTo>
                    <a:lnTo>
                      <a:pt x="5718" y="348"/>
                    </a:lnTo>
                    <a:lnTo>
                      <a:pt x="5730" y="354"/>
                    </a:lnTo>
                    <a:lnTo>
                      <a:pt x="5742" y="366"/>
                    </a:lnTo>
                    <a:lnTo>
                      <a:pt x="5754" y="372"/>
                    </a:lnTo>
                    <a:lnTo>
                      <a:pt x="5772" y="372"/>
                    </a:lnTo>
                    <a:lnTo>
                      <a:pt x="5778" y="378"/>
                    </a:lnTo>
                    <a:lnTo>
                      <a:pt x="5784" y="378"/>
                    </a:lnTo>
                    <a:close/>
                    <a:moveTo>
                      <a:pt x="5724" y="432"/>
                    </a:moveTo>
                    <a:lnTo>
                      <a:pt x="5712" y="444"/>
                    </a:lnTo>
                    <a:lnTo>
                      <a:pt x="5712" y="456"/>
                    </a:lnTo>
                    <a:lnTo>
                      <a:pt x="5724" y="462"/>
                    </a:lnTo>
                    <a:lnTo>
                      <a:pt x="5772" y="462"/>
                    </a:lnTo>
                    <a:lnTo>
                      <a:pt x="5778" y="456"/>
                    </a:lnTo>
                    <a:lnTo>
                      <a:pt x="5778" y="450"/>
                    </a:lnTo>
                    <a:lnTo>
                      <a:pt x="5766" y="438"/>
                    </a:lnTo>
                    <a:lnTo>
                      <a:pt x="5742" y="426"/>
                    </a:lnTo>
                    <a:lnTo>
                      <a:pt x="5730" y="426"/>
                    </a:lnTo>
                    <a:lnTo>
                      <a:pt x="5724" y="432"/>
                    </a:lnTo>
                    <a:close/>
                    <a:moveTo>
                      <a:pt x="3072" y="96"/>
                    </a:moveTo>
                    <a:lnTo>
                      <a:pt x="3192" y="96"/>
                    </a:lnTo>
                    <a:lnTo>
                      <a:pt x="3204" y="90"/>
                    </a:lnTo>
                    <a:lnTo>
                      <a:pt x="3228" y="90"/>
                    </a:lnTo>
                    <a:lnTo>
                      <a:pt x="3240" y="84"/>
                    </a:lnTo>
                    <a:lnTo>
                      <a:pt x="3240" y="72"/>
                    </a:lnTo>
                    <a:lnTo>
                      <a:pt x="3222" y="60"/>
                    </a:lnTo>
                    <a:lnTo>
                      <a:pt x="3192" y="42"/>
                    </a:lnTo>
                    <a:lnTo>
                      <a:pt x="3156" y="30"/>
                    </a:lnTo>
                    <a:lnTo>
                      <a:pt x="3132" y="24"/>
                    </a:lnTo>
                    <a:lnTo>
                      <a:pt x="3120" y="18"/>
                    </a:lnTo>
                    <a:lnTo>
                      <a:pt x="3108" y="18"/>
                    </a:lnTo>
                    <a:lnTo>
                      <a:pt x="3096" y="12"/>
                    </a:lnTo>
                    <a:lnTo>
                      <a:pt x="3060" y="12"/>
                    </a:lnTo>
                    <a:lnTo>
                      <a:pt x="3048" y="18"/>
                    </a:lnTo>
                    <a:lnTo>
                      <a:pt x="3036" y="18"/>
                    </a:lnTo>
                    <a:lnTo>
                      <a:pt x="3030" y="30"/>
                    </a:lnTo>
                    <a:lnTo>
                      <a:pt x="3030" y="42"/>
                    </a:lnTo>
                    <a:lnTo>
                      <a:pt x="3036" y="54"/>
                    </a:lnTo>
                    <a:lnTo>
                      <a:pt x="3048" y="66"/>
                    </a:lnTo>
                    <a:lnTo>
                      <a:pt x="3054" y="78"/>
                    </a:lnTo>
                    <a:lnTo>
                      <a:pt x="3072" y="96"/>
                    </a:lnTo>
                    <a:close/>
                    <a:moveTo>
                      <a:pt x="6138" y="408"/>
                    </a:moveTo>
                    <a:lnTo>
                      <a:pt x="6144" y="402"/>
                    </a:lnTo>
                    <a:lnTo>
                      <a:pt x="6132" y="396"/>
                    </a:lnTo>
                    <a:lnTo>
                      <a:pt x="6102" y="390"/>
                    </a:lnTo>
                    <a:lnTo>
                      <a:pt x="6036" y="390"/>
                    </a:lnTo>
                    <a:lnTo>
                      <a:pt x="6012" y="366"/>
                    </a:lnTo>
                    <a:lnTo>
                      <a:pt x="6000" y="360"/>
                    </a:lnTo>
                    <a:lnTo>
                      <a:pt x="5970" y="360"/>
                    </a:lnTo>
                    <a:lnTo>
                      <a:pt x="5958" y="366"/>
                    </a:lnTo>
                    <a:lnTo>
                      <a:pt x="5910" y="366"/>
                    </a:lnTo>
                    <a:lnTo>
                      <a:pt x="5946" y="390"/>
                    </a:lnTo>
                    <a:lnTo>
                      <a:pt x="5964" y="396"/>
                    </a:lnTo>
                    <a:lnTo>
                      <a:pt x="6000" y="402"/>
                    </a:lnTo>
                    <a:lnTo>
                      <a:pt x="6054" y="414"/>
                    </a:lnTo>
                    <a:lnTo>
                      <a:pt x="6102" y="414"/>
                    </a:lnTo>
                    <a:lnTo>
                      <a:pt x="6138" y="408"/>
                    </a:lnTo>
                    <a:close/>
                    <a:moveTo>
                      <a:pt x="7602" y="744"/>
                    </a:moveTo>
                    <a:lnTo>
                      <a:pt x="7596" y="732"/>
                    </a:lnTo>
                    <a:lnTo>
                      <a:pt x="7572" y="726"/>
                    </a:lnTo>
                    <a:lnTo>
                      <a:pt x="7512" y="714"/>
                    </a:lnTo>
                    <a:lnTo>
                      <a:pt x="7500" y="714"/>
                    </a:lnTo>
                    <a:lnTo>
                      <a:pt x="7512" y="726"/>
                    </a:lnTo>
                    <a:lnTo>
                      <a:pt x="7548" y="738"/>
                    </a:lnTo>
                    <a:lnTo>
                      <a:pt x="7584" y="744"/>
                    </a:lnTo>
                    <a:lnTo>
                      <a:pt x="7602" y="744"/>
                    </a:lnTo>
                    <a:close/>
                    <a:moveTo>
                      <a:pt x="3162" y="120"/>
                    </a:moveTo>
                    <a:lnTo>
                      <a:pt x="3216" y="138"/>
                    </a:lnTo>
                    <a:lnTo>
                      <a:pt x="3246" y="144"/>
                    </a:lnTo>
                    <a:lnTo>
                      <a:pt x="3264" y="144"/>
                    </a:lnTo>
                    <a:lnTo>
                      <a:pt x="3312" y="138"/>
                    </a:lnTo>
                    <a:lnTo>
                      <a:pt x="3372" y="156"/>
                    </a:lnTo>
                    <a:lnTo>
                      <a:pt x="3432" y="156"/>
                    </a:lnTo>
                    <a:lnTo>
                      <a:pt x="3426" y="138"/>
                    </a:lnTo>
                    <a:lnTo>
                      <a:pt x="3402" y="102"/>
                    </a:lnTo>
                    <a:lnTo>
                      <a:pt x="3384" y="96"/>
                    </a:lnTo>
                    <a:lnTo>
                      <a:pt x="3372" y="90"/>
                    </a:lnTo>
                    <a:lnTo>
                      <a:pt x="3354" y="96"/>
                    </a:lnTo>
                    <a:lnTo>
                      <a:pt x="3318" y="114"/>
                    </a:lnTo>
                    <a:lnTo>
                      <a:pt x="3294" y="90"/>
                    </a:lnTo>
                    <a:lnTo>
                      <a:pt x="3282" y="90"/>
                    </a:lnTo>
                    <a:lnTo>
                      <a:pt x="3210" y="102"/>
                    </a:lnTo>
                    <a:lnTo>
                      <a:pt x="3174" y="114"/>
                    </a:lnTo>
                    <a:lnTo>
                      <a:pt x="3162" y="120"/>
                    </a:lnTo>
                    <a:close/>
                    <a:moveTo>
                      <a:pt x="3582" y="198"/>
                    </a:moveTo>
                    <a:lnTo>
                      <a:pt x="3744" y="192"/>
                    </a:lnTo>
                    <a:lnTo>
                      <a:pt x="3702" y="168"/>
                    </a:lnTo>
                    <a:lnTo>
                      <a:pt x="3696" y="168"/>
                    </a:lnTo>
                    <a:lnTo>
                      <a:pt x="3690" y="162"/>
                    </a:lnTo>
                    <a:lnTo>
                      <a:pt x="3666" y="150"/>
                    </a:lnTo>
                    <a:lnTo>
                      <a:pt x="3648" y="144"/>
                    </a:lnTo>
                    <a:lnTo>
                      <a:pt x="3636" y="138"/>
                    </a:lnTo>
                    <a:lnTo>
                      <a:pt x="3618" y="138"/>
                    </a:lnTo>
                    <a:lnTo>
                      <a:pt x="3606" y="144"/>
                    </a:lnTo>
                    <a:lnTo>
                      <a:pt x="3600" y="150"/>
                    </a:lnTo>
                    <a:lnTo>
                      <a:pt x="3588" y="156"/>
                    </a:lnTo>
                    <a:lnTo>
                      <a:pt x="3588" y="150"/>
                    </a:lnTo>
                    <a:lnTo>
                      <a:pt x="3582" y="144"/>
                    </a:lnTo>
                    <a:lnTo>
                      <a:pt x="3576" y="132"/>
                    </a:lnTo>
                    <a:lnTo>
                      <a:pt x="3570" y="126"/>
                    </a:lnTo>
                    <a:lnTo>
                      <a:pt x="3546" y="114"/>
                    </a:lnTo>
                    <a:lnTo>
                      <a:pt x="3522" y="126"/>
                    </a:lnTo>
                    <a:lnTo>
                      <a:pt x="3504" y="162"/>
                    </a:lnTo>
                    <a:lnTo>
                      <a:pt x="3498" y="192"/>
                    </a:lnTo>
                    <a:lnTo>
                      <a:pt x="3492" y="210"/>
                    </a:lnTo>
                    <a:lnTo>
                      <a:pt x="3516" y="222"/>
                    </a:lnTo>
                    <a:lnTo>
                      <a:pt x="3534" y="216"/>
                    </a:lnTo>
                    <a:lnTo>
                      <a:pt x="3546" y="216"/>
                    </a:lnTo>
                    <a:lnTo>
                      <a:pt x="3582" y="198"/>
                    </a:lnTo>
                    <a:close/>
                    <a:moveTo>
                      <a:pt x="5622" y="420"/>
                    </a:moveTo>
                    <a:lnTo>
                      <a:pt x="5640" y="390"/>
                    </a:lnTo>
                    <a:lnTo>
                      <a:pt x="5754" y="390"/>
                    </a:lnTo>
                    <a:lnTo>
                      <a:pt x="5688" y="360"/>
                    </a:lnTo>
                    <a:lnTo>
                      <a:pt x="5700" y="336"/>
                    </a:lnTo>
                    <a:lnTo>
                      <a:pt x="5610" y="318"/>
                    </a:lnTo>
                    <a:lnTo>
                      <a:pt x="5628" y="348"/>
                    </a:lnTo>
                    <a:lnTo>
                      <a:pt x="5616" y="342"/>
                    </a:lnTo>
                    <a:lnTo>
                      <a:pt x="5592" y="336"/>
                    </a:lnTo>
                    <a:lnTo>
                      <a:pt x="5556" y="330"/>
                    </a:lnTo>
                    <a:lnTo>
                      <a:pt x="5514" y="318"/>
                    </a:lnTo>
                    <a:lnTo>
                      <a:pt x="5454" y="318"/>
                    </a:lnTo>
                    <a:lnTo>
                      <a:pt x="5448" y="330"/>
                    </a:lnTo>
                    <a:lnTo>
                      <a:pt x="5460" y="354"/>
                    </a:lnTo>
                    <a:lnTo>
                      <a:pt x="5496" y="372"/>
                    </a:lnTo>
                    <a:lnTo>
                      <a:pt x="5538" y="390"/>
                    </a:lnTo>
                    <a:lnTo>
                      <a:pt x="5574" y="408"/>
                    </a:lnTo>
                    <a:lnTo>
                      <a:pt x="5610" y="414"/>
                    </a:lnTo>
                    <a:lnTo>
                      <a:pt x="5622" y="420"/>
                    </a:lnTo>
                    <a:close/>
                    <a:moveTo>
                      <a:pt x="4320" y="432"/>
                    </a:moveTo>
                    <a:lnTo>
                      <a:pt x="4368" y="444"/>
                    </a:lnTo>
                    <a:lnTo>
                      <a:pt x="4380" y="444"/>
                    </a:lnTo>
                    <a:lnTo>
                      <a:pt x="4392" y="438"/>
                    </a:lnTo>
                    <a:lnTo>
                      <a:pt x="4398" y="438"/>
                    </a:lnTo>
                    <a:lnTo>
                      <a:pt x="4404" y="432"/>
                    </a:lnTo>
                    <a:lnTo>
                      <a:pt x="4404" y="426"/>
                    </a:lnTo>
                    <a:lnTo>
                      <a:pt x="4398" y="426"/>
                    </a:lnTo>
                    <a:lnTo>
                      <a:pt x="4362" y="414"/>
                    </a:lnTo>
                    <a:lnTo>
                      <a:pt x="4344" y="420"/>
                    </a:lnTo>
                    <a:lnTo>
                      <a:pt x="4332" y="420"/>
                    </a:lnTo>
                    <a:lnTo>
                      <a:pt x="4320" y="432"/>
                    </a:lnTo>
                    <a:close/>
                    <a:moveTo>
                      <a:pt x="5424" y="354"/>
                    </a:moveTo>
                    <a:lnTo>
                      <a:pt x="5370" y="336"/>
                    </a:lnTo>
                    <a:lnTo>
                      <a:pt x="5394" y="366"/>
                    </a:lnTo>
                    <a:lnTo>
                      <a:pt x="5424" y="354"/>
                    </a:lnTo>
                    <a:close/>
                    <a:moveTo>
                      <a:pt x="7986" y="666"/>
                    </a:moveTo>
                    <a:lnTo>
                      <a:pt x="8034" y="654"/>
                    </a:lnTo>
                    <a:lnTo>
                      <a:pt x="8088" y="654"/>
                    </a:lnTo>
                    <a:lnTo>
                      <a:pt x="8100" y="648"/>
                    </a:lnTo>
                    <a:lnTo>
                      <a:pt x="8106" y="642"/>
                    </a:lnTo>
                    <a:lnTo>
                      <a:pt x="8106" y="636"/>
                    </a:lnTo>
                    <a:lnTo>
                      <a:pt x="8100" y="630"/>
                    </a:lnTo>
                    <a:lnTo>
                      <a:pt x="8088" y="630"/>
                    </a:lnTo>
                    <a:lnTo>
                      <a:pt x="8052" y="618"/>
                    </a:lnTo>
                    <a:lnTo>
                      <a:pt x="8028" y="612"/>
                    </a:lnTo>
                    <a:lnTo>
                      <a:pt x="8010" y="606"/>
                    </a:lnTo>
                    <a:lnTo>
                      <a:pt x="7968" y="606"/>
                    </a:lnTo>
                    <a:lnTo>
                      <a:pt x="7944" y="618"/>
                    </a:lnTo>
                    <a:lnTo>
                      <a:pt x="7938" y="630"/>
                    </a:lnTo>
                    <a:lnTo>
                      <a:pt x="7938" y="654"/>
                    </a:lnTo>
                    <a:lnTo>
                      <a:pt x="7944" y="666"/>
                    </a:lnTo>
                    <a:lnTo>
                      <a:pt x="7950" y="666"/>
                    </a:lnTo>
                    <a:lnTo>
                      <a:pt x="7962" y="672"/>
                    </a:lnTo>
                    <a:lnTo>
                      <a:pt x="7968" y="672"/>
                    </a:lnTo>
                    <a:lnTo>
                      <a:pt x="7980" y="666"/>
                    </a:lnTo>
                    <a:lnTo>
                      <a:pt x="7986" y="666"/>
                    </a:lnTo>
                    <a:close/>
                    <a:moveTo>
                      <a:pt x="162" y="1788"/>
                    </a:moveTo>
                    <a:lnTo>
                      <a:pt x="150" y="1788"/>
                    </a:lnTo>
                    <a:lnTo>
                      <a:pt x="138" y="1794"/>
                    </a:lnTo>
                    <a:lnTo>
                      <a:pt x="114" y="1794"/>
                    </a:lnTo>
                    <a:lnTo>
                      <a:pt x="108" y="1788"/>
                    </a:lnTo>
                    <a:lnTo>
                      <a:pt x="96" y="1788"/>
                    </a:lnTo>
                    <a:lnTo>
                      <a:pt x="96" y="1782"/>
                    </a:lnTo>
                    <a:lnTo>
                      <a:pt x="84" y="1782"/>
                    </a:lnTo>
                    <a:lnTo>
                      <a:pt x="84" y="1788"/>
                    </a:lnTo>
                    <a:lnTo>
                      <a:pt x="72" y="1800"/>
                    </a:lnTo>
                    <a:lnTo>
                      <a:pt x="12" y="1800"/>
                    </a:lnTo>
                    <a:lnTo>
                      <a:pt x="0" y="1812"/>
                    </a:lnTo>
                    <a:lnTo>
                      <a:pt x="0" y="1818"/>
                    </a:lnTo>
                    <a:lnTo>
                      <a:pt x="12" y="1830"/>
                    </a:lnTo>
                    <a:lnTo>
                      <a:pt x="6" y="1842"/>
                    </a:lnTo>
                    <a:lnTo>
                      <a:pt x="12" y="1848"/>
                    </a:lnTo>
                    <a:lnTo>
                      <a:pt x="18" y="1848"/>
                    </a:lnTo>
                    <a:lnTo>
                      <a:pt x="24" y="1842"/>
                    </a:lnTo>
                    <a:lnTo>
                      <a:pt x="48" y="1842"/>
                    </a:lnTo>
                    <a:lnTo>
                      <a:pt x="54" y="1848"/>
                    </a:lnTo>
                    <a:lnTo>
                      <a:pt x="66" y="1848"/>
                    </a:lnTo>
                    <a:lnTo>
                      <a:pt x="72" y="1854"/>
                    </a:lnTo>
                    <a:lnTo>
                      <a:pt x="162" y="1854"/>
                    </a:lnTo>
                    <a:lnTo>
                      <a:pt x="162" y="1848"/>
                    </a:lnTo>
                    <a:lnTo>
                      <a:pt x="168" y="1848"/>
                    </a:lnTo>
                    <a:lnTo>
                      <a:pt x="162" y="1830"/>
                    </a:lnTo>
                    <a:lnTo>
                      <a:pt x="174" y="1818"/>
                    </a:lnTo>
                    <a:lnTo>
                      <a:pt x="174" y="1800"/>
                    </a:lnTo>
                    <a:lnTo>
                      <a:pt x="168" y="1788"/>
                    </a:lnTo>
                    <a:lnTo>
                      <a:pt x="162" y="1788"/>
                    </a:lnTo>
                    <a:close/>
                    <a:moveTo>
                      <a:pt x="1038" y="90"/>
                    </a:moveTo>
                    <a:lnTo>
                      <a:pt x="1062" y="72"/>
                    </a:lnTo>
                    <a:lnTo>
                      <a:pt x="1032" y="72"/>
                    </a:lnTo>
                    <a:lnTo>
                      <a:pt x="1032" y="84"/>
                    </a:lnTo>
                    <a:lnTo>
                      <a:pt x="1038" y="90"/>
                    </a:lnTo>
                    <a:close/>
                    <a:moveTo>
                      <a:pt x="990" y="72"/>
                    </a:moveTo>
                    <a:lnTo>
                      <a:pt x="1074" y="54"/>
                    </a:lnTo>
                    <a:lnTo>
                      <a:pt x="1044" y="42"/>
                    </a:lnTo>
                    <a:lnTo>
                      <a:pt x="996" y="54"/>
                    </a:lnTo>
                    <a:lnTo>
                      <a:pt x="948" y="54"/>
                    </a:lnTo>
                    <a:lnTo>
                      <a:pt x="966" y="66"/>
                    </a:lnTo>
                    <a:lnTo>
                      <a:pt x="990" y="72"/>
                    </a:lnTo>
                    <a:close/>
                    <a:moveTo>
                      <a:pt x="1122" y="90"/>
                    </a:moveTo>
                    <a:lnTo>
                      <a:pt x="1128" y="78"/>
                    </a:lnTo>
                    <a:lnTo>
                      <a:pt x="1152" y="78"/>
                    </a:lnTo>
                    <a:lnTo>
                      <a:pt x="1164" y="66"/>
                    </a:lnTo>
                    <a:lnTo>
                      <a:pt x="1218" y="66"/>
                    </a:lnTo>
                    <a:lnTo>
                      <a:pt x="1218" y="60"/>
                    </a:lnTo>
                    <a:lnTo>
                      <a:pt x="1206" y="54"/>
                    </a:lnTo>
                    <a:lnTo>
                      <a:pt x="1182" y="54"/>
                    </a:lnTo>
                    <a:lnTo>
                      <a:pt x="1182" y="48"/>
                    </a:lnTo>
                    <a:lnTo>
                      <a:pt x="1176" y="48"/>
                    </a:lnTo>
                    <a:lnTo>
                      <a:pt x="1164" y="42"/>
                    </a:lnTo>
                    <a:lnTo>
                      <a:pt x="1140" y="42"/>
                    </a:lnTo>
                    <a:lnTo>
                      <a:pt x="1134" y="48"/>
                    </a:lnTo>
                    <a:lnTo>
                      <a:pt x="1128" y="60"/>
                    </a:lnTo>
                    <a:lnTo>
                      <a:pt x="1128" y="66"/>
                    </a:lnTo>
                    <a:lnTo>
                      <a:pt x="1122" y="66"/>
                    </a:lnTo>
                    <a:lnTo>
                      <a:pt x="1116" y="72"/>
                    </a:lnTo>
                    <a:lnTo>
                      <a:pt x="1104" y="72"/>
                    </a:lnTo>
                    <a:lnTo>
                      <a:pt x="1086" y="78"/>
                    </a:lnTo>
                    <a:lnTo>
                      <a:pt x="1080" y="78"/>
                    </a:lnTo>
                    <a:lnTo>
                      <a:pt x="1074" y="84"/>
                    </a:lnTo>
                    <a:lnTo>
                      <a:pt x="1080" y="84"/>
                    </a:lnTo>
                    <a:lnTo>
                      <a:pt x="1092" y="90"/>
                    </a:lnTo>
                    <a:lnTo>
                      <a:pt x="1122" y="90"/>
                    </a:lnTo>
                    <a:close/>
                    <a:moveTo>
                      <a:pt x="1176" y="78"/>
                    </a:moveTo>
                    <a:lnTo>
                      <a:pt x="1158" y="90"/>
                    </a:lnTo>
                    <a:lnTo>
                      <a:pt x="1176" y="102"/>
                    </a:lnTo>
                    <a:lnTo>
                      <a:pt x="1194" y="108"/>
                    </a:lnTo>
                    <a:lnTo>
                      <a:pt x="1248" y="102"/>
                    </a:lnTo>
                    <a:lnTo>
                      <a:pt x="1242" y="90"/>
                    </a:lnTo>
                    <a:lnTo>
                      <a:pt x="1212" y="90"/>
                    </a:lnTo>
                    <a:lnTo>
                      <a:pt x="1176" y="78"/>
                    </a:lnTo>
                    <a:close/>
                    <a:moveTo>
                      <a:pt x="7812" y="2436"/>
                    </a:moveTo>
                    <a:lnTo>
                      <a:pt x="7782" y="2400"/>
                    </a:lnTo>
                    <a:lnTo>
                      <a:pt x="7776" y="2400"/>
                    </a:lnTo>
                    <a:lnTo>
                      <a:pt x="7770" y="2394"/>
                    </a:lnTo>
                    <a:lnTo>
                      <a:pt x="7752" y="2388"/>
                    </a:lnTo>
                    <a:lnTo>
                      <a:pt x="7728" y="2364"/>
                    </a:lnTo>
                    <a:lnTo>
                      <a:pt x="7722" y="2352"/>
                    </a:lnTo>
                    <a:lnTo>
                      <a:pt x="7704" y="2298"/>
                    </a:lnTo>
                    <a:lnTo>
                      <a:pt x="7698" y="2286"/>
                    </a:lnTo>
                    <a:lnTo>
                      <a:pt x="7698" y="2274"/>
                    </a:lnTo>
                    <a:lnTo>
                      <a:pt x="7674" y="2250"/>
                    </a:lnTo>
                    <a:lnTo>
                      <a:pt x="7680" y="2244"/>
                    </a:lnTo>
                    <a:lnTo>
                      <a:pt x="7698" y="2244"/>
                    </a:lnTo>
                    <a:lnTo>
                      <a:pt x="7770" y="2268"/>
                    </a:lnTo>
                    <a:lnTo>
                      <a:pt x="7800" y="2280"/>
                    </a:lnTo>
                    <a:lnTo>
                      <a:pt x="7812" y="2286"/>
                    </a:lnTo>
                    <a:lnTo>
                      <a:pt x="7740" y="2232"/>
                    </a:lnTo>
                    <a:lnTo>
                      <a:pt x="7734" y="2226"/>
                    </a:lnTo>
                    <a:lnTo>
                      <a:pt x="7722" y="2202"/>
                    </a:lnTo>
                    <a:lnTo>
                      <a:pt x="7710" y="2196"/>
                    </a:lnTo>
                    <a:lnTo>
                      <a:pt x="7704" y="2184"/>
                    </a:lnTo>
                    <a:lnTo>
                      <a:pt x="7698" y="2178"/>
                    </a:lnTo>
                    <a:lnTo>
                      <a:pt x="7674" y="2166"/>
                    </a:lnTo>
                    <a:lnTo>
                      <a:pt x="7668" y="2160"/>
                    </a:lnTo>
                    <a:lnTo>
                      <a:pt x="7656" y="2154"/>
                    </a:lnTo>
                    <a:lnTo>
                      <a:pt x="7578" y="2070"/>
                    </a:lnTo>
                    <a:lnTo>
                      <a:pt x="7554" y="2070"/>
                    </a:lnTo>
                    <a:lnTo>
                      <a:pt x="7542" y="2040"/>
                    </a:lnTo>
                    <a:lnTo>
                      <a:pt x="7524" y="2040"/>
                    </a:lnTo>
                    <a:lnTo>
                      <a:pt x="7512" y="2028"/>
                    </a:lnTo>
                    <a:lnTo>
                      <a:pt x="7500" y="2004"/>
                    </a:lnTo>
                    <a:lnTo>
                      <a:pt x="7500" y="1980"/>
                    </a:lnTo>
                    <a:lnTo>
                      <a:pt x="7470" y="1944"/>
                    </a:lnTo>
                    <a:lnTo>
                      <a:pt x="7446" y="1950"/>
                    </a:lnTo>
                    <a:lnTo>
                      <a:pt x="7434" y="1920"/>
                    </a:lnTo>
                    <a:lnTo>
                      <a:pt x="7392" y="1890"/>
                    </a:lnTo>
                    <a:lnTo>
                      <a:pt x="7380" y="1866"/>
                    </a:lnTo>
                    <a:lnTo>
                      <a:pt x="7368" y="1860"/>
                    </a:lnTo>
                    <a:lnTo>
                      <a:pt x="7362" y="1854"/>
                    </a:lnTo>
                    <a:lnTo>
                      <a:pt x="7344" y="1854"/>
                    </a:lnTo>
                    <a:lnTo>
                      <a:pt x="7344" y="1860"/>
                    </a:lnTo>
                    <a:lnTo>
                      <a:pt x="7392" y="1908"/>
                    </a:lnTo>
                    <a:lnTo>
                      <a:pt x="7392" y="1914"/>
                    </a:lnTo>
                    <a:lnTo>
                      <a:pt x="7386" y="1914"/>
                    </a:lnTo>
                    <a:lnTo>
                      <a:pt x="7380" y="1908"/>
                    </a:lnTo>
                    <a:lnTo>
                      <a:pt x="7368" y="1908"/>
                    </a:lnTo>
                    <a:lnTo>
                      <a:pt x="7362" y="1914"/>
                    </a:lnTo>
                    <a:lnTo>
                      <a:pt x="7362" y="1926"/>
                    </a:lnTo>
                    <a:lnTo>
                      <a:pt x="7374" y="1950"/>
                    </a:lnTo>
                    <a:lnTo>
                      <a:pt x="7386" y="1962"/>
                    </a:lnTo>
                    <a:lnTo>
                      <a:pt x="7392" y="1974"/>
                    </a:lnTo>
                    <a:lnTo>
                      <a:pt x="7404" y="1980"/>
                    </a:lnTo>
                    <a:lnTo>
                      <a:pt x="7404" y="1992"/>
                    </a:lnTo>
                    <a:lnTo>
                      <a:pt x="7416" y="2016"/>
                    </a:lnTo>
                    <a:lnTo>
                      <a:pt x="7422" y="2022"/>
                    </a:lnTo>
                    <a:lnTo>
                      <a:pt x="7440" y="2034"/>
                    </a:lnTo>
                    <a:lnTo>
                      <a:pt x="7470" y="2052"/>
                    </a:lnTo>
                    <a:lnTo>
                      <a:pt x="7500" y="2076"/>
                    </a:lnTo>
                    <a:lnTo>
                      <a:pt x="7518" y="2100"/>
                    </a:lnTo>
                    <a:lnTo>
                      <a:pt x="7524" y="2112"/>
                    </a:lnTo>
                    <a:lnTo>
                      <a:pt x="7536" y="2130"/>
                    </a:lnTo>
                    <a:lnTo>
                      <a:pt x="7536" y="2142"/>
                    </a:lnTo>
                    <a:lnTo>
                      <a:pt x="7548" y="2154"/>
                    </a:lnTo>
                    <a:lnTo>
                      <a:pt x="7554" y="2166"/>
                    </a:lnTo>
                    <a:lnTo>
                      <a:pt x="7572" y="2184"/>
                    </a:lnTo>
                    <a:lnTo>
                      <a:pt x="7590" y="2208"/>
                    </a:lnTo>
                    <a:lnTo>
                      <a:pt x="7608" y="2238"/>
                    </a:lnTo>
                    <a:lnTo>
                      <a:pt x="7620" y="2262"/>
                    </a:lnTo>
                    <a:lnTo>
                      <a:pt x="7626" y="2268"/>
                    </a:lnTo>
                    <a:lnTo>
                      <a:pt x="7626" y="2280"/>
                    </a:lnTo>
                    <a:lnTo>
                      <a:pt x="7632" y="2292"/>
                    </a:lnTo>
                    <a:lnTo>
                      <a:pt x="7644" y="2304"/>
                    </a:lnTo>
                    <a:lnTo>
                      <a:pt x="7656" y="2304"/>
                    </a:lnTo>
                    <a:lnTo>
                      <a:pt x="7668" y="2310"/>
                    </a:lnTo>
                    <a:lnTo>
                      <a:pt x="7674" y="2322"/>
                    </a:lnTo>
                    <a:lnTo>
                      <a:pt x="7686" y="2334"/>
                    </a:lnTo>
                    <a:lnTo>
                      <a:pt x="7698" y="2358"/>
                    </a:lnTo>
                    <a:lnTo>
                      <a:pt x="7698" y="2376"/>
                    </a:lnTo>
                    <a:lnTo>
                      <a:pt x="7740" y="2412"/>
                    </a:lnTo>
                    <a:lnTo>
                      <a:pt x="7752" y="2466"/>
                    </a:lnTo>
                    <a:lnTo>
                      <a:pt x="7794" y="2508"/>
                    </a:lnTo>
                    <a:lnTo>
                      <a:pt x="7794" y="2502"/>
                    </a:lnTo>
                    <a:lnTo>
                      <a:pt x="7788" y="2496"/>
                    </a:lnTo>
                    <a:lnTo>
                      <a:pt x="7788" y="2484"/>
                    </a:lnTo>
                    <a:lnTo>
                      <a:pt x="7782" y="2472"/>
                    </a:lnTo>
                    <a:lnTo>
                      <a:pt x="7782" y="2460"/>
                    </a:lnTo>
                    <a:lnTo>
                      <a:pt x="7776" y="2448"/>
                    </a:lnTo>
                    <a:lnTo>
                      <a:pt x="7782" y="2442"/>
                    </a:lnTo>
                    <a:lnTo>
                      <a:pt x="7788" y="2442"/>
                    </a:lnTo>
                    <a:lnTo>
                      <a:pt x="7800" y="2454"/>
                    </a:lnTo>
                    <a:lnTo>
                      <a:pt x="7830" y="2454"/>
                    </a:lnTo>
                    <a:lnTo>
                      <a:pt x="7866" y="2496"/>
                    </a:lnTo>
                    <a:lnTo>
                      <a:pt x="7866" y="2472"/>
                    </a:lnTo>
                    <a:lnTo>
                      <a:pt x="7836" y="2430"/>
                    </a:lnTo>
                    <a:lnTo>
                      <a:pt x="7812" y="2436"/>
                    </a:lnTo>
                    <a:close/>
                    <a:moveTo>
                      <a:pt x="1344" y="84"/>
                    </a:moveTo>
                    <a:lnTo>
                      <a:pt x="1350" y="72"/>
                    </a:lnTo>
                    <a:lnTo>
                      <a:pt x="1308" y="66"/>
                    </a:lnTo>
                    <a:lnTo>
                      <a:pt x="1284" y="78"/>
                    </a:lnTo>
                    <a:lnTo>
                      <a:pt x="1290" y="90"/>
                    </a:lnTo>
                    <a:lnTo>
                      <a:pt x="1344" y="84"/>
                    </a:lnTo>
                    <a:close/>
                    <a:moveTo>
                      <a:pt x="9048" y="996"/>
                    </a:moveTo>
                    <a:lnTo>
                      <a:pt x="9036" y="984"/>
                    </a:lnTo>
                    <a:lnTo>
                      <a:pt x="9024" y="978"/>
                    </a:lnTo>
                    <a:lnTo>
                      <a:pt x="9006" y="972"/>
                    </a:lnTo>
                    <a:lnTo>
                      <a:pt x="8994" y="966"/>
                    </a:lnTo>
                    <a:lnTo>
                      <a:pt x="8982" y="966"/>
                    </a:lnTo>
                    <a:lnTo>
                      <a:pt x="8940" y="948"/>
                    </a:lnTo>
                    <a:lnTo>
                      <a:pt x="8898" y="948"/>
                    </a:lnTo>
                    <a:lnTo>
                      <a:pt x="8868" y="930"/>
                    </a:lnTo>
                    <a:lnTo>
                      <a:pt x="8778" y="924"/>
                    </a:lnTo>
                    <a:lnTo>
                      <a:pt x="8736" y="906"/>
                    </a:lnTo>
                    <a:lnTo>
                      <a:pt x="8700" y="906"/>
                    </a:lnTo>
                    <a:lnTo>
                      <a:pt x="8754" y="942"/>
                    </a:lnTo>
                    <a:lnTo>
                      <a:pt x="8808" y="966"/>
                    </a:lnTo>
                    <a:lnTo>
                      <a:pt x="8796" y="966"/>
                    </a:lnTo>
                    <a:lnTo>
                      <a:pt x="8784" y="972"/>
                    </a:lnTo>
                    <a:lnTo>
                      <a:pt x="8754" y="972"/>
                    </a:lnTo>
                    <a:lnTo>
                      <a:pt x="8730" y="960"/>
                    </a:lnTo>
                    <a:lnTo>
                      <a:pt x="8676" y="906"/>
                    </a:lnTo>
                    <a:lnTo>
                      <a:pt x="8580" y="870"/>
                    </a:lnTo>
                    <a:lnTo>
                      <a:pt x="8496" y="846"/>
                    </a:lnTo>
                    <a:lnTo>
                      <a:pt x="8442" y="834"/>
                    </a:lnTo>
                    <a:lnTo>
                      <a:pt x="8370" y="822"/>
                    </a:lnTo>
                    <a:lnTo>
                      <a:pt x="8280" y="804"/>
                    </a:lnTo>
                    <a:lnTo>
                      <a:pt x="8190" y="780"/>
                    </a:lnTo>
                    <a:lnTo>
                      <a:pt x="8112" y="762"/>
                    </a:lnTo>
                    <a:lnTo>
                      <a:pt x="8052" y="750"/>
                    </a:lnTo>
                    <a:lnTo>
                      <a:pt x="7998" y="738"/>
                    </a:lnTo>
                    <a:lnTo>
                      <a:pt x="7956" y="732"/>
                    </a:lnTo>
                    <a:lnTo>
                      <a:pt x="7758" y="732"/>
                    </a:lnTo>
                    <a:lnTo>
                      <a:pt x="7746" y="714"/>
                    </a:lnTo>
                    <a:lnTo>
                      <a:pt x="7698" y="720"/>
                    </a:lnTo>
                    <a:lnTo>
                      <a:pt x="7680" y="708"/>
                    </a:lnTo>
                    <a:lnTo>
                      <a:pt x="7626" y="708"/>
                    </a:lnTo>
                    <a:lnTo>
                      <a:pt x="7650" y="726"/>
                    </a:lnTo>
                    <a:lnTo>
                      <a:pt x="7644" y="744"/>
                    </a:lnTo>
                    <a:lnTo>
                      <a:pt x="7656" y="744"/>
                    </a:lnTo>
                    <a:lnTo>
                      <a:pt x="7680" y="756"/>
                    </a:lnTo>
                    <a:lnTo>
                      <a:pt x="7716" y="762"/>
                    </a:lnTo>
                    <a:lnTo>
                      <a:pt x="7740" y="774"/>
                    </a:lnTo>
                    <a:lnTo>
                      <a:pt x="7758" y="786"/>
                    </a:lnTo>
                    <a:lnTo>
                      <a:pt x="7752" y="798"/>
                    </a:lnTo>
                    <a:lnTo>
                      <a:pt x="7728" y="804"/>
                    </a:lnTo>
                    <a:lnTo>
                      <a:pt x="7698" y="804"/>
                    </a:lnTo>
                    <a:lnTo>
                      <a:pt x="7686" y="798"/>
                    </a:lnTo>
                    <a:lnTo>
                      <a:pt x="7680" y="792"/>
                    </a:lnTo>
                    <a:lnTo>
                      <a:pt x="7656" y="774"/>
                    </a:lnTo>
                    <a:lnTo>
                      <a:pt x="7584" y="774"/>
                    </a:lnTo>
                    <a:lnTo>
                      <a:pt x="7530" y="738"/>
                    </a:lnTo>
                    <a:lnTo>
                      <a:pt x="7524" y="738"/>
                    </a:lnTo>
                    <a:lnTo>
                      <a:pt x="7518" y="744"/>
                    </a:lnTo>
                    <a:lnTo>
                      <a:pt x="7506" y="744"/>
                    </a:lnTo>
                    <a:lnTo>
                      <a:pt x="7500" y="750"/>
                    </a:lnTo>
                    <a:lnTo>
                      <a:pt x="7446" y="750"/>
                    </a:lnTo>
                    <a:lnTo>
                      <a:pt x="7440" y="738"/>
                    </a:lnTo>
                    <a:lnTo>
                      <a:pt x="7344" y="744"/>
                    </a:lnTo>
                    <a:lnTo>
                      <a:pt x="7320" y="726"/>
                    </a:lnTo>
                    <a:lnTo>
                      <a:pt x="7314" y="732"/>
                    </a:lnTo>
                    <a:lnTo>
                      <a:pt x="7212" y="732"/>
                    </a:lnTo>
                    <a:lnTo>
                      <a:pt x="7206" y="738"/>
                    </a:lnTo>
                    <a:lnTo>
                      <a:pt x="7212" y="744"/>
                    </a:lnTo>
                    <a:lnTo>
                      <a:pt x="7218" y="756"/>
                    </a:lnTo>
                    <a:lnTo>
                      <a:pt x="7254" y="792"/>
                    </a:lnTo>
                    <a:lnTo>
                      <a:pt x="7248" y="792"/>
                    </a:lnTo>
                    <a:lnTo>
                      <a:pt x="7242" y="786"/>
                    </a:lnTo>
                    <a:lnTo>
                      <a:pt x="7230" y="780"/>
                    </a:lnTo>
                    <a:lnTo>
                      <a:pt x="7218" y="768"/>
                    </a:lnTo>
                    <a:lnTo>
                      <a:pt x="7206" y="762"/>
                    </a:lnTo>
                    <a:lnTo>
                      <a:pt x="7194" y="750"/>
                    </a:lnTo>
                    <a:lnTo>
                      <a:pt x="7176" y="744"/>
                    </a:lnTo>
                    <a:lnTo>
                      <a:pt x="7104" y="732"/>
                    </a:lnTo>
                    <a:lnTo>
                      <a:pt x="7086" y="732"/>
                    </a:lnTo>
                    <a:lnTo>
                      <a:pt x="7086" y="726"/>
                    </a:lnTo>
                    <a:lnTo>
                      <a:pt x="7056" y="696"/>
                    </a:lnTo>
                    <a:lnTo>
                      <a:pt x="7032" y="684"/>
                    </a:lnTo>
                    <a:lnTo>
                      <a:pt x="6990" y="666"/>
                    </a:lnTo>
                    <a:lnTo>
                      <a:pt x="6948" y="660"/>
                    </a:lnTo>
                    <a:lnTo>
                      <a:pt x="6912" y="654"/>
                    </a:lnTo>
                    <a:lnTo>
                      <a:pt x="6882" y="654"/>
                    </a:lnTo>
                    <a:lnTo>
                      <a:pt x="6864" y="648"/>
                    </a:lnTo>
                    <a:lnTo>
                      <a:pt x="6834" y="648"/>
                    </a:lnTo>
                    <a:lnTo>
                      <a:pt x="6786" y="636"/>
                    </a:lnTo>
                    <a:lnTo>
                      <a:pt x="6774" y="642"/>
                    </a:lnTo>
                    <a:lnTo>
                      <a:pt x="6714" y="642"/>
                    </a:lnTo>
                    <a:lnTo>
                      <a:pt x="6696" y="660"/>
                    </a:lnTo>
                    <a:lnTo>
                      <a:pt x="6684" y="666"/>
                    </a:lnTo>
                    <a:lnTo>
                      <a:pt x="6648" y="666"/>
                    </a:lnTo>
                    <a:lnTo>
                      <a:pt x="6630" y="660"/>
                    </a:lnTo>
                    <a:lnTo>
                      <a:pt x="6594" y="660"/>
                    </a:lnTo>
                    <a:lnTo>
                      <a:pt x="6582" y="654"/>
                    </a:lnTo>
                    <a:lnTo>
                      <a:pt x="6576" y="648"/>
                    </a:lnTo>
                    <a:lnTo>
                      <a:pt x="6552" y="636"/>
                    </a:lnTo>
                    <a:lnTo>
                      <a:pt x="6534" y="630"/>
                    </a:lnTo>
                    <a:lnTo>
                      <a:pt x="6522" y="624"/>
                    </a:lnTo>
                    <a:lnTo>
                      <a:pt x="6498" y="624"/>
                    </a:lnTo>
                    <a:lnTo>
                      <a:pt x="6486" y="630"/>
                    </a:lnTo>
                    <a:lnTo>
                      <a:pt x="6474" y="612"/>
                    </a:lnTo>
                    <a:lnTo>
                      <a:pt x="6438" y="612"/>
                    </a:lnTo>
                    <a:lnTo>
                      <a:pt x="6372" y="606"/>
                    </a:lnTo>
                    <a:lnTo>
                      <a:pt x="6408" y="594"/>
                    </a:lnTo>
                    <a:lnTo>
                      <a:pt x="6372" y="570"/>
                    </a:lnTo>
                    <a:lnTo>
                      <a:pt x="6360" y="570"/>
                    </a:lnTo>
                    <a:lnTo>
                      <a:pt x="6324" y="564"/>
                    </a:lnTo>
                    <a:lnTo>
                      <a:pt x="6282" y="558"/>
                    </a:lnTo>
                    <a:lnTo>
                      <a:pt x="6246" y="558"/>
                    </a:lnTo>
                    <a:lnTo>
                      <a:pt x="6228" y="564"/>
                    </a:lnTo>
                    <a:lnTo>
                      <a:pt x="6228" y="594"/>
                    </a:lnTo>
                    <a:lnTo>
                      <a:pt x="6222" y="600"/>
                    </a:lnTo>
                    <a:lnTo>
                      <a:pt x="6192" y="600"/>
                    </a:lnTo>
                    <a:lnTo>
                      <a:pt x="6180" y="594"/>
                    </a:lnTo>
                    <a:lnTo>
                      <a:pt x="6168" y="594"/>
                    </a:lnTo>
                    <a:lnTo>
                      <a:pt x="6186" y="582"/>
                    </a:lnTo>
                    <a:lnTo>
                      <a:pt x="6168" y="570"/>
                    </a:lnTo>
                    <a:lnTo>
                      <a:pt x="6096" y="570"/>
                    </a:lnTo>
                    <a:lnTo>
                      <a:pt x="6114" y="558"/>
                    </a:lnTo>
                    <a:lnTo>
                      <a:pt x="6156" y="558"/>
                    </a:lnTo>
                    <a:lnTo>
                      <a:pt x="6216" y="588"/>
                    </a:lnTo>
                    <a:lnTo>
                      <a:pt x="6216" y="564"/>
                    </a:lnTo>
                    <a:lnTo>
                      <a:pt x="6162" y="540"/>
                    </a:lnTo>
                    <a:lnTo>
                      <a:pt x="6048" y="546"/>
                    </a:lnTo>
                    <a:lnTo>
                      <a:pt x="6048" y="534"/>
                    </a:lnTo>
                    <a:lnTo>
                      <a:pt x="5928" y="540"/>
                    </a:lnTo>
                    <a:lnTo>
                      <a:pt x="5880" y="522"/>
                    </a:lnTo>
                    <a:lnTo>
                      <a:pt x="5862" y="522"/>
                    </a:lnTo>
                    <a:lnTo>
                      <a:pt x="5898" y="546"/>
                    </a:lnTo>
                    <a:lnTo>
                      <a:pt x="5850" y="546"/>
                    </a:lnTo>
                    <a:lnTo>
                      <a:pt x="5838" y="552"/>
                    </a:lnTo>
                    <a:lnTo>
                      <a:pt x="5832" y="552"/>
                    </a:lnTo>
                    <a:lnTo>
                      <a:pt x="5832" y="558"/>
                    </a:lnTo>
                    <a:lnTo>
                      <a:pt x="5844" y="564"/>
                    </a:lnTo>
                    <a:lnTo>
                      <a:pt x="5850" y="570"/>
                    </a:lnTo>
                    <a:lnTo>
                      <a:pt x="5862" y="576"/>
                    </a:lnTo>
                    <a:lnTo>
                      <a:pt x="5892" y="576"/>
                    </a:lnTo>
                    <a:lnTo>
                      <a:pt x="5892" y="582"/>
                    </a:lnTo>
                    <a:lnTo>
                      <a:pt x="5952" y="618"/>
                    </a:lnTo>
                    <a:lnTo>
                      <a:pt x="5904" y="618"/>
                    </a:lnTo>
                    <a:lnTo>
                      <a:pt x="5898" y="612"/>
                    </a:lnTo>
                    <a:lnTo>
                      <a:pt x="5886" y="606"/>
                    </a:lnTo>
                    <a:lnTo>
                      <a:pt x="5874" y="606"/>
                    </a:lnTo>
                    <a:lnTo>
                      <a:pt x="5862" y="600"/>
                    </a:lnTo>
                    <a:lnTo>
                      <a:pt x="5844" y="618"/>
                    </a:lnTo>
                    <a:lnTo>
                      <a:pt x="5868" y="636"/>
                    </a:lnTo>
                    <a:lnTo>
                      <a:pt x="5814" y="630"/>
                    </a:lnTo>
                    <a:lnTo>
                      <a:pt x="5808" y="630"/>
                    </a:lnTo>
                    <a:lnTo>
                      <a:pt x="5802" y="624"/>
                    </a:lnTo>
                    <a:lnTo>
                      <a:pt x="5784" y="618"/>
                    </a:lnTo>
                    <a:lnTo>
                      <a:pt x="5766" y="618"/>
                    </a:lnTo>
                    <a:lnTo>
                      <a:pt x="5754" y="612"/>
                    </a:lnTo>
                    <a:lnTo>
                      <a:pt x="5736" y="606"/>
                    </a:lnTo>
                    <a:lnTo>
                      <a:pt x="5724" y="606"/>
                    </a:lnTo>
                    <a:lnTo>
                      <a:pt x="5712" y="612"/>
                    </a:lnTo>
                    <a:lnTo>
                      <a:pt x="5700" y="612"/>
                    </a:lnTo>
                    <a:lnTo>
                      <a:pt x="5688" y="618"/>
                    </a:lnTo>
                    <a:lnTo>
                      <a:pt x="5682" y="624"/>
                    </a:lnTo>
                    <a:lnTo>
                      <a:pt x="5676" y="624"/>
                    </a:lnTo>
                    <a:lnTo>
                      <a:pt x="5610" y="618"/>
                    </a:lnTo>
                    <a:lnTo>
                      <a:pt x="5604" y="618"/>
                    </a:lnTo>
                    <a:lnTo>
                      <a:pt x="5598" y="612"/>
                    </a:lnTo>
                    <a:lnTo>
                      <a:pt x="5562" y="594"/>
                    </a:lnTo>
                    <a:lnTo>
                      <a:pt x="5556" y="594"/>
                    </a:lnTo>
                    <a:lnTo>
                      <a:pt x="5550" y="588"/>
                    </a:lnTo>
                    <a:lnTo>
                      <a:pt x="5538" y="588"/>
                    </a:lnTo>
                    <a:lnTo>
                      <a:pt x="5538" y="606"/>
                    </a:lnTo>
                    <a:lnTo>
                      <a:pt x="5544" y="612"/>
                    </a:lnTo>
                    <a:lnTo>
                      <a:pt x="5550" y="624"/>
                    </a:lnTo>
                    <a:lnTo>
                      <a:pt x="5556" y="630"/>
                    </a:lnTo>
                    <a:lnTo>
                      <a:pt x="5562" y="642"/>
                    </a:lnTo>
                    <a:lnTo>
                      <a:pt x="5562" y="660"/>
                    </a:lnTo>
                    <a:lnTo>
                      <a:pt x="5556" y="666"/>
                    </a:lnTo>
                    <a:lnTo>
                      <a:pt x="5532" y="660"/>
                    </a:lnTo>
                    <a:lnTo>
                      <a:pt x="5424" y="624"/>
                    </a:lnTo>
                    <a:lnTo>
                      <a:pt x="5412" y="618"/>
                    </a:lnTo>
                    <a:lnTo>
                      <a:pt x="5406" y="618"/>
                    </a:lnTo>
                    <a:lnTo>
                      <a:pt x="5400" y="612"/>
                    </a:lnTo>
                    <a:lnTo>
                      <a:pt x="5394" y="600"/>
                    </a:lnTo>
                    <a:lnTo>
                      <a:pt x="5382" y="594"/>
                    </a:lnTo>
                    <a:lnTo>
                      <a:pt x="5376" y="588"/>
                    </a:lnTo>
                    <a:lnTo>
                      <a:pt x="5376" y="606"/>
                    </a:lnTo>
                    <a:lnTo>
                      <a:pt x="5322" y="588"/>
                    </a:lnTo>
                    <a:lnTo>
                      <a:pt x="5292" y="570"/>
                    </a:lnTo>
                    <a:lnTo>
                      <a:pt x="5298" y="570"/>
                    </a:lnTo>
                    <a:lnTo>
                      <a:pt x="5304" y="576"/>
                    </a:lnTo>
                    <a:lnTo>
                      <a:pt x="5328" y="576"/>
                    </a:lnTo>
                    <a:lnTo>
                      <a:pt x="5340" y="582"/>
                    </a:lnTo>
                    <a:lnTo>
                      <a:pt x="5352" y="582"/>
                    </a:lnTo>
                    <a:lnTo>
                      <a:pt x="5358" y="576"/>
                    </a:lnTo>
                    <a:lnTo>
                      <a:pt x="5358" y="570"/>
                    </a:lnTo>
                    <a:lnTo>
                      <a:pt x="5346" y="564"/>
                    </a:lnTo>
                    <a:lnTo>
                      <a:pt x="5334" y="552"/>
                    </a:lnTo>
                    <a:lnTo>
                      <a:pt x="5292" y="552"/>
                    </a:lnTo>
                    <a:lnTo>
                      <a:pt x="5304" y="540"/>
                    </a:lnTo>
                    <a:lnTo>
                      <a:pt x="5298" y="534"/>
                    </a:lnTo>
                    <a:lnTo>
                      <a:pt x="5286" y="528"/>
                    </a:lnTo>
                    <a:lnTo>
                      <a:pt x="5256" y="528"/>
                    </a:lnTo>
                    <a:lnTo>
                      <a:pt x="5268" y="510"/>
                    </a:lnTo>
                    <a:lnTo>
                      <a:pt x="5262" y="510"/>
                    </a:lnTo>
                    <a:lnTo>
                      <a:pt x="5256" y="504"/>
                    </a:lnTo>
                    <a:lnTo>
                      <a:pt x="5232" y="504"/>
                    </a:lnTo>
                    <a:lnTo>
                      <a:pt x="5220" y="498"/>
                    </a:lnTo>
                    <a:lnTo>
                      <a:pt x="5208" y="498"/>
                    </a:lnTo>
                    <a:lnTo>
                      <a:pt x="5202" y="492"/>
                    </a:lnTo>
                    <a:lnTo>
                      <a:pt x="5190" y="492"/>
                    </a:lnTo>
                    <a:lnTo>
                      <a:pt x="5184" y="486"/>
                    </a:lnTo>
                    <a:lnTo>
                      <a:pt x="5142" y="486"/>
                    </a:lnTo>
                    <a:lnTo>
                      <a:pt x="5130" y="492"/>
                    </a:lnTo>
                    <a:lnTo>
                      <a:pt x="5094" y="492"/>
                    </a:lnTo>
                    <a:lnTo>
                      <a:pt x="5076" y="486"/>
                    </a:lnTo>
                    <a:lnTo>
                      <a:pt x="5070" y="480"/>
                    </a:lnTo>
                    <a:lnTo>
                      <a:pt x="5064" y="480"/>
                    </a:lnTo>
                    <a:lnTo>
                      <a:pt x="5040" y="486"/>
                    </a:lnTo>
                    <a:lnTo>
                      <a:pt x="5040" y="474"/>
                    </a:lnTo>
                    <a:lnTo>
                      <a:pt x="4992" y="468"/>
                    </a:lnTo>
                    <a:lnTo>
                      <a:pt x="4980" y="456"/>
                    </a:lnTo>
                    <a:lnTo>
                      <a:pt x="4974" y="474"/>
                    </a:lnTo>
                    <a:lnTo>
                      <a:pt x="4956" y="480"/>
                    </a:lnTo>
                    <a:lnTo>
                      <a:pt x="4986" y="498"/>
                    </a:lnTo>
                    <a:lnTo>
                      <a:pt x="5010" y="528"/>
                    </a:lnTo>
                    <a:lnTo>
                      <a:pt x="4962" y="522"/>
                    </a:lnTo>
                    <a:lnTo>
                      <a:pt x="4956" y="516"/>
                    </a:lnTo>
                    <a:lnTo>
                      <a:pt x="4890" y="522"/>
                    </a:lnTo>
                    <a:lnTo>
                      <a:pt x="4872" y="528"/>
                    </a:lnTo>
                    <a:lnTo>
                      <a:pt x="4872" y="516"/>
                    </a:lnTo>
                    <a:lnTo>
                      <a:pt x="4824" y="522"/>
                    </a:lnTo>
                    <a:lnTo>
                      <a:pt x="4818" y="510"/>
                    </a:lnTo>
                    <a:lnTo>
                      <a:pt x="4764" y="510"/>
                    </a:lnTo>
                    <a:lnTo>
                      <a:pt x="4728" y="504"/>
                    </a:lnTo>
                    <a:lnTo>
                      <a:pt x="4746" y="480"/>
                    </a:lnTo>
                    <a:lnTo>
                      <a:pt x="4620" y="480"/>
                    </a:lnTo>
                    <a:lnTo>
                      <a:pt x="4608" y="468"/>
                    </a:lnTo>
                    <a:lnTo>
                      <a:pt x="4602" y="474"/>
                    </a:lnTo>
                    <a:lnTo>
                      <a:pt x="4590" y="468"/>
                    </a:lnTo>
                    <a:lnTo>
                      <a:pt x="4542" y="474"/>
                    </a:lnTo>
                    <a:lnTo>
                      <a:pt x="4548" y="486"/>
                    </a:lnTo>
                    <a:lnTo>
                      <a:pt x="4488" y="480"/>
                    </a:lnTo>
                    <a:lnTo>
                      <a:pt x="4476" y="486"/>
                    </a:lnTo>
                    <a:lnTo>
                      <a:pt x="4506" y="498"/>
                    </a:lnTo>
                    <a:lnTo>
                      <a:pt x="4464" y="492"/>
                    </a:lnTo>
                    <a:lnTo>
                      <a:pt x="4464" y="474"/>
                    </a:lnTo>
                    <a:lnTo>
                      <a:pt x="4434" y="456"/>
                    </a:lnTo>
                    <a:lnTo>
                      <a:pt x="4416" y="456"/>
                    </a:lnTo>
                    <a:lnTo>
                      <a:pt x="4428" y="474"/>
                    </a:lnTo>
                    <a:lnTo>
                      <a:pt x="4374" y="474"/>
                    </a:lnTo>
                    <a:lnTo>
                      <a:pt x="4368" y="468"/>
                    </a:lnTo>
                    <a:lnTo>
                      <a:pt x="4356" y="468"/>
                    </a:lnTo>
                    <a:lnTo>
                      <a:pt x="4350" y="456"/>
                    </a:lnTo>
                    <a:lnTo>
                      <a:pt x="4320" y="456"/>
                    </a:lnTo>
                    <a:lnTo>
                      <a:pt x="4296" y="444"/>
                    </a:lnTo>
                    <a:lnTo>
                      <a:pt x="4266" y="468"/>
                    </a:lnTo>
                    <a:lnTo>
                      <a:pt x="4320" y="474"/>
                    </a:lnTo>
                    <a:lnTo>
                      <a:pt x="4332" y="474"/>
                    </a:lnTo>
                    <a:lnTo>
                      <a:pt x="4326" y="480"/>
                    </a:lnTo>
                    <a:lnTo>
                      <a:pt x="4314" y="486"/>
                    </a:lnTo>
                    <a:lnTo>
                      <a:pt x="4308" y="492"/>
                    </a:lnTo>
                    <a:lnTo>
                      <a:pt x="4272" y="492"/>
                    </a:lnTo>
                    <a:lnTo>
                      <a:pt x="4266" y="498"/>
                    </a:lnTo>
                    <a:lnTo>
                      <a:pt x="4254" y="504"/>
                    </a:lnTo>
                    <a:lnTo>
                      <a:pt x="4182" y="504"/>
                    </a:lnTo>
                    <a:lnTo>
                      <a:pt x="4146" y="510"/>
                    </a:lnTo>
                    <a:lnTo>
                      <a:pt x="4134" y="534"/>
                    </a:lnTo>
                    <a:lnTo>
                      <a:pt x="4110" y="528"/>
                    </a:lnTo>
                    <a:lnTo>
                      <a:pt x="4110" y="516"/>
                    </a:lnTo>
                    <a:lnTo>
                      <a:pt x="4116" y="504"/>
                    </a:lnTo>
                    <a:lnTo>
                      <a:pt x="4122" y="498"/>
                    </a:lnTo>
                    <a:lnTo>
                      <a:pt x="4134" y="492"/>
                    </a:lnTo>
                    <a:lnTo>
                      <a:pt x="4152" y="492"/>
                    </a:lnTo>
                    <a:lnTo>
                      <a:pt x="4164" y="480"/>
                    </a:lnTo>
                    <a:lnTo>
                      <a:pt x="4206" y="474"/>
                    </a:lnTo>
                    <a:lnTo>
                      <a:pt x="4248" y="438"/>
                    </a:lnTo>
                    <a:lnTo>
                      <a:pt x="4248" y="426"/>
                    </a:lnTo>
                    <a:lnTo>
                      <a:pt x="4254" y="420"/>
                    </a:lnTo>
                    <a:lnTo>
                      <a:pt x="4266" y="414"/>
                    </a:lnTo>
                    <a:lnTo>
                      <a:pt x="4278" y="414"/>
                    </a:lnTo>
                    <a:lnTo>
                      <a:pt x="4290" y="408"/>
                    </a:lnTo>
                    <a:lnTo>
                      <a:pt x="4302" y="408"/>
                    </a:lnTo>
                    <a:lnTo>
                      <a:pt x="4320" y="402"/>
                    </a:lnTo>
                    <a:lnTo>
                      <a:pt x="4332" y="402"/>
                    </a:lnTo>
                    <a:lnTo>
                      <a:pt x="4344" y="396"/>
                    </a:lnTo>
                    <a:lnTo>
                      <a:pt x="4350" y="390"/>
                    </a:lnTo>
                    <a:lnTo>
                      <a:pt x="4356" y="378"/>
                    </a:lnTo>
                    <a:lnTo>
                      <a:pt x="4350" y="366"/>
                    </a:lnTo>
                    <a:lnTo>
                      <a:pt x="4344" y="360"/>
                    </a:lnTo>
                    <a:lnTo>
                      <a:pt x="4332" y="354"/>
                    </a:lnTo>
                    <a:lnTo>
                      <a:pt x="4326" y="348"/>
                    </a:lnTo>
                    <a:lnTo>
                      <a:pt x="4290" y="348"/>
                    </a:lnTo>
                    <a:lnTo>
                      <a:pt x="4320" y="336"/>
                    </a:lnTo>
                    <a:lnTo>
                      <a:pt x="4314" y="330"/>
                    </a:lnTo>
                    <a:lnTo>
                      <a:pt x="4302" y="324"/>
                    </a:lnTo>
                    <a:lnTo>
                      <a:pt x="4290" y="312"/>
                    </a:lnTo>
                    <a:lnTo>
                      <a:pt x="4284" y="312"/>
                    </a:lnTo>
                    <a:lnTo>
                      <a:pt x="4278" y="318"/>
                    </a:lnTo>
                    <a:lnTo>
                      <a:pt x="4254" y="318"/>
                    </a:lnTo>
                    <a:lnTo>
                      <a:pt x="4248" y="312"/>
                    </a:lnTo>
                    <a:lnTo>
                      <a:pt x="4242" y="300"/>
                    </a:lnTo>
                    <a:lnTo>
                      <a:pt x="4236" y="294"/>
                    </a:lnTo>
                    <a:lnTo>
                      <a:pt x="4194" y="294"/>
                    </a:lnTo>
                    <a:lnTo>
                      <a:pt x="4188" y="300"/>
                    </a:lnTo>
                    <a:lnTo>
                      <a:pt x="4182" y="300"/>
                    </a:lnTo>
                    <a:lnTo>
                      <a:pt x="4128" y="288"/>
                    </a:lnTo>
                    <a:lnTo>
                      <a:pt x="3990" y="282"/>
                    </a:lnTo>
                    <a:lnTo>
                      <a:pt x="3990" y="300"/>
                    </a:lnTo>
                    <a:lnTo>
                      <a:pt x="3924" y="300"/>
                    </a:lnTo>
                    <a:lnTo>
                      <a:pt x="3942" y="282"/>
                    </a:lnTo>
                    <a:lnTo>
                      <a:pt x="3942" y="276"/>
                    </a:lnTo>
                    <a:lnTo>
                      <a:pt x="3936" y="270"/>
                    </a:lnTo>
                    <a:lnTo>
                      <a:pt x="3912" y="264"/>
                    </a:lnTo>
                    <a:lnTo>
                      <a:pt x="3882" y="264"/>
                    </a:lnTo>
                    <a:lnTo>
                      <a:pt x="3852" y="270"/>
                    </a:lnTo>
                    <a:lnTo>
                      <a:pt x="3840" y="270"/>
                    </a:lnTo>
                    <a:lnTo>
                      <a:pt x="3780" y="264"/>
                    </a:lnTo>
                    <a:lnTo>
                      <a:pt x="3792" y="264"/>
                    </a:lnTo>
                    <a:lnTo>
                      <a:pt x="3810" y="258"/>
                    </a:lnTo>
                    <a:lnTo>
                      <a:pt x="3822" y="258"/>
                    </a:lnTo>
                    <a:lnTo>
                      <a:pt x="3834" y="252"/>
                    </a:lnTo>
                    <a:lnTo>
                      <a:pt x="3840" y="252"/>
                    </a:lnTo>
                    <a:lnTo>
                      <a:pt x="3840" y="246"/>
                    </a:lnTo>
                    <a:lnTo>
                      <a:pt x="3834" y="240"/>
                    </a:lnTo>
                    <a:lnTo>
                      <a:pt x="3822" y="240"/>
                    </a:lnTo>
                    <a:lnTo>
                      <a:pt x="3804" y="234"/>
                    </a:lnTo>
                    <a:lnTo>
                      <a:pt x="3762" y="234"/>
                    </a:lnTo>
                    <a:lnTo>
                      <a:pt x="3720" y="228"/>
                    </a:lnTo>
                    <a:lnTo>
                      <a:pt x="3714" y="240"/>
                    </a:lnTo>
                    <a:lnTo>
                      <a:pt x="3684" y="240"/>
                    </a:lnTo>
                    <a:lnTo>
                      <a:pt x="3672" y="246"/>
                    </a:lnTo>
                    <a:lnTo>
                      <a:pt x="3660" y="246"/>
                    </a:lnTo>
                    <a:lnTo>
                      <a:pt x="3648" y="252"/>
                    </a:lnTo>
                    <a:lnTo>
                      <a:pt x="3648" y="258"/>
                    </a:lnTo>
                    <a:lnTo>
                      <a:pt x="3654" y="270"/>
                    </a:lnTo>
                    <a:lnTo>
                      <a:pt x="3678" y="282"/>
                    </a:lnTo>
                    <a:lnTo>
                      <a:pt x="3696" y="294"/>
                    </a:lnTo>
                    <a:lnTo>
                      <a:pt x="3708" y="294"/>
                    </a:lnTo>
                    <a:lnTo>
                      <a:pt x="3714" y="300"/>
                    </a:lnTo>
                    <a:lnTo>
                      <a:pt x="3720" y="300"/>
                    </a:lnTo>
                    <a:lnTo>
                      <a:pt x="3576" y="294"/>
                    </a:lnTo>
                    <a:lnTo>
                      <a:pt x="3630" y="312"/>
                    </a:lnTo>
                    <a:lnTo>
                      <a:pt x="3576" y="324"/>
                    </a:lnTo>
                    <a:lnTo>
                      <a:pt x="3564" y="330"/>
                    </a:lnTo>
                    <a:lnTo>
                      <a:pt x="3534" y="336"/>
                    </a:lnTo>
                    <a:lnTo>
                      <a:pt x="3498" y="342"/>
                    </a:lnTo>
                    <a:lnTo>
                      <a:pt x="3474" y="342"/>
                    </a:lnTo>
                    <a:lnTo>
                      <a:pt x="3468" y="336"/>
                    </a:lnTo>
                    <a:lnTo>
                      <a:pt x="3474" y="324"/>
                    </a:lnTo>
                    <a:lnTo>
                      <a:pt x="3486" y="312"/>
                    </a:lnTo>
                    <a:lnTo>
                      <a:pt x="3420" y="312"/>
                    </a:lnTo>
                    <a:lnTo>
                      <a:pt x="3408" y="318"/>
                    </a:lnTo>
                    <a:lnTo>
                      <a:pt x="3390" y="318"/>
                    </a:lnTo>
                    <a:lnTo>
                      <a:pt x="3378" y="324"/>
                    </a:lnTo>
                    <a:lnTo>
                      <a:pt x="3366" y="336"/>
                    </a:lnTo>
                    <a:lnTo>
                      <a:pt x="3348" y="336"/>
                    </a:lnTo>
                    <a:lnTo>
                      <a:pt x="3318" y="342"/>
                    </a:lnTo>
                    <a:lnTo>
                      <a:pt x="3276" y="342"/>
                    </a:lnTo>
                    <a:lnTo>
                      <a:pt x="3246" y="348"/>
                    </a:lnTo>
                    <a:lnTo>
                      <a:pt x="3234" y="354"/>
                    </a:lnTo>
                    <a:lnTo>
                      <a:pt x="3216" y="354"/>
                    </a:lnTo>
                    <a:lnTo>
                      <a:pt x="3204" y="360"/>
                    </a:lnTo>
                    <a:lnTo>
                      <a:pt x="3186" y="360"/>
                    </a:lnTo>
                    <a:lnTo>
                      <a:pt x="3180" y="366"/>
                    </a:lnTo>
                    <a:lnTo>
                      <a:pt x="3174" y="366"/>
                    </a:lnTo>
                    <a:lnTo>
                      <a:pt x="3132" y="396"/>
                    </a:lnTo>
                    <a:lnTo>
                      <a:pt x="3114" y="396"/>
                    </a:lnTo>
                    <a:lnTo>
                      <a:pt x="3108" y="402"/>
                    </a:lnTo>
                    <a:lnTo>
                      <a:pt x="3102" y="402"/>
                    </a:lnTo>
                    <a:lnTo>
                      <a:pt x="3096" y="408"/>
                    </a:lnTo>
                    <a:lnTo>
                      <a:pt x="3102" y="414"/>
                    </a:lnTo>
                    <a:lnTo>
                      <a:pt x="3120" y="426"/>
                    </a:lnTo>
                    <a:lnTo>
                      <a:pt x="3132" y="438"/>
                    </a:lnTo>
                    <a:lnTo>
                      <a:pt x="3150" y="444"/>
                    </a:lnTo>
                    <a:lnTo>
                      <a:pt x="3156" y="450"/>
                    </a:lnTo>
                    <a:lnTo>
                      <a:pt x="3162" y="450"/>
                    </a:lnTo>
                    <a:lnTo>
                      <a:pt x="3120" y="462"/>
                    </a:lnTo>
                    <a:lnTo>
                      <a:pt x="3096" y="474"/>
                    </a:lnTo>
                    <a:lnTo>
                      <a:pt x="2994" y="474"/>
                    </a:lnTo>
                    <a:lnTo>
                      <a:pt x="2988" y="480"/>
                    </a:lnTo>
                    <a:lnTo>
                      <a:pt x="2952" y="468"/>
                    </a:lnTo>
                    <a:lnTo>
                      <a:pt x="2934" y="474"/>
                    </a:lnTo>
                    <a:lnTo>
                      <a:pt x="2880" y="474"/>
                    </a:lnTo>
                    <a:lnTo>
                      <a:pt x="2874" y="480"/>
                    </a:lnTo>
                    <a:lnTo>
                      <a:pt x="2874" y="498"/>
                    </a:lnTo>
                    <a:lnTo>
                      <a:pt x="2880" y="510"/>
                    </a:lnTo>
                    <a:lnTo>
                      <a:pt x="2892" y="522"/>
                    </a:lnTo>
                    <a:lnTo>
                      <a:pt x="2898" y="522"/>
                    </a:lnTo>
                    <a:lnTo>
                      <a:pt x="2904" y="528"/>
                    </a:lnTo>
                    <a:lnTo>
                      <a:pt x="2910" y="540"/>
                    </a:lnTo>
                    <a:lnTo>
                      <a:pt x="2916" y="546"/>
                    </a:lnTo>
                    <a:lnTo>
                      <a:pt x="2922" y="546"/>
                    </a:lnTo>
                    <a:lnTo>
                      <a:pt x="2928" y="552"/>
                    </a:lnTo>
                    <a:lnTo>
                      <a:pt x="2940" y="552"/>
                    </a:lnTo>
                    <a:lnTo>
                      <a:pt x="2952" y="558"/>
                    </a:lnTo>
                    <a:lnTo>
                      <a:pt x="2964" y="558"/>
                    </a:lnTo>
                    <a:lnTo>
                      <a:pt x="2976" y="564"/>
                    </a:lnTo>
                    <a:lnTo>
                      <a:pt x="2994" y="564"/>
                    </a:lnTo>
                    <a:lnTo>
                      <a:pt x="3012" y="570"/>
                    </a:lnTo>
                    <a:lnTo>
                      <a:pt x="3024" y="570"/>
                    </a:lnTo>
                    <a:lnTo>
                      <a:pt x="3036" y="576"/>
                    </a:lnTo>
                    <a:lnTo>
                      <a:pt x="3042" y="576"/>
                    </a:lnTo>
                    <a:lnTo>
                      <a:pt x="3054" y="588"/>
                    </a:lnTo>
                    <a:lnTo>
                      <a:pt x="3054" y="594"/>
                    </a:lnTo>
                    <a:lnTo>
                      <a:pt x="3060" y="600"/>
                    </a:lnTo>
                    <a:lnTo>
                      <a:pt x="3030" y="600"/>
                    </a:lnTo>
                    <a:lnTo>
                      <a:pt x="3012" y="606"/>
                    </a:lnTo>
                    <a:lnTo>
                      <a:pt x="3000" y="606"/>
                    </a:lnTo>
                    <a:lnTo>
                      <a:pt x="2964" y="588"/>
                    </a:lnTo>
                    <a:lnTo>
                      <a:pt x="2928" y="576"/>
                    </a:lnTo>
                    <a:lnTo>
                      <a:pt x="2904" y="570"/>
                    </a:lnTo>
                    <a:lnTo>
                      <a:pt x="2886" y="564"/>
                    </a:lnTo>
                    <a:lnTo>
                      <a:pt x="2862" y="564"/>
                    </a:lnTo>
                    <a:lnTo>
                      <a:pt x="2844" y="558"/>
                    </a:lnTo>
                    <a:lnTo>
                      <a:pt x="2802" y="558"/>
                    </a:lnTo>
                    <a:lnTo>
                      <a:pt x="2796" y="564"/>
                    </a:lnTo>
                    <a:lnTo>
                      <a:pt x="2796" y="576"/>
                    </a:lnTo>
                    <a:lnTo>
                      <a:pt x="2802" y="582"/>
                    </a:lnTo>
                    <a:lnTo>
                      <a:pt x="2808" y="582"/>
                    </a:lnTo>
                    <a:lnTo>
                      <a:pt x="2820" y="594"/>
                    </a:lnTo>
                    <a:lnTo>
                      <a:pt x="2784" y="594"/>
                    </a:lnTo>
                    <a:lnTo>
                      <a:pt x="2772" y="582"/>
                    </a:lnTo>
                    <a:lnTo>
                      <a:pt x="2754" y="582"/>
                    </a:lnTo>
                    <a:lnTo>
                      <a:pt x="2748" y="576"/>
                    </a:lnTo>
                    <a:lnTo>
                      <a:pt x="2724" y="576"/>
                    </a:lnTo>
                    <a:lnTo>
                      <a:pt x="2724" y="582"/>
                    </a:lnTo>
                    <a:lnTo>
                      <a:pt x="2730" y="600"/>
                    </a:lnTo>
                    <a:lnTo>
                      <a:pt x="2736" y="612"/>
                    </a:lnTo>
                    <a:lnTo>
                      <a:pt x="2748" y="618"/>
                    </a:lnTo>
                    <a:lnTo>
                      <a:pt x="2766" y="624"/>
                    </a:lnTo>
                    <a:lnTo>
                      <a:pt x="2802" y="624"/>
                    </a:lnTo>
                    <a:lnTo>
                      <a:pt x="2820" y="630"/>
                    </a:lnTo>
                    <a:lnTo>
                      <a:pt x="2844" y="630"/>
                    </a:lnTo>
                    <a:lnTo>
                      <a:pt x="2856" y="636"/>
                    </a:lnTo>
                    <a:lnTo>
                      <a:pt x="2862" y="648"/>
                    </a:lnTo>
                    <a:lnTo>
                      <a:pt x="2874" y="654"/>
                    </a:lnTo>
                    <a:lnTo>
                      <a:pt x="2844" y="654"/>
                    </a:lnTo>
                    <a:lnTo>
                      <a:pt x="2838" y="648"/>
                    </a:lnTo>
                    <a:lnTo>
                      <a:pt x="2826" y="642"/>
                    </a:lnTo>
                    <a:lnTo>
                      <a:pt x="2772" y="642"/>
                    </a:lnTo>
                    <a:lnTo>
                      <a:pt x="2760" y="636"/>
                    </a:lnTo>
                    <a:lnTo>
                      <a:pt x="2730" y="636"/>
                    </a:lnTo>
                    <a:lnTo>
                      <a:pt x="2724" y="624"/>
                    </a:lnTo>
                    <a:lnTo>
                      <a:pt x="2700" y="624"/>
                    </a:lnTo>
                    <a:lnTo>
                      <a:pt x="2694" y="606"/>
                    </a:lnTo>
                    <a:lnTo>
                      <a:pt x="2664" y="594"/>
                    </a:lnTo>
                    <a:lnTo>
                      <a:pt x="2670" y="588"/>
                    </a:lnTo>
                    <a:lnTo>
                      <a:pt x="2682" y="582"/>
                    </a:lnTo>
                    <a:lnTo>
                      <a:pt x="2688" y="576"/>
                    </a:lnTo>
                    <a:lnTo>
                      <a:pt x="2688" y="564"/>
                    </a:lnTo>
                    <a:lnTo>
                      <a:pt x="2658" y="534"/>
                    </a:lnTo>
                    <a:lnTo>
                      <a:pt x="2646" y="528"/>
                    </a:lnTo>
                    <a:lnTo>
                      <a:pt x="2616" y="528"/>
                    </a:lnTo>
                    <a:lnTo>
                      <a:pt x="2628" y="534"/>
                    </a:lnTo>
                    <a:lnTo>
                      <a:pt x="2652" y="558"/>
                    </a:lnTo>
                    <a:lnTo>
                      <a:pt x="2640" y="570"/>
                    </a:lnTo>
                    <a:lnTo>
                      <a:pt x="2616" y="582"/>
                    </a:lnTo>
                    <a:lnTo>
                      <a:pt x="2604" y="582"/>
                    </a:lnTo>
                    <a:lnTo>
                      <a:pt x="2586" y="624"/>
                    </a:lnTo>
                    <a:lnTo>
                      <a:pt x="2658" y="660"/>
                    </a:lnTo>
                    <a:lnTo>
                      <a:pt x="2676" y="660"/>
                    </a:lnTo>
                    <a:lnTo>
                      <a:pt x="2676" y="696"/>
                    </a:lnTo>
                    <a:lnTo>
                      <a:pt x="2670" y="708"/>
                    </a:lnTo>
                    <a:lnTo>
                      <a:pt x="2670" y="720"/>
                    </a:lnTo>
                    <a:lnTo>
                      <a:pt x="2676" y="738"/>
                    </a:lnTo>
                    <a:lnTo>
                      <a:pt x="2712" y="744"/>
                    </a:lnTo>
                    <a:lnTo>
                      <a:pt x="2712" y="768"/>
                    </a:lnTo>
                    <a:lnTo>
                      <a:pt x="2772" y="780"/>
                    </a:lnTo>
                    <a:lnTo>
                      <a:pt x="2778" y="780"/>
                    </a:lnTo>
                    <a:lnTo>
                      <a:pt x="2784" y="774"/>
                    </a:lnTo>
                    <a:lnTo>
                      <a:pt x="2796" y="774"/>
                    </a:lnTo>
                    <a:lnTo>
                      <a:pt x="2814" y="768"/>
                    </a:lnTo>
                    <a:lnTo>
                      <a:pt x="2850" y="768"/>
                    </a:lnTo>
                    <a:lnTo>
                      <a:pt x="2868" y="774"/>
                    </a:lnTo>
                    <a:lnTo>
                      <a:pt x="2874" y="780"/>
                    </a:lnTo>
                    <a:lnTo>
                      <a:pt x="2886" y="786"/>
                    </a:lnTo>
                    <a:lnTo>
                      <a:pt x="2904" y="786"/>
                    </a:lnTo>
                    <a:lnTo>
                      <a:pt x="2916" y="792"/>
                    </a:lnTo>
                    <a:lnTo>
                      <a:pt x="2952" y="804"/>
                    </a:lnTo>
                    <a:lnTo>
                      <a:pt x="2976" y="828"/>
                    </a:lnTo>
                    <a:lnTo>
                      <a:pt x="2976" y="834"/>
                    </a:lnTo>
                    <a:lnTo>
                      <a:pt x="2964" y="834"/>
                    </a:lnTo>
                    <a:lnTo>
                      <a:pt x="2958" y="840"/>
                    </a:lnTo>
                    <a:lnTo>
                      <a:pt x="2946" y="840"/>
                    </a:lnTo>
                    <a:lnTo>
                      <a:pt x="2940" y="846"/>
                    </a:lnTo>
                    <a:lnTo>
                      <a:pt x="2946" y="852"/>
                    </a:lnTo>
                    <a:lnTo>
                      <a:pt x="2958" y="858"/>
                    </a:lnTo>
                    <a:lnTo>
                      <a:pt x="2976" y="876"/>
                    </a:lnTo>
                    <a:lnTo>
                      <a:pt x="3024" y="876"/>
                    </a:lnTo>
                    <a:lnTo>
                      <a:pt x="3012" y="882"/>
                    </a:lnTo>
                    <a:lnTo>
                      <a:pt x="3006" y="882"/>
                    </a:lnTo>
                    <a:lnTo>
                      <a:pt x="2994" y="888"/>
                    </a:lnTo>
                    <a:lnTo>
                      <a:pt x="2970" y="888"/>
                    </a:lnTo>
                    <a:lnTo>
                      <a:pt x="2958" y="882"/>
                    </a:lnTo>
                    <a:lnTo>
                      <a:pt x="2952" y="876"/>
                    </a:lnTo>
                    <a:lnTo>
                      <a:pt x="2940" y="870"/>
                    </a:lnTo>
                    <a:lnTo>
                      <a:pt x="2940" y="858"/>
                    </a:lnTo>
                    <a:lnTo>
                      <a:pt x="2928" y="834"/>
                    </a:lnTo>
                    <a:lnTo>
                      <a:pt x="2916" y="822"/>
                    </a:lnTo>
                    <a:lnTo>
                      <a:pt x="2892" y="810"/>
                    </a:lnTo>
                    <a:lnTo>
                      <a:pt x="2886" y="804"/>
                    </a:lnTo>
                    <a:lnTo>
                      <a:pt x="2880" y="804"/>
                    </a:lnTo>
                    <a:lnTo>
                      <a:pt x="2874" y="798"/>
                    </a:lnTo>
                    <a:lnTo>
                      <a:pt x="2874" y="786"/>
                    </a:lnTo>
                    <a:lnTo>
                      <a:pt x="2868" y="780"/>
                    </a:lnTo>
                    <a:lnTo>
                      <a:pt x="2844" y="780"/>
                    </a:lnTo>
                    <a:lnTo>
                      <a:pt x="2832" y="786"/>
                    </a:lnTo>
                    <a:lnTo>
                      <a:pt x="2814" y="786"/>
                    </a:lnTo>
                    <a:lnTo>
                      <a:pt x="2802" y="792"/>
                    </a:lnTo>
                    <a:lnTo>
                      <a:pt x="2778" y="792"/>
                    </a:lnTo>
                    <a:lnTo>
                      <a:pt x="2760" y="810"/>
                    </a:lnTo>
                    <a:lnTo>
                      <a:pt x="2766" y="816"/>
                    </a:lnTo>
                    <a:lnTo>
                      <a:pt x="2772" y="828"/>
                    </a:lnTo>
                    <a:lnTo>
                      <a:pt x="2784" y="834"/>
                    </a:lnTo>
                    <a:lnTo>
                      <a:pt x="2802" y="852"/>
                    </a:lnTo>
                    <a:lnTo>
                      <a:pt x="2814" y="858"/>
                    </a:lnTo>
                    <a:lnTo>
                      <a:pt x="2814" y="864"/>
                    </a:lnTo>
                    <a:lnTo>
                      <a:pt x="2790" y="888"/>
                    </a:lnTo>
                    <a:lnTo>
                      <a:pt x="2784" y="888"/>
                    </a:lnTo>
                    <a:lnTo>
                      <a:pt x="2778" y="930"/>
                    </a:lnTo>
                    <a:lnTo>
                      <a:pt x="2736" y="948"/>
                    </a:lnTo>
                    <a:lnTo>
                      <a:pt x="2736" y="954"/>
                    </a:lnTo>
                    <a:lnTo>
                      <a:pt x="2730" y="966"/>
                    </a:lnTo>
                    <a:lnTo>
                      <a:pt x="2724" y="972"/>
                    </a:lnTo>
                    <a:lnTo>
                      <a:pt x="2694" y="972"/>
                    </a:lnTo>
                    <a:lnTo>
                      <a:pt x="2682" y="966"/>
                    </a:lnTo>
                    <a:lnTo>
                      <a:pt x="2652" y="966"/>
                    </a:lnTo>
                    <a:lnTo>
                      <a:pt x="2592" y="960"/>
                    </a:lnTo>
                    <a:lnTo>
                      <a:pt x="2586" y="960"/>
                    </a:lnTo>
                    <a:lnTo>
                      <a:pt x="2580" y="954"/>
                    </a:lnTo>
                    <a:lnTo>
                      <a:pt x="2568" y="948"/>
                    </a:lnTo>
                    <a:lnTo>
                      <a:pt x="2556" y="948"/>
                    </a:lnTo>
                    <a:lnTo>
                      <a:pt x="2544" y="936"/>
                    </a:lnTo>
                    <a:lnTo>
                      <a:pt x="2598" y="936"/>
                    </a:lnTo>
                    <a:lnTo>
                      <a:pt x="2616" y="942"/>
                    </a:lnTo>
                    <a:lnTo>
                      <a:pt x="2640" y="924"/>
                    </a:lnTo>
                    <a:lnTo>
                      <a:pt x="2652" y="924"/>
                    </a:lnTo>
                    <a:lnTo>
                      <a:pt x="2664" y="930"/>
                    </a:lnTo>
                    <a:lnTo>
                      <a:pt x="2682" y="930"/>
                    </a:lnTo>
                    <a:lnTo>
                      <a:pt x="2694" y="924"/>
                    </a:lnTo>
                    <a:lnTo>
                      <a:pt x="2694" y="906"/>
                    </a:lnTo>
                    <a:lnTo>
                      <a:pt x="2700" y="894"/>
                    </a:lnTo>
                    <a:lnTo>
                      <a:pt x="2700" y="882"/>
                    </a:lnTo>
                    <a:lnTo>
                      <a:pt x="2724" y="876"/>
                    </a:lnTo>
                    <a:lnTo>
                      <a:pt x="2724" y="852"/>
                    </a:lnTo>
                    <a:lnTo>
                      <a:pt x="2712" y="852"/>
                    </a:lnTo>
                    <a:lnTo>
                      <a:pt x="2718" y="846"/>
                    </a:lnTo>
                    <a:lnTo>
                      <a:pt x="2724" y="834"/>
                    </a:lnTo>
                    <a:lnTo>
                      <a:pt x="2724" y="822"/>
                    </a:lnTo>
                    <a:lnTo>
                      <a:pt x="2718" y="816"/>
                    </a:lnTo>
                    <a:lnTo>
                      <a:pt x="2712" y="816"/>
                    </a:lnTo>
                    <a:lnTo>
                      <a:pt x="2700" y="810"/>
                    </a:lnTo>
                    <a:lnTo>
                      <a:pt x="2682" y="810"/>
                    </a:lnTo>
                    <a:lnTo>
                      <a:pt x="2664" y="804"/>
                    </a:lnTo>
                    <a:lnTo>
                      <a:pt x="2652" y="804"/>
                    </a:lnTo>
                    <a:lnTo>
                      <a:pt x="2634" y="786"/>
                    </a:lnTo>
                    <a:lnTo>
                      <a:pt x="2634" y="744"/>
                    </a:lnTo>
                    <a:lnTo>
                      <a:pt x="2628" y="732"/>
                    </a:lnTo>
                    <a:lnTo>
                      <a:pt x="2616" y="720"/>
                    </a:lnTo>
                    <a:lnTo>
                      <a:pt x="2604" y="714"/>
                    </a:lnTo>
                    <a:lnTo>
                      <a:pt x="2598" y="702"/>
                    </a:lnTo>
                    <a:lnTo>
                      <a:pt x="2592" y="696"/>
                    </a:lnTo>
                    <a:lnTo>
                      <a:pt x="2586" y="660"/>
                    </a:lnTo>
                    <a:lnTo>
                      <a:pt x="2520" y="624"/>
                    </a:lnTo>
                    <a:lnTo>
                      <a:pt x="2532" y="612"/>
                    </a:lnTo>
                    <a:lnTo>
                      <a:pt x="2544" y="588"/>
                    </a:lnTo>
                    <a:lnTo>
                      <a:pt x="2544" y="576"/>
                    </a:lnTo>
                    <a:lnTo>
                      <a:pt x="2538" y="564"/>
                    </a:lnTo>
                    <a:lnTo>
                      <a:pt x="2514" y="540"/>
                    </a:lnTo>
                    <a:lnTo>
                      <a:pt x="2496" y="540"/>
                    </a:lnTo>
                    <a:lnTo>
                      <a:pt x="2484" y="534"/>
                    </a:lnTo>
                    <a:lnTo>
                      <a:pt x="2472" y="534"/>
                    </a:lnTo>
                    <a:lnTo>
                      <a:pt x="2340" y="522"/>
                    </a:lnTo>
                    <a:lnTo>
                      <a:pt x="2328" y="552"/>
                    </a:lnTo>
                    <a:lnTo>
                      <a:pt x="2346" y="570"/>
                    </a:lnTo>
                    <a:lnTo>
                      <a:pt x="2334" y="600"/>
                    </a:lnTo>
                    <a:lnTo>
                      <a:pt x="2280" y="624"/>
                    </a:lnTo>
                    <a:lnTo>
                      <a:pt x="2268" y="654"/>
                    </a:lnTo>
                    <a:lnTo>
                      <a:pt x="2304" y="660"/>
                    </a:lnTo>
                    <a:lnTo>
                      <a:pt x="2334" y="708"/>
                    </a:lnTo>
                    <a:lnTo>
                      <a:pt x="2322" y="726"/>
                    </a:lnTo>
                    <a:lnTo>
                      <a:pt x="2352" y="750"/>
                    </a:lnTo>
                    <a:lnTo>
                      <a:pt x="2388" y="744"/>
                    </a:lnTo>
                    <a:lnTo>
                      <a:pt x="2394" y="750"/>
                    </a:lnTo>
                    <a:lnTo>
                      <a:pt x="2400" y="762"/>
                    </a:lnTo>
                    <a:lnTo>
                      <a:pt x="2412" y="768"/>
                    </a:lnTo>
                    <a:lnTo>
                      <a:pt x="2418" y="774"/>
                    </a:lnTo>
                    <a:lnTo>
                      <a:pt x="2430" y="780"/>
                    </a:lnTo>
                    <a:lnTo>
                      <a:pt x="2472" y="780"/>
                    </a:lnTo>
                    <a:lnTo>
                      <a:pt x="2466" y="840"/>
                    </a:lnTo>
                    <a:lnTo>
                      <a:pt x="2448" y="816"/>
                    </a:lnTo>
                    <a:lnTo>
                      <a:pt x="2430" y="828"/>
                    </a:lnTo>
                    <a:lnTo>
                      <a:pt x="2418" y="822"/>
                    </a:lnTo>
                    <a:lnTo>
                      <a:pt x="2388" y="804"/>
                    </a:lnTo>
                    <a:lnTo>
                      <a:pt x="2352" y="792"/>
                    </a:lnTo>
                    <a:lnTo>
                      <a:pt x="2328" y="780"/>
                    </a:lnTo>
                    <a:lnTo>
                      <a:pt x="2268" y="780"/>
                    </a:lnTo>
                    <a:lnTo>
                      <a:pt x="2250" y="762"/>
                    </a:lnTo>
                    <a:lnTo>
                      <a:pt x="2244" y="780"/>
                    </a:lnTo>
                    <a:lnTo>
                      <a:pt x="2220" y="756"/>
                    </a:lnTo>
                    <a:lnTo>
                      <a:pt x="2214" y="756"/>
                    </a:lnTo>
                    <a:lnTo>
                      <a:pt x="2208" y="750"/>
                    </a:lnTo>
                    <a:lnTo>
                      <a:pt x="2196" y="744"/>
                    </a:lnTo>
                    <a:lnTo>
                      <a:pt x="2178" y="744"/>
                    </a:lnTo>
                    <a:lnTo>
                      <a:pt x="2154" y="732"/>
                    </a:lnTo>
                    <a:lnTo>
                      <a:pt x="2130" y="732"/>
                    </a:lnTo>
                    <a:lnTo>
                      <a:pt x="2118" y="738"/>
                    </a:lnTo>
                    <a:lnTo>
                      <a:pt x="2088" y="738"/>
                    </a:lnTo>
                    <a:lnTo>
                      <a:pt x="2076" y="732"/>
                    </a:lnTo>
                    <a:lnTo>
                      <a:pt x="2022" y="732"/>
                    </a:lnTo>
                    <a:lnTo>
                      <a:pt x="2016" y="738"/>
                    </a:lnTo>
                    <a:lnTo>
                      <a:pt x="2010" y="738"/>
                    </a:lnTo>
                    <a:lnTo>
                      <a:pt x="2004" y="744"/>
                    </a:lnTo>
                    <a:lnTo>
                      <a:pt x="2004" y="750"/>
                    </a:lnTo>
                    <a:lnTo>
                      <a:pt x="2016" y="762"/>
                    </a:lnTo>
                    <a:lnTo>
                      <a:pt x="2028" y="768"/>
                    </a:lnTo>
                    <a:lnTo>
                      <a:pt x="2040" y="780"/>
                    </a:lnTo>
                    <a:lnTo>
                      <a:pt x="2046" y="780"/>
                    </a:lnTo>
                    <a:lnTo>
                      <a:pt x="2022" y="810"/>
                    </a:lnTo>
                    <a:lnTo>
                      <a:pt x="2010" y="798"/>
                    </a:lnTo>
                    <a:lnTo>
                      <a:pt x="2010" y="828"/>
                    </a:lnTo>
                    <a:lnTo>
                      <a:pt x="1998" y="828"/>
                    </a:lnTo>
                    <a:lnTo>
                      <a:pt x="1986" y="822"/>
                    </a:lnTo>
                    <a:lnTo>
                      <a:pt x="1980" y="822"/>
                    </a:lnTo>
                    <a:lnTo>
                      <a:pt x="1974" y="816"/>
                    </a:lnTo>
                    <a:lnTo>
                      <a:pt x="1974" y="786"/>
                    </a:lnTo>
                    <a:lnTo>
                      <a:pt x="1968" y="780"/>
                    </a:lnTo>
                    <a:lnTo>
                      <a:pt x="1950" y="780"/>
                    </a:lnTo>
                    <a:lnTo>
                      <a:pt x="1938" y="786"/>
                    </a:lnTo>
                    <a:lnTo>
                      <a:pt x="1920" y="792"/>
                    </a:lnTo>
                    <a:lnTo>
                      <a:pt x="1908" y="804"/>
                    </a:lnTo>
                    <a:lnTo>
                      <a:pt x="1884" y="816"/>
                    </a:lnTo>
                    <a:lnTo>
                      <a:pt x="1866" y="816"/>
                    </a:lnTo>
                    <a:lnTo>
                      <a:pt x="1842" y="804"/>
                    </a:lnTo>
                    <a:lnTo>
                      <a:pt x="1824" y="804"/>
                    </a:lnTo>
                    <a:lnTo>
                      <a:pt x="1800" y="810"/>
                    </a:lnTo>
                    <a:lnTo>
                      <a:pt x="1782" y="816"/>
                    </a:lnTo>
                    <a:lnTo>
                      <a:pt x="1764" y="828"/>
                    </a:lnTo>
                    <a:lnTo>
                      <a:pt x="1752" y="834"/>
                    </a:lnTo>
                    <a:lnTo>
                      <a:pt x="1746" y="840"/>
                    </a:lnTo>
                    <a:lnTo>
                      <a:pt x="1680" y="840"/>
                    </a:lnTo>
                    <a:lnTo>
                      <a:pt x="1692" y="816"/>
                    </a:lnTo>
                    <a:lnTo>
                      <a:pt x="1692" y="780"/>
                    </a:lnTo>
                    <a:lnTo>
                      <a:pt x="1680" y="780"/>
                    </a:lnTo>
                    <a:lnTo>
                      <a:pt x="1668" y="786"/>
                    </a:lnTo>
                    <a:lnTo>
                      <a:pt x="1650" y="792"/>
                    </a:lnTo>
                    <a:lnTo>
                      <a:pt x="1638" y="792"/>
                    </a:lnTo>
                    <a:lnTo>
                      <a:pt x="1626" y="804"/>
                    </a:lnTo>
                    <a:lnTo>
                      <a:pt x="1626" y="816"/>
                    </a:lnTo>
                    <a:lnTo>
                      <a:pt x="1632" y="822"/>
                    </a:lnTo>
                    <a:lnTo>
                      <a:pt x="1632" y="828"/>
                    </a:lnTo>
                    <a:lnTo>
                      <a:pt x="1608" y="834"/>
                    </a:lnTo>
                    <a:lnTo>
                      <a:pt x="1608" y="810"/>
                    </a:lnTo>
                    <a:lnTo>
                      <a:pt x="1584" y="816"/>
                    </a:lnTo>
                    <a:lnTo>
                      <a:pt x="1530" y="822"/>
                    </a:lnTo>
                    <a:lnTo>
                      <a:pt x="1488" y="852"/>
                    </a:lnTo>
                    <a:lnTo>
                      <a:pt x="1440" y="858"/>
                    </a:lnTo>
                    <a:lnTo>
                      <a:pt x="1452" y="876"/>
                    </a:lnTo>
                    <a:lnTo>
                      <a:pt x="1440" y="876"/>
                    </a:lnTo>
                    <a:lnTo>
                      <a:pt x="1428" y="870"/>
                    </a:lnTo>
                    <a:lnTo>
                      <a:pt x="1422" y="870"/>
                    </a:lnTo>
                    <a:lnTo>
                      <a:pt x="1410" y="876"/>
                    </a:lnTo>
                    <a:lnTo>
                      <a:pt x="1404" y="882"/>
                    </a:lnTo>
                    <a:lnTo>
                      <a:pt x="1404" y="924"/>
                    </a:lnTo>
                    <a:lnTo>
                      <a:pt x="1332" y="930"/>
                    </a:lnTo>
                    <a:lnTo>
                      <a:pt x="1326" y="924"/>
                    </a:lnTo>
                    <a:lnTo>
                      <a:pt x="1314" y="918"/>
                    </a:lnTo>
                    <a:lnTo>
                      <a:pt x="1308" y="912"/>
                    </a:lnTo>
                    <a:lnTo>
                      <a:pt x="1266" y="912"/>
                    </a:lnTo>
                    <a:lnTo>
                      <a:pt x="1260" y="906"/>
                    </a:lnTo>
                    <a:lnTo>
                      <a:pt x="1260" y="876"/>
                    </a:lnTo>
                    <a:lnTo>
                      <a:pt x="1266" y="870"/>
                    </a:lnTo>
                    <a:lnTo>
                      <a:pt x="1266" y="864"/>
                    </a:lnTo>
                    <a:lnTo>
                      <a:pt x="1272" y="858"/>
                    </a:lnTo>
                    <a:lnTo>
                      <a:pt x="1284" y="864"/>
                    </a:lnTo>
                    <a:lnTo>
                      <a:pt x="1344" y="864"/>
                    </a:lnTo>
                    <a:lnTo>
                      <a:pt x="1332" y="858"/>
                    </a:lnTo>
                    <a:lnTo>
                      <a:pt x="1326" y="846"/>
                    </a:lnTo>
                    <a:lnTo>
                      <a:pt x="1314" y="840"/>
                    </a:lnTo>
                    <a:lnTo>
                      <a:pt x="1302" y="828"/>
                    </a:lnTo>
                    <a:lnTo>
                      <a:pt x="1290" y="822"/>
                    </a:lnTo>
                    <a:lnTo>
                      <a:pt x="1278" y="810"/>
                    </a:lnTo>
                    <a:lnTo>
                      <a:pt x="1152" y="810"/>
                    </a:lnTo>
                    <a:lnTo>
                      <a:pt x="1164" y="822"/>
                    </a:lnTo>
                    <a:lnTo>
                      <a:pt x="1188" y="822"/>
                    </a:lnTo>
                    <a:lnTo>
                      <a:pt x="1200" y="828"/>
                    </a:lnTo>
                    <a:lnTo>
                      <a:pt x="1200" y="846"/>
                    </a:lnTo>
                    <a:lnTo>
                      <a:pt x="1194" y="864"/>
                    </a:lnTo>
                    <a:lnTo>
                      <a:pt x="1194" y="876"/>
                    </a:lnTo>
                    <a:lnTo>
                      <a:pt x="1188" y="894"/>
                    </a:lnTo>
                    <a:lnTo>
                      <a:pt x="1188" y="918"/>
                    </a:lnTo>
                    <a:lnTo>
                      <a:pt x="1194" y="918"/>
                    </a:lnTo>
                    <a:lnTo>
                      <a:pt x="1206" y="924"/>
                    </a:lnTo>
                    <a:lnTo>
                      <a:pt x="1230" y="924"/>
                    </a:lnTo>
                    <a:lnTo>
                      <a:pt x="1236" y="930"/>
                    </a:lnTo>
                    <a:lnTo>
                      <a:pt x="1242" y="930"/>
                    </a:lnTo>
                    <a:lnTo>
                      <a:pt x="1236" y="966"/>
                    </a:lnTo>
                    <a:lnTo>
                      <a:pt x="1248" y="996"/>
                    </a:lnTo>
                    <a:lnTo>
                      <a:pt x="1212" y="972"/>
                    </a:lnTo>
                    <a:lnTo>
                      <a:pt x="1194" y="996"/>
                    </a:lnTo>
                    <a:lnTo>
                      <a:pt x="1188" y="966"/>
                    </a:lnTo>
                    <a:lnTo>
                      <a:pt x="1116" y="948"/>
                    </a:lnTo>
                    <a:lnTo>
                      <a:pt x="1086" y="984"/>
                    </a:lnTo>
                    <a:lnTo>
                      <a:pt x="1062" y="984"/>
                    </a:lnTo>
                    <a:lnTo>
                      <a:pt x="1056" y="996"/>
                    </a:lnTo>
                    <a:lnTo>
                      <a:pt x="1044" y="1002"/>
                    </a:lnTo>
                    <a:lnTo>
                      <a:pt x="1038" y="1008"/>
                    </a:lnTo>
                    <a:lnTo>
                      <a:pt x="1026" y="1014"/>
                    </a:lnTo>
                    <a:lnTo>
                      <a:pt x="1014" y="1014"/>
                    </a:lnTo>
                    <a:lnTo>
                      <a:pt x="1002" y="1020"/>
                    </a:lnTo>
                    <a:lnTo>
                      <a:pt x="1002" y="1032"/>
                    </a:lnTo>
                    <a:lnTo>
                      <a:pt x="1008" y="1038"/>
                    </a:lnTo>
                    <a:lnTo>
                      <a:pt x="1020" y="1044"/>
                    </a:lnTo>
                    <a:lnTo>
                      <a:pt x="1032" y="1056"/>
                    </a:lnTo>
                    <a:lnTo>
                      <a:pt x="1044" y="1062"/>
                    </a:lnTo>
                    <a:lnTo>
                      <a:pt x="1050" y="1068"/>
                    </a:lnTo>
                    <a:lnTo>
                      <a:pt x="1062" y="1074"/>
                    </a:lnTo>
                    <a:lnTo>
                      <a:pt x="1080" y="1104"/>
                    </a:lnTo>
                    <a:lnTo>
                      <a:pt x="1050" y="1086"/>
                    </a:lnTo>
                    <a:lnTo>
                      <a:pt x="1038" y="1092"/>
                    </a:lnTo>
                    <a:lnTo>
                      <a:pt x="1032" y="1098"/>
                    </a:lnTo>
                    <a:lnTo>
                      <a:pt x="1020" y="1098"/>
                    </a:lnTo>
                    <a:lnTo>
                      <a:pt x="1008" y="1092"/>
                    </a:lnTo>
                    <a:lnTo>
                      <a:pt x="996" y="1092"/>
                    </a:lnTo>
                    <a:lnTo>
                      <a:pt x="978" y="1086"/>
                    </a:lnTo>
                    <a:lnTo>
                      <a:pt x="966" y="1080"/>
                    </a:lnTo>
                    <a:lnTo>
                      <a:pt x="948" y="1080"/>
                    </a:lnTo>
                    <a:lnTo>
                      <a:pt x="936" y="1074"/>
                    </a:lnTo>
                    <a:lnTo>
                      <a:pt x="924" y="1074"/>
                    </a:lnTo>
                    <a:lnTo>
                      <a:pt x="918" y="1068"/>
                    </a:lnTo>
                    <a:lnTo>
                      <a:pt x="918" y="1056"/>
                    </a:lnTo>
                    <a:lnTo>
                      <a:pt x="906" y="1050"/>
                    </a:lnTo>
                    <a:lnTo>
                      <a:pt x="888" y="1050"/>
                    </a:lnTo>
                    <a:lnTo>
                      <a:pt x="864" y="1062"/>
                    </a:lnTo>
                    <a:lnTo>
                      <a:pt x="858" y="1068"/>
                    </a:lnTo>
                    <a:lnTo>
                      <a:pt x="840" y="1068"/>
                    </a:lnTo>
                    <a:lnTo>
                      <a:pt x="882" y="1104"/>
                    </a:lnTo>
                    <a:lnTo>
                      <a:pt x="900" y="1104"/>
                    </a:lnTo>
                    <a:lnTo>
                      <a:pt x="912" y="1110"/>
                    </a:lnTo>
                    <a:lnTo>
                      <a:pt x="924" y="1110"/>
                    </a:lnTo>
                    <a:lnTo>
                      <a:pt x="936" y="1116"/>
                    </a:lnTo>
                    <a:lnTo>
                      <a:pt x="942" y="1116"/>
                    </a:lnTo>
                    <a:lnTo>
                      <a:pt x="942" y="1122"/>
                    </a:lnTo>
                    <a:lnTo>
                      <a:pt x="936" y="1134"/>
                    </a:lnTo>
                    <a:lnTo>
                      <a:pt x="924" y="1140"/>
                    </a:lnTo>
                    <a:lnTo>
                      <a:pt x="918" y="1146"/>
                    </a:lnTo>
                    <a:lnTo>
                      <a:pt x="852" y="1128"/>
                    </a:lnTo>
                    <a:lnTo>
                      <a:pt x="840" y="1122"/>
                    </a:lnTo>
                    <a:lnTo>
                      <a:pt x="834" y="1116"/>
                    </a:lnTo>
                    <a:lnTo>
                      <a:pt x="822" y="1110"/>
                    </a:lnTo>
                    <a:lnTo>
                      <a:pt x="762" y="1110"/>
                    </a:lnTo>
                    <a:lnTo>
                      <a:pt x="756" y="1104"/>
                    </a:lnTo>
                    <a:lnTo>
                      <a:pt x="756" y="1056"/>
                    </a:lnTo>
                    <a:lnTo>
                      <a:pt x="738" y="1044"/>
                    </a:lnTo>
                    <a:lnTo>
                      <a:pt x="750" y="1032"/>
                    </a:lnTo>
                    <a:lnTo>
                      <a:pt x="756" y="1020"/>
                    </a:lnTo>
                    <a:lnTo>
                      <a:pt x="756" y="1002"/>
                    </a:lnTo>
                    <a:lnTo>
                      <a:pt x="738" y="990"/>
                    </a:lnTo>
                    <a:lnTo>
                      <a:pt x="702" y="978"/>
                    </a:lnTo>
                    <a:lnTo>
                      <a:pt x="672" y="972"/>
                    </a:lnTo>
                    <a:lnTo>
                      <a:pt x="660" y="966"/>
                    </a:lnTo>
                    <a:lnTo>
                      <a:pt x="630" y="948"/>
                    </a:lnTo>
                    <a:lnTo>
                      <a:pt x="606" y="930"/>
                    </a:lnTo>
                    <a:lnTo>
                      <a:pt x="594" y="912"/>
                    </a:lnTo>
                    <a:lnTo>
                      <a:pt x="630" y="912"/>
                    </a:lnTo>
                    <a:lnTo>
                      <a:pt x="630" y="924"/>
                    </a:lnTo>
                    <a:lnTo>
                      <a:pt x="642" y="924"/>
                    </a:lnTo>
                    <a:lnTo>
                      <a:pt x="654" y="930"/>
                    </a:lnTo>
                    <a:lnTo>
                      <a:pt x="672" y="930"/>
                    </a:lnTo>
                    <a:lnTo>
                      <a:pt x="690" y="936"/>
                    </a:lnTo>
                    <a:lnTo>
                      <a:pt x="720" y="936"/>
                    </a:lnTo>
                    <a:lnTo>
                      <a:pt x="732" y="942"/>
                    </a:lnTo>
                    <a:lnTo>
                      <a:pt x="738" y="954"/>
                    </a:lnTo>
                    <a:lnTo>
                      <a:pt x="762" y="966"/>
                    </a:lnTo>
                    <a:lnTo>
                      <a:pt x="816" y="966"/>
                    </a:lnTo>
                    <a:lnTo>
                      <a:pt x="846" y="972"/>
                    </a:lnTo>
                    <a:lnTo>
                      <a:pt x="858" y="972"/>
                    </a:lnTo>
                    <a:lnTo>
                      <a:pt x="870" y="978"/>
                    </a:lnTo>
                    <a:lnTo>
                      <a:pt x="894" y="984"/>
                    </a:lnTo>
                    <a:lnTo>
                      <a:pt x="930" y="990"/>
                    </a:lnTo>
                    <a:lnTo>
                      <a:pt x="978" y="984"/>
                    </a:lnTo>
                    <a:lnTo>
                      <a:pt x="1026" y="972"/>
                    </a:lnTo>
                    <a:lnTo>
                      <a:pt x="1062" y="954"/>
                    </a:lnTo>
                    <a:lnTo>
                      <a:pt x="1080" y="936"/>
                    </a:lnTo>
                    <a:lnTo>
                      <a:pt x="1074" y="912"/>
                    </a:lnTo>
                    <a:lnTo>
                      <a:pt x="1032" y="870"/>
                    </a:lnTo>
                    <a:lnTo>
                      <a:pt x="1014" y="858"/>
                    </a:lnTo>
                    <a:lnTo>
                      <a:pt x="996" y="852"/>
                    </a:lnTo>
                    <a:lnTo>
                      <a:pt x="948" y="840"/>
                    </a:lnTo>
                    <a:lnTo>
                      <a:pt x="900" y="822"/>
                    </a:lnTo>
                    <a:lnTo>
                      <a:pt x="828" y="798"/>
                    </a:lnTo>
                    <a:lnTo>
                      <a:pt x="792" y="780"/>
                    </a:lnTo>
                    <a:lnTo>
                      <a:pt x="756" y="774"/>
                    </a:lnTo>
                    <a:lnTo>
                      <a:pt x="624" y="774"/>
                    </a:lnTo>
                    <a:lnTo>
                      <a:pt x="612" y="756"/>
                    </a:lnTo>
                    <a:lnTo>
                      <a:pt x="588" y="762"/>
                    </a:lnTo>
                    <a:lnTo>
                      <a:pt x="552" y="744"/>
                    </a:lnTo>
                    <a:lnTo>
                      <a:pt x="588" y="738"/>
                    </a:lnTo>
                    <a:lnTo>
                      <a:pt x="606" y="726"/>
                    </a:lnTo>
                    <a:lnTo>
                      <a:pt x="600" y="726"/>
                    </a:lnTo>
                    <a:lnTo>
                      <a:pt x="594" y="720"/>
                    </a:lnTo>
                    <a:lnTo>
                      <a:pt x="582" y="720"/>
                    </a:lnTo>
                    <a:lnTo>
                      <a:pt x="564" y="714"/>
                    </a:lnTo>
                    <a:lnTo>
                      <a:pt x="546" y="714"/>
                    </a:lnTo>
                    <a:lnTo>
                      <a:pt x="534" y="708"/>
                    </a:lnTo>
                    <a:lnTo>
                      <a:pt x="522" y="720"/>
                    </a:lnTo>
                    <a:lnTo>
                      <a:pt x="522" y="726"/>
                    </a:lnTo>
                    <a:lnTo>
                      <a:pt x="516" y="732"/>
                    </a:lnTo>
                    <a:lnTo>
                      <a:pt x="498" y="732"/>
                    </a:lnTo>
                    <a:lnTo>
                      <a:pt x="486" y="744"/>
                    </a:lnTo>
                    <a:lnTo>
                      <a:pt x="450" y="744"/>
                    </a:lnTo>
                    <a:lnTo>
                      <a:pt x="444" y="756"/>
                    </a:lnTo>
                    <a:lnTo>
                      <a:pt x="420" y="762"/>
                    </a:lnTo>
                    <a:lnTo>
                      <a:pt x="420" y="768"/>
                    </a:lnTo>
                    <a:lnTo>
                      <a:pt x="414" y="780"/>
                    </a:lnTo>
                    <a:lnTo>
                      <a:pt x="390" y="780"/>
                    </a:lnTo>
                    <a:lnTo>
                      <a:pt x="384" y="792"/>
                    </a:lnTo>
                    <a:lnTo>
                      <a:pt x="396" y="804"/>
                    </a:lnTo>
                    <a:lnTo>
                      <a:pt x="396" y="810"/>
                    </a:lnTo>
                    <a:lnTo>
                      <a:pt x="378" y="810"/>
                    </a:lnTo>
                    <a:lnTo>
                      <a:pt x="378" y="822"/>
                    </a:lnTo>
                    <a:lnTo>
                      <a:pt x="384" y="834"/>
                    </a:lnTo>
                    <a:lnTo>
                      <a:pt x="384" y="840"/>
                    </a:lnTo>
                    <a:lnTo>
                      <a:pt x="390" y="846"/>
                    </a:lnTo>
                    <a:lnTo>
                      <a:pt x="396" y="846"/>
                    </a:lnTo>
                    <a:lnTo>
                      <a:pt x="402" y="840"/>
                    </a:lnTo>
                    <a:lnTo>
                      <a:pt x="420" y="840"/>
                    </a:lnTo>
                    <a:lnTo>
                      <a:pt x="468" y="888"/>
                    </a:lnTo>
                    <a:lnTo>
                      <a:pt x="468" y="900"/>
                    </a:lnTo>
                    <a:lnTo>
                      <a:pt x="462" y="900"/>
                    </a:lnTo>
                    <a:lnTo>
                      <a:pt x="450" y="906"/>
                    </a:lnTo>
                    <a:lnTo>
                      <a:pt x="444" y="906"/>
                    </a:lnTo>
                    <a:lnTo>
                      <a:pt x="444" y="918"/>
                    </a:lnTo>
                    <a:lnTo>
                      <a:pt x="438" y="918"/>
                    </a:lnTo>
                    <a:lnTo>
                      <a:pt x="426" y="924"/>
                    </a:lnTo>
                    <a:lnTo>
                      <a:pt x="420" y="930"/>
                    </a:lnTo>
                    <a:lnTo>
                      <a:pt x="438" y="948"/>
                    </a:lnTo>
                    <a:lnTo>
                      <a:pt x="450" y="954"/>
                    </a:lnTo>
                    <a:lnTo>
                      <a:pt x="456" y="966"/>
                    </a:lnTo>
                    <a:lnTo>
                      <a:pt x="468" y="972"/>
                    </a:lnTo>
                    <a:lnTo>
                      <a:pt x="492" y="996"/>
                    </a:lnTo>
                    <a:lnTo>
                      <a:pt x="504" y="1002"/>
                    </a:lnTo>
                    <a:lnTo>
                      <a:pt x="510" y="1008"/>
                    </a:lnTo>
                    <a:lnTo>
                      <a:pt x="510" y="1014"/>
                    </a:lnTo>
                    <a:lnTo>
                      <a:pt x="504" y="1020"/>
                    </a:lnTo>
                    <a:lnTo>
                      <a:pt x="492" y="1020"/>
                    </a:lnTo>
                    <a:lnTo>
                      <a:pt x="480" y="1014"/>
                    </a:lnTo>
                    <a:lnTo>
                      <a:pt x="474" y="1014"/>
                    </a:lnTo>
                    <a:lnTo>
                      <a:pt x="468" y="1044"/>
                    </a:lnTo>
                    <a:lnTo>
                      <a:pt x="480" y="1056"/>
                    </a:lnTo>
                    <a:lnTo>
                      <a:pt x="480" y="1068"/>
                    </a:lnTo>
                    <a:lnTo>
                      <a:pt x="492" y="1068"/>
                    </a:lnTo>
                    <a:lnTo>
                      <a:pt x="498" y="1074"/>
                    </a:lnTo>
                    <a:lnTo>
                      <a:pt x="504" y="1074"/>
                    </a:lnTo>
                    <a:lnTo>
                      <a:pt x="510" y="1080"/>
                    </a:lnTo>
                    <a:lnTo>
                      <a:pt x="510" y="1086"/>
                    </a:lnTo>
                    <a:lnTo>
                      <a:pt x="504" y="1092"/>
                    </a:lnTo>
                    <a:lnTo>
                      <a:pt x="498" y="1104"/>
                    </a:lnTo>
                    <a:lnTo>
                      <a:pt x="522" y="1110"/>
                    </a:lnTo>
                    <a:lnTo>
                      <a:pt x="534" y="1116"/>
                    </a:lnTo>
                    <a:lnTo>
                      <a:pt x="540" y="1122"/>
                    </a:lnTo>
                    <a:lnTo>
                      <a:pt x="540" y="1128"/>
                    </a:lnTo>
                    <a:lnTo>
                      <a:pt x="516" y="1152"/>
                    </a:lnTo>
                    <a:lnTo>
                      <a:pt x="510" y="1152"/>
                    </a:lnTo>
                    <a:lnTo>
                      <a:pt x="582" y="1188"/>
                    </a:lnTo>
                    <a:lnTo>
                      <a:pt x="588" y="1200"/>
                    </a:lnTo>
                    <a:lnTo>
                      <a:pt x="594" y="1206"/>
                    </a:lnTo>
                    <a:lnTo>
                      <a:pt x="600" y="1218"/>
                    </a:lnTo>
                    <a:lnTo>
                      <a:pt x="600" y="1230"/>
                    </a:lnTo>
                    <a:lnTo>
                      <a:pt x="594" y="1236"/>
                    </a:lnTo>
                    <a:lnTo>
                      <a:pt x="588" y="1248"/>
                    </a:lnTo>
                    <a:lnTo>
                      <a:pt x="552" y="1284"/>
                    </a:lnTo>
                    <a:lnTo>
                      <a:pt x="546" y="1284"/>
                    </a:lnTo>
                    <a:lnTo>
                      <a:pt x="486" y="1344"/>
                    </a:lnTo>
                    <a:lnTo>
                      <a:pt x="426" y="1374"/>
                    </a:lnTo>
                    <a:lnTo>
                      <a:pt x="432" y="1386"/>
                    </a:lnTo>
                    <a:lnTo>
                      <a:pt x="462" y="1368"/>
                    </a:lnTo>
                    <a:lnTo>
                      <a:pt x="468" y="1386"/>
                    </a:lnTo>
                    <a:lnTo>
                      <a:pt x="480" y="1398"/>
                    </a:lnTo>
                    <a:lnTo>
                      <a:pt x="492" y="1404"/>
                    </a:lnTo>
                    <a:lnTo>
                      <a:pt x="498" y="1410"/>
                    </a:lnTo>
                    <a:lnTo>
                      <a:pt x="546" y="1410"/>
                    </a:lnTo>
                    <a:lnTo>
                      <a:pt x="558" y="1428"/>
                    </a:lnTo>
                    <a:lnTo>
                      <a:pt x="546" y="1428"/>
                    </a:lnTo>
                    <a:lnTo>
                      <a:pt x="534" y="1422"/>
                    </a:lnTo>
                    <a:lnTo>
                      <a:pt x="504" y="1422"/>
                    </a:lnTo>
                    <a:lnTo>
                      <a:pt x="492" y="1434"/>
                    </a:lnTo>
                    <a:lnTo>
                      <a:pt x="492" y="1440"/>
                    </a:lnTo>
                    <a:lnTo>
                      <a:pt x="456" y="1440"/>
                    </a:lnTo>
                    <a:lnTo>
                      <a:pt x="450" y="1470"/>
                    </a:lnTo>
                    <a:lnTo>
                      <a:pt x="438" y="1470"/>
                    </a:lnTo>
                    <a:lnTo>
                      <a:pt x="432" y="1482"/>
                    </a:lnTo>
                    <a:lnTo>
                      <a:pt x="438" y="1494"/>
                    </a:lnTo>
                    <a:lnTo>
                      <a:pt x="432" y="1500"/>
                    </a:lnTo>
                    <a:lnTo>
                      <a:pt x="426" y="1500"/>
                    </a:lnTo>
                    <a:lnTo>
                      <a:pt x="414" y="1512"/>
                    </a:lnTo>
                    <a:lnTo>
                      <a:pt x="414" y="1530"/>
                    </a:lnTo>
                    <a:lnTo>
                      <a:pt x="432" y="1536"/>
                    </a:lnTo>
                    <a:lnTo>
                      <a:pt x="420" y="1560"/>
                    </a:lnTo>
                    <a:lnTo>
                      <a:pt x="432" y="1566"/>
                    </a:lnTo>
                    <a:lnTo>
                      <a:pt x="444" y="1584"/>
                    </a:lnTo>
                    <a:lnTo>
                      <a:pt x="426" y="1596"/>
                    </a:lnTo>
                    <a:lnTo>
                      <a:pt x="426" y="1608"/>
                    </a:lnTo>
                    <a:lnTo>
                      <a:pt x="432" y="1608"/>
                    </a:lnTo>
                    <a:lnTo>
                      <a:pt x="444" y="1620"/>
                    </a:lnTo>
                    <a:lnTo>
                      <a:pt x="456" y="1626"/>
                    </a:lnTo>
                    <a:lnTo>
                      <a:pt x="462" y="1632"/>
                    </a:lnTo>
                    <a:lnTo>
                      <a:pt x="462" y="1638"/>
                    </a:lnTo>
                    <a:lnTo>
                      <a:pt x="444" y="1638"/>
                    </a:lnTo>
                    <a:lnTo>
                      <a:pt x="438" y="1656"/>
                    </a:lnTo>
                    <a:lnTo>
                      <a:pt x="462" y="1662"/>
                    </a:lnTo>
                    <a:lnTo>
                      <a:pt x="468" y="1668"/>
                    </a:lnTo>
                    <a:lnTo>
                      <a:pt x="474" y="1680"/>
                    </a:lnTo>
                    <a:lnTo>
                      <a:pt x="486" y="1692"/>
                    </a:lnTo>
                    <a:lnTo>
                      <a:pt x="486" y="1716"/>
                    </a:lnTo>
                    <a:lnTo>
                      <a:pt x="510" y="1716"/>
                    </a:lnTo>
                    <a:lnTo>
                      <a:pt x="516" y="1722"/>
                    </a:lnTo>
                    <a:lnTo>
                      <a:pt x="516" y="1728"/>
                    </a:lnTo>
                    <a:lnTo>
                      <a:pt x="528" y="1722"/>
                    </a:lnTo>
                    <a:lnTo>
                      <a:pt x="564" y="1728"/>
                    </a:lnTo>
                    <a:lnTo>
                      <a:pt x="570" y="1746"/>
                    </a:lnTo>
                    <a:lnTo>
                      <a:pt x="600" y="1728"/>
                    </a:lnTo>
                    <a:lnTo>
                      <a:pt x="606" y="1728"/>
                    </a:lnTo>
                    <a:lnTo>
                      <a:pt x="612" y="1734"/>
                    </a:lnTo>
                    <a:lnTo>
                      <a:pt x="648" y="1752"/>
                    </a:lnTo>
                    <a:lnTo>
                      <a:pt x="654" y="1758"/>
                    </a:lnTo>
                    <a:lnTo>
                      <a:pt x="654" y="1770"/>
                    </a:lnTo>
                    <a:lnTo>
                      <a:pt x="648" y="1776"/>
                    </a:lnTo>
                    <a:lnTo>
                      <a:pt x="660" y="1794"/>
                    </a:lnTo>
                    <a:lnTo>
                      <a:pt x="654" y="1812"/>
                    </a:lnTo>
                    <a:lnTo>
                      <a:pt x="660" y="1818"/>
                    </a:lnTo>
                    <a:lnTo>
                      <a:pt x="672" y="1824"/>
                    </a:lnTo>
                    <a:lnTo>
                      <a:pt x="690" y="1842"/>
                    </a:lnTo>
                    <a:lnTo>
                      <a:pt x="690" y="1854"/>
                    </a:lnTo>
                    <a:lnTo>
                      <a:pt x="720" y="1866"/>
                    </a:lnTo>
                    <a:lnTo>
                      <a:pt x="720" y="1890"/>
                    </a:lnTo>
                    <a:lnTo>
                      <a:pt x="756" y="1890"/>
                    </a:lnTo>
                    <a:lnTo>
                      <a:pt x="762" y="1896"/>
                    </a:lnTo>
                    <a:lnTo>
                      <a:pt x="768" y="1896"/>
                    </a:lnTo>
                    <a:lnTo>
                      <a:pt x="768" y="1902"/>
                    </a:lnTo>
                    <a:lnTo>
                      <a:pt x="762" y="1908"/>
                    </a:lnTo>
                    <a:lnTo>
                      <a:pt x="786" y="1920"/>
                    </a:lnTo>
                    <a:lnTo>
                      <a:pt x="774" y="1926"/>
                    </a:lnTo>
                    <a:lnTo>
                      <a:pt x="768" y="1938"/>
                    </a:lnTo>
                    <a:lnTo>
                      <a:pt x="744" y="1950"/>
                    </a:lnTo>
                    <a:lnTo>
                      <a:pt x="738" y="1950"/>
                    </a:lnTo>
                    <a:lnTo>
                      <a:pt x="732" y="1944"/>
                    </a:lnTo>
                    <a:lnTo>
                      <a:pt x="726" y="1944"/>
                    </a:lnTo>
                    <a:lnTo>
                      <a:pt x="726" y="1938"/>
                    </a:lnTo>
                    <a:lnTo>
                      <a:pt x="702" y="1938"/>
                    </a:lnTo>
                    <a:lnTo>
                      <a:pt x="696" y="1944"/>
                    </a:lnTo>
                    <a:lnTo>
                      <a:pt x="696" y="1950"/>
                    </a:lnTo>
                    <a:lnTo>
                      <a:pt x="720" y="1974"/>
                    </a:lnTo>
                    <a:lnTo>
                      <a:pt x="720" y="1992"/>
                    </a:lnTo>
                    <a:lnTo>
                      <a:pt x="726" y="1998"/>
                    </a:lnTo>
                    <a:lnTo>
                      <a:pt x="732" y="2010"/>
                    </a:lnTo>
                    <a:lnTo>
                      <a:pt x="732" y="2028"/>
                    </a:lnTo>
                    <a:lnTo>
                      <a:pt x="720" y="2028"/>
                    </a:lnTo>
                    <a:lnTo>
                      <a:pt x="714" y="2022"/>
                    </a:lnTo>
                    <a:lnTo>
                      <a:pt x="708" y="2022"/>
                    </a:lnTo>
                    <a:lnTo>
                      <a:pt x="720" y="2028"/>
                    </a:lnTo>
                    <a:lnTo>
                      <a:pt x="768" y="2028"/>
                    </a:lnTo>
                    <a:lnTo>
                      <a:pt x="774" y="2022"/>
                    </a:lnTo>
                    <a:lnTo>
                      <a:pt x="774" y="2010"/>
                    </a:lnTo>
                    <a:lnTo>
                      <a:pt x="804" y="2010"/>
                    </a:lnTo>
                    <a:lnTo>
                      <a:pt x="816" y="2004"/>
                    </a:lnTo>
                    <a:lnTo>
                      <a:pt x="864" y="2004"/>
                    </a:lnTo>
                    <a:lnTo>
                      <a:pt x="870" y="2022"/>
                    </a:lnTo>
                    <a:lnTo>
                      <a:pt x="876" y="2022"/>
                    </a:lnTo>
                    <a:lnTo>
                      <a:pt x="882" y="2028"/>
                    </a:lnTo>
                    <a:lnTo>
                      <a:pt x="894" y="2034"/>
                    </a:lnTo>
                    <a:lnTo>
                      <a:pt x="900" y="2034"/>
                    </a:lnTo>
                    <a:lnTo>
                      <a:pt x="900" y="2046"/>
                    </a:lnTo>
                    <a:lnTo>
                      <a:pt x="894" y="2052"/>
                    </a:lnTo>
                    <a:lnTo>
                      <a:pt x="888" y="2052"/>
                    </a:lnTo>
                    <a:lnTo>
                      <a:pt x="894" y="2070"/>
                    </a:lnTo>
                    <a:lnTo>
                      <a:pt x="894" y="2088"/>
                    </a:lnTo>
                    <a:lnTo>
                      <a:pt x="930" y="2088"/>
                    </a:lnTo>
                    <a:lnTo>
                      <a:pt x="972" y="2106"/>
                    </a:lnTo>
                    <a:lnTo>
                      <a:pt x="984" y="2154"/>
                    </a:lnTo>
                    <a:lnTo>
                      <a:pt x="990" y="2154"/>
                    </a:lnTo>
                    <a:lnTo>
                      <a:pt x="1014" y="2148"/>
                    </a:lnTo>
                    <a:lnTo>
                      <a:pt x="1020" y="2154"/>
                    </a:lnTo>
                    <a:lnTo>
                      <a:pt x="1032" y="2154"/>
                    </a:lnTo>
                    <a:lnTo>
                      <a:pt x="1038" y="2160"/>
                    </a:lnTo>
                    <a:lnTo>
                      <a:pt x="1086" y="2160"/>
                    </a:lnTo>
                    <a:lnTo>
                      <a:pt x="1092" y="2166"/>
                    </a:lnTo>
                    <a:lnTo>
                      <a:pt x="1092" y="2160"/>
                    </a:lnTo>
                    <a:lnTo>
                      <a:pt x="1098" y="2154"/>
                    </a:lnTo>
                    <a:lnTo>
                      <a:pt x="1110" y="2154"/>
                    </a:lnTo>
                    <a:lnTo>
                      <a:pt x="1116" y="2166"/>
                    </a:lnTo>
                    <a:lnTo>
                      <a:pt x="1140" y="2190"/>
                    </a:lnTo>
                    <a:lnTo>
                      <a:pt x="1152" y="2184"/>
                    </a:lnTo>
                    <a:lnTo>
                      <a:pt x="1170" y="2184"/>
                    </a:lnTo>
                    <a:lnTo>
                      <a:pt x="1176" y="2190"/>
                    </a:lnTo>
                    <a:lnTo>
                      <a:pt x="1188" y="2196"/>
                    </a:lnTo>
                    <a:lnTo>
                      <a:pt x="1230" y="2196"/>
                    </a:lnTo>
                    <a:lnTo>
                      <a:pt x="1230" y="2202"/>
                    </a:lnTo>
                    <a:lnTo>
                      <a:pt x="1236" y="2208"/>
                    </a:lnTo>
                    <a:lnTo>
                      <a:pt x="1254" y="2220"/>
                    </a:lnTo>
                    <a:lnTo>
                      <a:pt x="1278" y="2220"/>
                    </a:lnTo>
                    <a:lnTo>
                      <a:pt x="1284" y="2226"/>
                    </a:lnTo>
                    <a:lnTo>
                      <a:pt x="1284" y="2250"/>
                    </a:lnTo>
                    <a:lnTo>
                      <a:pt x="1266" y="2262"/>
                    </a:lnTo>
                    <a:lnTo>
                      <a:pt x="1272" y="2262"/>
                    </a:lnTo>
                    <a:lnTo>
                      <a:pt x="1278" y="2268"/>
                    </a:lnTo>
                    <a:lnTo>
                      <a:pt x="1284" y="2268"/>
                    </a:lnTo>
                    <a:lnTo>
                      <a:pt x="1290" y="2274"/>
                    </a:lnTo>
                    <a:lnTo>
                      <a:pt x="1284" y="2280"/>
                    </a:lnTo>
                    <a:lnTo>
                      <a:pt x="1266" y="2280"/>
                    </a:lnTo>
                    <a:lnTo>
                      <a:pt x="1260" y="2286"/>
                    </a:lnTo>
                    <a:lnTo>
                      <a:pt x="1272" y="2298"/>
                    </a:lnTo>
                    <a:lnTo>
                      <a:pt x="1284" y="2304"/>
                    </a:lnTo>
                    <a:lnTo>
                      <a:pt x="1284" y="2316"/>
                    </a:lnTo>
                    <a:lnTo>
                      <a:pt x="1290" y="2328"/>
                    </a:lnTo>
                    <a:lnTo>
                      <a:pt x="1290" y="2334"/>
                    </a:lnTo>
                    <a:lnTo>
                      <a:pt x="1278" y="2346"/>
                    </a:lnTo>
                    <a:lnTo>
                      <a:pt x="1266" y="2346"/>
                    </a:lnTo>
                    <a:lnTo>
                      <a:pt x="1254" y="2352"/>
                    </a:lnTo>
                    <a:lnTo>
                      <a:pt x="1224" y="2352"/>
                    </a:lnTo>
                    <a:lnTo>
                      <a:pt x="1212" y="2364"/>
                    </a:lnTo>
                    <a:lnTo>
                      <a:pt x="1212" y="2370"/>
                    </a:lnTo>
                    <a:lnTo>
                      <a:pt x="1206" y="2376"/>
                    </a:lnTo>
                    <a:lnTo>
                      <a:pt x="1188" y="2376"/>
                    </a:lnTo>
                    <a:lnTo>
                      <a:pt x="1188" y="2412"/>
                    </a:lnTo>
                    <a:lnTo>
                      <a:pt x="1194" y="2412"/>
                    </a:lnTo>
                    <a:lnTo>
                      <a:pt x="1200" y="2406"/>
                    </a:lnTo>
                    <a:lnTo>
                      <a:pt x="1212" y="2406"/>
                    </a:lnTo>
                    <a:lnTo>
                      <a:pt x="1224" y="2400"/>
                    </a:lnTo>
                    <a:lnTo>
                      <a:pt x="1254" y="2400"/>
                    </a:lnTo>
                    <a:lnTo>
                      <a:pt x="1254" y="2412"/>
                    </a:lnTo>
                    <a:lnTo>
                      <a:pt x="1248" y="2418"/>
                    </a:lnTo>
                    <a:lnTo>
                      <a:pt x="1242" y="2430"/>
                    </a:lnTo>
                    <a:lnTo>
                      <a:pt x="1230" y="2436"/>
                    </a:lnTo>
                    <a:lnTo>
                      <a:pt x="1224" y="2442"/>
                    </a:lnTo>
                    <a:lnTo>
                      <a:pt x="1170" y="2454"/>
                    </a:lnTo>
                    <a:lnTo>
                      <a:pt x="1218" y="2490"/>
                    </a:lnTo>
                    <a:lnTo>
                      <a:pt x="1212" y="2490"/>
                    </a:lnTo>
                    <a:lnTo>
                      <a:pt x="1206" y="2496"/>
                    </a:lnTo>
                    <a:lnTo>
                      <a:pt x="1194" y="2496"/>
                    </a:lnTo>
                    <a:lnTo>
                      <a:pt x="1188" y="2502"/>
                    </a:lnTo>
                    <a:lnTo>
                      <a:pt x="1176" y="2526"/>
                    </a:lnTo>
                    <a:lnTo>
                      <a:pt x="1176" y="2544"/>
                    </a:lnTo>
                    <a:lnTo>
                      <a:pt x="1164" y="2550"/>
                    </a:lnTo>
                    <a:lnTo>
                      <a:pt x="1158" y="2556"/>
                    </a:lnTo>
                    <a:lnTo>
                      <a:pt x="1146" y="2556"/>
                    </a:lnTo>
                    <a:lnTo>
                      <a:pt x="1140" y="2550"/>
                    </a:lnTo>
                    <a:lnTo>
                      <a:pt x="1128" y="2544"/>
                    </a:lnTo>
                    <a:lnTo>
                      <a:pt x="1122" y="2538"/>
                    </a:lnTo>
                    <a:lnTo>
                      <a:pt x="1116" y="2556"/>
                    </a:lnTo>
                    <a:lnTo>
                      <a:pt x="1122" y="2562"/>
                    </a:lnTo>
                    <a:lnTo>
                      <a:pt x="1128" y="2574"/>
                    </a:lnTo>
                    <a:lnTo>
                      <a:pt x="1134" y="2580"/>
                    </a:lnTo>
                    <a:lnTo>
                      <a:pt x="1146" y="2580"/>
                    </a:lnTo>
                    <a:lnTo>
                      <a:pt x="1146" y="2586"/>
                    </a:lnTo>
                    <a:lnTo>
                      <a:pt x="1152" y="2598"/>
                    </a:lnTo>
                    <a:lnTo>
                      <a:pt x="1158" y="2604"/>
                    </a:lnTo>
                    <a:lnTo>
                      <a:pt x="1194" y="2604"/>
                    </a:lnTo>
                    <a:lnTo>
                      <a:pt x="1200" y="2610"/>
                    </a:lnTo>
                    <a:lnTo>
                      <a:pt x="1212" y="2616"/>
                    </a:lnTo>
                    <a:lnTo>
                      <a:pt x="1218" y="2628"/>
                    </a:lnTo>
                    <a:lnTo>
                      <a:pt x="1224" y="2634"/>
                    </a:lnTo>
                    <a:lnTo>
                      <a:pt x="1254" y="2634"/>
                    </a:lnTo>
                    <a:lnTo>
                      <a:pt x="1272" y="2652"/>
                    </a:lnTo>
                    <a:lnTo>
                      <a:pt x="1278" y="2664"/>
                    </a:lnTo>
                    <a:lnTo>
                      <a:pt x="1290" y="2670"/>
                    </a:lnTo>
                    <a:lnTo>
                      <a:pt x="1314" y="2694"/>
                    </a:lnTo>
                    <a:lnTo>
                      <a:pt x="1320" y="2694"/>
                    </a:lnTo>
                    <a:lnTo>
                      <a:pt x="1332" y="2700"/>
                    </a:lnTo>
                    <a:lnTo>
                      <a:pt x="1338" y="2700"/>
                    </a:lnTo>
                    <a:lnTo>
                      <a:pt x="1350" y="2706"/>
                    </a:lnTo>
                    <a:lnTo>
                      <a:pt x="1344" y="2706"/>
                    </a:lnTo>
                    <a:lnTo>
                      <a:pt x="1368" y="2688"/>
                    </a:lnTo>
                    <a:lnTo>
                      <a:pt x="1380" y="2688"/>
                    </a:lnTo>
                    <a:lnTo>
                      <a:pt x="1398" y="2694"/>
                    </a:lnTo>
                    <a:lnTo>
                      <a:pt x="1410" y="2700"/>
                    </a:lnTo>
                    <a:lnTo>
                      <a:pt x="1428" y="2706"/>
                    </a:lnTo>
                    <a:lnTo>
                      <a:pt x="1488" y="2718"/>
                    </a:lnTo>
                    <a:lnTo>
                      <a:pt x="1524" y="2718"/>
                    </a:lnTo>
                    <a:lnTo>
                      <a:pt x="1530" y="2724"/>
                    </a:lnTo>
                    <a:lnTo>
                      <a:pt x="1536" y="2724"/>
                    </a:lnTo>
                    <a:lnTo>
                      <a:pt x="1584" y="2754"/>
                    </a:lnTo>
                    <a:lnTo>
                      <a:pt x="1584" y="2760"/>
                    </a:lnTo>
                    <a:lnTo>
                      <a:pt x="1590" y="2760"/>
                    </a:lnTo>
                    <a:lnTo>
                      <a:pt x="1602" y="2766"/>
                    </a:lnTo>
                    <a:lnTo>
                      <a:pt x="1626" y="2766"/>
                    </a:lnTo>
                    <a:lnTo>
                      <a:pt x="1632" y="2760"/>
                    </a:lnTo>
                    <a:lnTo>
                      <a:pt x="1644" y="2760"/>
                    </a:lnTo>
                    <a:lnTo>
                      <a:pt x="1644" y="2754"/>
                    </a:lnTo>
                    <a:lnTo>
                      <a:pt x="1674" y="2754"/>
                    </a:lnTo>
                    <a:lnTo>
                      <a:pt x="1686" y="2760"/>
                    </a:lnTo>
                    <a:lnTo>
                      <a:pt x="1698" y="2772"/>
                    </a:lnTo>
                    <a:lnTo>
                      <a:pt x="1728" y="2778"/>
                    </a:lnTo>
                    <a:lnTo>
                      <a:pt x="1728" y="2790"/>
                    </a:lnTo>
                    <a:lnTo>
                      <a:pt x="1722" y="2796"/>
                    </a:lnTo>
                    <a:lnTo>
                      <a:pt x="1722" y="2802"/>
                    </a:lnTo>
                    <a:lnTo>
                      <a:pt x="1740" y="2802"/>
                    </a:lnTo>
                    <a:lnTo>
                      <a:pt x="1752" y="2814"/>
                    </a:lnTo>
                    <a:lnTo>
                      <a:pt x="1764" y="2820"/>
                    </a:lnTo>
                    <a:lnTo>
                      <a:pt x="1776" y="2832"/>
                    </a:lnTo>
                    <a:lnTo>
                      <a:pt x="1788" y="2826"/>
                    </a:lnTo>
                    <a:lnTo>
                      <a:pt x="1794" y="2826"/>
                    </a:lnTo>
                    <a:lnTo>
                      <a:pt x="1818" y="2838"/>
                    </a:lnTo>
                    <a:lnTo>
                      <a:pt x="1836" y="2856"/>
                    </a:lnTo>
                    <a:lnTo>
                      <a:pt x="1842" y="2868"/>
                    </a:lnTo>
                    <a:lnTo>
                      <a:pt x="1854" y="2874"/>
                    </a:lnTo>
                    <a:lnTo>
                      <a:pt x="1860" y="2880"/>
                    </a:lnTo>
                    <a:lnTo>
                      <a:pt x="1884" y="2880"/>
                    </a:lnTo>
                    <a:lnTo>
                      <a:pt x="1890" y="2874"/>
                    </a:lnTo>
                    <a:lnTo>
                      <a:pt x="1890" y="2862"/>
                    </a:lnTo>
                    <a:lnTo>
                      <a:pt x="1908" y="2862"/>
                    </a:lnTo>
                    <a:lnTo>
                      <a:pt x="1914" y="2856"/>
                    </a:lnTo>
                    <a:lnTo>
                      <a:pt x="1914" y="2826"/>
                    </a:lnTo>
                    <a:lnTo>
                      <a:pt x="1908" y="2820"/>
                    </a:lnTo>
                    <a:lnTo>
                      <a:pt x="1908" y="2814"/>
                    </a:lnTo>
                    <a:lnTo>
                      <a:pt x="1896" y="2802"/>
                    </a:lnTo>
                    <a:lnTo>
                      <a:pt x="1890" y="2790"/>
                    </a:lnTo>
                    <a:lnTo>
                      <a:pt x="1884" y="2784"/>
                    </a:lnTo>
                    <a:lnTo>
                      <a:pt x="1872" y="2778"/>
                    </a:lnTo>
                    <a:lnTo>
                      <a:pt x="1866" y="2772"/>
                    </a:lnTo>
                    <a:lnTo>
                      <a:pt x="1854" y="2772"/>
                    </a:lnTo>
                    <a:lnTo>
                      <a:pt x="1854" y="2748"/>
                    </a:lnTo>
                    <a:lnTo>
                      <a:pt x="1848" y="2742"/>
                    </a:lnTo>
                    <a:lnTo>
                      <a:pt x="1836" y="2736"/>
                    </a:lnTo>
                    <a:lnTo>
                      <a:pt x="1830" y="2724"/>
                    </a:lnTo>
                    <a:lnTo>
                      <a:pt x="1824" y="2718"/>
                    </a:lnTo>
                    <a:lnTo>
                      <a:pt x="1824" y="2706"/>
                    </a:lnTo>
                    <a:lnTo>
                      <a:pt x="1830" y="2694"/>
                    </a:lnTo>
                    <a:lnTo>
                      <a:pt x="1830" y="2682"/>
                    </a:lnTo>
                    <a:lnTo>
                      <a:pt x="1818" y="2658"/>
                    </a:lnTo>
                    <a:lnTo>
                      <a:pt x="1812" y="2652"/>
                    </a:lnTo>
                    <a:lnTo>
                      <a:pt x="1806" y="2640"/>
                    </a:lnTo>
                    <a:lnTo>
                      <a:pt x="1794" y="2634"/>
                    </a:lnTo>
                    <a:lnTo>
                      <a:pt x="1788" y="2628"/>
                    </a:lnTo>
                    <a:lnTo>
                      <a:pt x="1776" y="2628"/>
                    </a:lnTo>
                    <a:lnTo>
                      <a:pt x="1758" y="2622"/>
                    </a:lnTo>
                    <a:lnTo>
                      <a:pt x="1758" y="2604"/>
                    </a:lnTo>
                    <a:lnTo>
                      <a:pt x="1794" y="2568"/>
                    </a:lnTo>
                    <a:lnTo>
                      <a:pt x="1800" y="2556"/>
                    </a:lnTo>
                    <a:lnTo>
                      <a:pt x="1806" y="2550"/>
                    </a:lnTo>
                    <a:lnTo>
                      <a:pt x="1806" y="2544"/>
                    </a:lnTo>
                    <a:lnTo>
                      <a:pt x="1800" y="2532"/>
                    </a:lnTo>
                    <a:lnTo>
                      <a:pt x="1788" y="2520"/>
                    </a:lnTo>
                    <a:lnTo>
                      <a:pt x="1800" y="2520"/>
                    </a:lnTo>
                    <a:lnTo>
                      <a:pt x="1812" y="2526"/>
                    </a:lnTo>
                    <a:lnTo>
                      <a:pt x="1830" y="2526"/>
                    </a:lnTo>
                    <a:lnTo>
                      <a:pt x="1842" y="2514"/>
                    </a:lnTo>
                    <a:lnTo>
                      <a:pt x="1872" y="2514"/>
                    </a:lnTo>
                    <a:lnTo>
                      <a:pt x="1878" y="2508"/>
                    </a:lnTo>
                    <a:lnTo>
                      <a:pt x="1860" y="2490"/>
                    </a:lnTo>
                    <a:lnTo>
                      <a:pt x="1890" y="2490"/>
                    </a:lnTo>
                    <a:lnTo>
                      <a:pt x="1890" y="2472"/>
                    </a:lnTo>
                    <a:lnTo>
                      <a:pt x="1878" y="2472"/>
                    </a:lnTo>
                    <a:lnTo>
                      <a:pt x="1854" y="2460"/>
                    </a:lnTo>
                    <a:lnTo>
                      <a:pt x="1842" y="2448"/>
                    </a:lnTo>
                    <a:lnTo>
                      <a:pt x="1842" y="2442"/>
                    </a:lnTo>
                    <a:lnTo>
                      <a:pt x="1878" y="2442"/>
                    </a:lnTo>
                    <a:lnTo>
                      <a:pt x="1878" y="2430"/>
                    </a:lnTo>
                    <a:lnTo>
                      <a:pt x="1866" y="2418"/>
                    </a:lnTo>
                    <a:lnTo>
                      <a:pt x="1860" y="2406"/>
                    </a:lnTo>
                    <a:lnTo>
                      <a:pt x="1812" y="2358"/>
                    </a:lnTo>
                    <a:lnTo>
                      <a:pt x="1800" y="2358"/>
                    </a:lnTo>
                    <a:lnTo>
                      <a:pt x="1788" y="2364"/>
                    </a:lnTo>
                    <a:lnTo>
                      <a:pt x="1746" y="2364"/>
                    </a:lnTo>
                    <a:lnTo>
                      <a:pt x="1740" y="2358"/>
                    </a:lnTo>
                    <a:lnTo>
                      <a:pt x="1740" y="2328"/>
                    </a:lnTo>
                    <a:lnTo>
                      <a:pt x="1734" y="2322"/>
                    </a:lnTo>
                    <a:lnTo>
                      <a:pt x="1710" y="2322"/>
                    </a:lnTo>
                    <a:lnTo>
                      <a:pt x="1704" y="2316"/>
                    </a:lnTo>
                    <a:lnTo>
                      <a:pt x="1698" y="2316"/>
                    </a:lnTo>
                    <a:lnTo>
                      <a:pt x="1698" y="2286"/>
                    </a:lnTo>
                    <a:lnTo>
                      <a:pt x="1710" y="2262"/>
                    </a:lnTo>
                    <a:lnTo>
                      <a:pt x="1710" y="2238"/>
                    </a:lnTo>
                    <a:lnTo>
                      <a:pt x="1704" y="2232"/>
                    </a:lnTo>
                    <a:lnTo>
                      <a:pt x="1698" y="2196"/>
                    </a:lnTo>
                    <a:lnTo>
                      <a:pt x="1722" y="2196"/>
                    </a:lnTo>
                    <a:lnTo>
                      <a:pt x="1722" y="2172"/>
                    </a:lnTo>
                    <a:lnTo>
                      <a:pt x="1716" y="2166"/>
                    </a:lnTo>
                    <a:lnTo>
                      <a:pt x="1716" y="2154"/>
                    </a:lnTo>
                    <a:lnTo>
                      <a:pt x="1722" y="2148"/>
                    </a:lnTo>
                    <a:lnTo>
                      <a:pt x="1734" y="2148"/>
                    </a:lnTo>
                    <a:lnTo>
                      <a:pt x="1746" y="2154"/>
                    </a:lnTo>
                    <a:lnTo>
                      <a:pt x="1758" y="2166"/>
                    </a:lnTo>
                    <a:lnTo>
                      <a:pt x="1770" y="2172"/>
                    </a:lnTo>
                    <a:lnTo>
                      <a:pt x="1776" y="2184"/>
                    </a:lnTo>
                    <a:lnTo>
                      <a:pt x="1788" y="2190"/>
                    </a:lnTo>
                    <a:lnTo>
                      <a:pt x="1800" y="2190"/>
                    </a:lnTo>
                    <a:lnTo>
                      <a:pt x="1806" y="2184"/>
                    </a:lnTo>
                    <a:lnTo>
                      <a:pt x="1812" y="2172"/>
                    </a:lnTo>
                    <a:lnTo>
                      <a:pt x="1818" y="2166"/>
                    </a:lnTo>
                    <a:lnTo>
                      <a:pt x="1812" y="2154"/>
                    </a:lnTo>
                    <a:lnTo>
                      <a:pt x="1800" y="2142"/>
                    </a:lnTo>
                    <a:lnTo>
                      <a:pt x="1830" y="2130"/>
                    </a:lnTo>
                    <a:lnTo>
                      <a:pt x="1830" y="2106"/>
                    </a:lnTo>
                    <a:lnTo>
                      <a:pt x="1836" y="2106"/>
                    </a:lnTo>
                    <a:lnTo>
                      <a:pt x="1848" y="2100"/>
                    </a:lnTo>
                    <a:lnTo>
                      <a:pt x="1860" y="2100"/>
                    </a:lnTo>
                    <a:lnTo>
                      <a:pt x="1872" y="2094"/>
                    </a:lnTo>
                    <a:lnTo>
                      <a:pt x="1884" y="2082"/>
                    </a:lnTo>
                    <a:lnTo>
                      <a:pt x="1884" y="2064"/>
                    </a:lnTo>
                    <a:lnTo>
                      <a:pt x="1878" y="2058"/>
                    </a:lnTo>
                    <a:lnTo>
                      <a:pt x="1878" y="2052"/>
                    </a:lnTo>
                    <a:lnTo>
                      <a:pt x="1908" y="2052"/>
                    </a:lnTo>
                    <a:lnTo>
                      <a:pt x="1920" y="2058"/>
                    </a:lnTo>
                    <a:lnTo>
                      <a:pt x="1926" y="2058"/>
                    </a:lnTo>
                    <a:lnTo>
                      <a:pt x="1926" y="2064"/>
                    </a:lnTo>
                    <a:lnTo>
                      <a:pt x="1932" y="2070"/>
                    </a:lnTo>
                    <a:lnTo>
                      <a:pt x="1962" y="2070"/>
                    </a:lnTo>
                    <a:lnTo>
                      <a:pt x="1974" y="2058"/>
                    </a:lnTo>
                    <a:lnTo>
                      <a:pt x="1986" y="2052"/>
                    </a:lnTo>
                    <a:lnTo>
                      <a:pt x="2004" y="2052"/>
                    </a:lnTo>
                    <a:lnTo>
                      <a:pt x="2010" y="2058"/>
                    </a:lnTo>
                    <a:lnTo>
                      <a:pt x="2016" y="2070"/>
                    </a:lnTo>
                    <a:lnTo>
                      <a:pt x="2076" y="2070"/>
                    </a:lnTo>
                    <a:lnTo>
                      <a:pt x="2082" y="2076"/>
                    </a:lnTo>
                    <a:lnTo>
                      <a:pt x="2082" y="2082"/>
                    </a:lnTo>
                    <a:lnTo>
                      <a:pt x="2088" y="2094"/>
                    </a:lnTo>
                    <a:lnTo>
                      <a:pt x="2124" y="2094"/>
                    </a:lnTo>
                    <a:lnTo>
                      <a:pt x="2136" y="2124"/>
                    </a:lnTo>
                    <a:lnTo>
                      <a:pt x="2136" y="2130"/>
                    </a:lnTo>
                    <a:lnTo>
                      <a:pt x="2148" y="2142"/>
                    </a:lnTo>
                    <a:lnTo>
                      <a:pt x="2160" y="2142"/>
                    </a:lnTo>
                    <a:lnTo>
                      <a:pt x="2160" y="2124"/>
                    </a:lnTo>
                    <a:lnTo>
                      <a:pt x="2148" y="2112"/>
                    </a:lnTo>
                    <a:lnTo>
                      <a:pt x="2148" y="2106"/>
                    </a:lnTo>
                    <a:lnTo>
                      <a:pt x="2160" y="2106"/>
                    </a:lnTo>
                    <a:lnTo>
                      <a:pt x="2232" y="2142"/>
                    </a:lnTo>
                    <a:lnTo>
                      <a:pt x="2238" y="2136"/>
                    </a:lnTo>
                    <a:lnTo>
                      <a:pt x="2244" y="2124"/>
                    </a:lnTo>
                    <a:lnTo>
                      <a:pt x="2256" y="2118"/>
                    </a:lnTo>
                    <a:lnTo>
                      <a:pt x="2268" y="2106"/>
                    </a:lnTo>
                    <a:lnTo>
                      <a:pt x="2280" y="2100"/>
                    </a:lnTo>
                    <a:lnTo>
                      <a:pt x="2286" y="2100"/>
                    </a:lnTo>
                    <a:lnTo>
                      <a:pt x="2322" y="2118"/>
                    </a:lnTo>
                    <a:lnTo>
                      <a:pt x="2334" y="2118"/>
                    </a:lnTo>
                    <a:lnTo>
                      <a:pt x="2352" y="2112"/>
                    </a:lnTo>
                    <a:lnTo>
                      <a:pt x="2364" y="2106"/>
                    </a:lnTo>
                    <a:lnTo>
                      <a:pt x="2370" y="2100"/>
                    </a:lnTo>
                    <a:lnTo>
                      <a:pt x="2382" y="2100"/>
                    </a:lnTo>
                    <a:lnTo>
                      <a:pt x="2388" y="2106"/>
                    </a:lnTo>
                    <a:lnTo>
                      <a:pt x="2400" y="2112"/>
                    </a:lnTo>
                    <a:lnTo>
                      <a:pt x="2406" y="2124"/>
                    </a:lnTo>
                    <a:lnTo>
                      <a:pt x="2430" y="2136"/>
                    </a:lnTo>
                    <a:lnTo>
                      <a:pt x="2454" y="2136"/>
                    </a:lnTo>
                    <a:lnTo>
                      <a:pt x="2466" y="2142"/>
                    </a:lnTo>
                    <a:lnTo>
                      <a:pt x="2478" y="2142"/>
                    </a:lnTo>
                    <a:lnTo>
                      <a:pt x="2490" y="2118"/>
                    </a:lnTo>
                    <a:lnTo>
                      <a:pt x="2496" y="2124"/>
                    </a:lnTo>
                    <a:lnTo>
                      <a:pt x="2508" y="2124"/>
                    </a:lnTo>
                    <a:lnTo>
                      <a:pt x="2514" y="2130"/>
                    </a:lnTo>
                    <a:lnTo>
                      <a:pt x="2526" y="2136"/>
                    </a:lnTo>
                    <a:lnTo>
                      <a:pt x="2562" y="2136"/>
                    </a:lnTo>
                    <a:lnTo>
                      <a:pt x="2568" y="2130"/>
                    </a:lnTo>
                    <a:lnTo>
                      <a:pt x="2574" y="2118"/>
                    </a:lnTo>
                    <a:lnTo>
                      <a:pt x="2574" y="2106"/>
                    </a:lnTo>
                    <a:lnTo>
                      <a:pt x="2568" y="2088"/>
                    </a:lnTo>
                    <a:lnTo>
                      <a:pt x="2544" y="2064"/>
                    </a:lnTo>
                    <a:lnTo>
                      <a:pt x="2532" y="2058"/>
                    </a:lnTo>
                    <a:lnTo>
                      <a:pt x="2514" y="2052"/>
                    </a:lnTo>
                    <a:lnTo>
                      <a:pt x="2490" y="2052"/>
                    </a:lnTo>
                    <a:lnTo>
                      <a:pt x="2460" y="2022"/>
                    </a:lnTo>
                    <a:lnTo>
                      <a:pt x="2472" y="2022"/>
                    </a:lnTo>
                    <a:lnTo>
                      <a:pt x="2484" y="2016"/>
                    </a:lnTo>
                    <a:lnTo>
                      <a:pt x="2496" y="2016"/>
                    </a:lnTo>
                    <a:lnTo>
                      <a:pt x="2508" y="2004"/>
                    </a:lnTo>
                    <a:lnTo>
                      <a:pt x="2508" y="1992"/>
                    </a:lnTo>
                    <a:lnTo>
                      <a:pt x="2502" y="1986"/>
                    </a:lnTo>
                    <a:lnTo>
                      <a:pt x="2496" y="1974"/>
                    </a:lnTo>
                    <a:lnTo>
                      <a:pt x="2490" y="1968"/>
                    </a:lnTo>
                    <a:lnTo>
                      <a:pt x="2502" y="1956"/>
                    </a:lnTo>
                    <a:lnTo>
                      <a:pt x="2556" y="1956"/>
                    </a:lnTo>
                    <a:lnTo>
                      <a:pt x="2544" y="1944"/>
                    </a:lnTo>
                    <a:lnTo>
                      <a:pt x="2532" y="1944"/>
                    </a:lnTo>
                    <a:lnTo>
                      <a:pt x="2508" y="1932"/>
                    </a:lnTo>
                    <a:lnTo>
                      <a:pt x="2496" y="1932"/>
                    </a:lnTo>
                    <a:lnTo>
                      <a:pt x="2508" y="1914"/>
                    </a:lnTo>
                    <a:lnTo>
                      <a:pt x="2484" y="1914"/>
                    </a:lnTo>
                    <a:lnTo>
                      <a:pt x="2484" y="1908"/>
                    </a:lnTo>
                    <a:lnTo>
                      <a:pt x="2478" y="1902"/>
                    </a:lnTo>
                    <a:lnTo>
                      <a:pt x="2478" y="1896"/>
                    </a:lnTo>
                    <a:lnTo>
                      <a:pt x="2490" y="1884"/>
                    </a:lnTo>
                    <a:lnTo>
                      <a:pt x="2526" y="1872"/>
                    </a:lnTo>
                    <a:lnTo>
                      <a:pt x="2586" y="1866"/>
                    </a:lnTo>
                    <a:lnTo>
                      <a:pt x="2640" y="1866"/>
                    </a:lnTo>
                    <a:lnTo>
                      <a:pt x="2646" y="1848"/>
                    </a:lnTo>
                    <a:lnTo>
                      <a:pt x="2712" y="1848"/>
                    </a:lnTo>
                    <a:lnTo>
                      <a:pt x="2712" y="1830"/>
                    </a:lnTo>
                    <a:lnTo>
                      <a:pt x="2718" y="1824"/>
                    </a:lnTo>
                    <a:lnTo>
                      <a:pt x="2808" y="1824"/>
                    </a:lnTo>
                    <a:lnTo>
                      <a:pt x="2862" y="1806"/>
                    </a:lnTo>
                    <a:lnTo>
                      <a:pt x="2874" y="1806"/>
                    </a:lnTo>
                    <a:lnTo>
                      <a:pt x="2874" y="1794"/>
                    </a:lnTo>
                    <a:lnTo>
                      <a:pt x="2886" y="1782"/>
                    </a:lnTo>
                    <a:lnTo>
                      <a:pt x="2898" y="1776"/>
                    </a:lnTo>
                    <a:lnTo>
                      <a:pt x="2916" y="1770"/>
                    </a:lnTo>
                    <a:lnTo>
                      <a:pt x="2940" y="1770"/>
                    </a:lnTo>
                    <a:lnTo>
                      <a:pt x="2958" y="1776"/>
                    </a:lnTo>
                    <a:lnTo>
                      <a:pt x="2976" y="1776"/>
                    </a:lnTo>
                    <a:lnTo>
                      <a:pt x="2988" y="1788"/>
                    </a:lnTo>
                    <a:lnTo>
                      <a:pt x="3000" y="1788"/>
                    </a:lnTo>
                    <a:lnTo>
                      <a:pt x="3012" y="1776"/>
                    </a:lnTo>
                    <a:lnTo>
                      <a:pt x="3018" y="1776"/>
                    </a:lnTo>
                    <a:lnTo>
                      <a:pt x="3036" y="1794"/>
                    </a:lnTo>
                    <a:lnTo>
                      <a:pt x="3042" y="1806"/>
                    </a:lnTo>
                    <a:lnTo>
                      <a:pt x="3048" y="1812"/>
                    </a:lnTo>
                    <a:lnTo>
                      <a:pt x="3060" y="1812"/>
                    </a:lnTo>
                    <a:lnTo>
                      <a:pt x="3066" y="1818"/>
                    </a:lnTo>
                    <a:lnTo>
                      <a:pt x="3066" y="1860"/>
                    </a:lnTo>
                    <a:lnTo>
                      <a:pt x="3072" y="1866"/>
                    </a:lnTo>
                    <a:lnTo>
                      <a:pt x="3090" y="1866"/>
                    </a:lnTo>
                    <a:lnTo>
                      <a:pt x="3102" y="1860"/>
                    </a:lnTo>
                    <a:lnTo>
                      <a:pt x="3120" y="1860"/>
                    </a:lnTo>
                    <a:lnTo>
                      <a:pt x="3132" y="1842"/>
                    </a:lnTo>
                    <a:lnTo>
                      <a:pt x="3156" y="1878"/>
                    </a:lnTo>
                    <a:lnTo>
                      <a:pt x="3180" y="1866"/>
                    </a:lnTo>
                    <a:lnTo>
                      <a:pt x="3204" y="1878"/>
                    </a:lnTo>
                    <a:lnTo>
                      <a:pt x="3210" y="1872"/>
                    </a:lnTo>
                    <a:lnTo>
                      <a:pt x="3216" y="1872"/>
                    </a:lnTo>
                    <a:lnTo>
                      <a:pt x="3228" y="1878"/>
                    </a:lnTo>
                    <a:lnTo>
                      <a:pt x="3228" y="1902"/>
                    </a:lnTo>
                    <a:lnTo>
                      <a:pt x="3222" y="1908"/>
                    </a:lnTo>
                    <a:lnTo>
                      <a:pt x="3222" y="1914"/>
                    </a:lnTo>
                    <a:lnTo>
                      <a:pt x="3228" y="1914"/>
                    </a:lnTo>
                    <a:lnTo>
                      <a:pt x="3234" y="1908"/>
                    </a:lnTo>
                    <a:lnTo>
                      <a:pt x="3240" y="1908"/>
                    </a:lnTo>
                    <a:lnTo>
                      <a:pt x="3246" y="1902"/>
                    </a:lnTo>
                    <a:lnTo>
                      <a:pt x="3252" y="1902"/>
                    </a:lnTo>
                    <a:lnTo>
                      <a:pt x="3258" y="1908"/>
                    </a:lnTo>
                    <a:lnTo>
                      <a:pt x="3270" y="1914"/>
                    </a:lnTo>
                    <a:lnTo>
                      <a:pt x="3276" y="1920"/>
                    </a:lnTo>
                    <a:lnTo>
                      <a:pt x="3288" y="1926"/>
                    </a:lnTo>
                    <a:lnTo>
                      <a:pt x="3300" y="1914"/>
                    </a:lnTo>
                    <a:lnTo>
                      <a:pt x="3300" y="1896"/>
                    </a:lnTo>
                    <a:lnTo>
                      <a:pt x="3306" y="1890"/>
                    </a:lnTo>
                    <a:lnTo>
                      <a:pt x="3318" y="1884"/>
                    </a:lnTo>
                    <a:lnTo>
                      <a:pt x="3330" y="1884"/>
                    </a:lnTo>
                    <a:lnTo>
                      <a:pt x="3342" y="1866"/>
                    </a:lnTo>
                    <a:lnTo>
                      <a:pt x="3378" y="1854"/>
                    </a:lnTo>
                    <a:lnTo>
                      <a:pt x="3396" y="1836"/>
                    </a:lnTo>
                    <a:lnTo>
                      <a:pt x="3402" y="1836"/>
                    </a:lnTo>
                    <a:lnTo>
                      <a:pt x="3408" y="1842"/>
                    </a:lnTo>
                    <a:lnTo>
                      <a:pt x="3408" y="1860"/>
                    </a:lnTo>
                    <a:lnTo>
                      <a:pt x="3396" y="1872"/>
                    </a:lnTo>
                    <a:lnTo>
                      <a:pt x="3390" y="1872"/>
                    </a:lnTo>
                    <a:lnTo>
                      <a:pt x="3426" y="1890"/>
                    </a:lnTo>
                    <a:lnTo>
                      <a:pt x="3456" y="1902"/>
                    </a:lnTo>
                    <a:lnTo>
                      <a:pt x="3486" y="1920"/>
                    </a:lnTo>
                    <a:lnTo>
                      <a:pt x="3498" y="1926"/>
                    </a:lnTo>
                    <a:lnTo>
                      <a:pt x="3516" y="1938"/>
                    </a:lnTo>
                    <a:lnTo>
                      <a:pt x="3546" y="1968"/>
                    </a:lnTo>
                    <a:lnTo>
                      <a:pt x="3618" y="2028"/>
                    </a:lnTo>
                    <a:lnTo>
                      <a:pt x="3636" y="2052"/>
                    </a:lnTo>
                    <a:lnTo>
                      <a:pt x="3672" y="2088"/>
                    </a:lnTo>
                    <a:lnTo>
                      <a:pt x="3684" y="2106"/>
                    </a:lnTo>
                    <a:lnTo>
                      <a:pt x="3696" y="2118"/>
                    </a:lnTo>
                    <a:lnTo>
                      <a:pt x="3708" y="2124"/>
                    </a:lnTo>
                    <a:lnTo>
                      <a:pt x="3720" y="2124"/>
                    </a:lnTo>
                    <a:lnTo>
                      <a:pt x="3732" y="2118"/>
                    </a:lnTo>
                    <a:lnTo>
                      <a:pt x="3744" y="2106"/>
                    </a:lnTo>
                    <a:lnTo>
                      <a:pt x="3744" y="2094"/>
                    </a:lnTo>
                    <a:lnTo>
                      <a:pt x="3750" y="2088"/>
                    </a:lnTo>
                    <a:lnTo>
                      <a:pt x="3750" y="2082"/>
                    </a:lnTo>
                    <a:lnTo>
                      <a:pt x="3762" y="2082"/>
                    </a:lnTo>
                    <a:lnTo>
                      <a:pt x="3768" y="2088"/>
                    </a:lnTo>
                    <a:lnTo>
                      <a:pt x="3768" y="2100"/>
                    </a:lnTo>
                    <a:lnTo>
                      <a:pt x="3774" y="2106"/>
                    </a:lnTo>
                    <a:lnTo>
                      <a:pt x="3774" y="2112"/>
                    </a:lnTo>
                    <a:lnTo>
                      <a:pt x="3804" y="2112"/>
                    </a:lnTo>
                    <a:lnTo>
                      <a:pt x="3816" y="2118"/>
                    </a:lnTo>
                    <a:lnTo>
                      <a:pt x="3822" y="2130"/>
                    </a:lnTo>
                    <a:lnTo>
                      <a:pt x="3834" y="2136"/>
                    </a:lnTo>
                    <a:lnTo>
                      <a:pt x="3858" y="2136"/>
                    </a:lnTo>
                    <a:lnTo>
                      <a:pt x="3864" y="2124"/>
                    </a:lnTo>
                    <a:lnTo>
                      <a:pt x="3876" y="2118"/>
                    </a:lnTo>
                    <a:lnTo>
                      <a:pt x="3894" y="2112"/>
                    </a:lnTo>
                    <a:lnTo>
                      <a:pt x="3906" y="2106"/>
                    </a:lnTo>
                    <a:lnTo>
                      <a:pt x="3924" y="2106"/>
                    </a:lnTo>
                    <a:lnTo>
                      <a:pt x="3948" y="2118"/>
                    </a:lnTo>
                    <a:lnTo>
                      <a:pt x="3972" y="2142"/>
                    </a:lnTo>
                    <a:lnTo>
                      <a:pt x="3984" y="2148"/>
                    </a:lnTo>
                    <a:lnTo>
                      <a:pt x="3990" y="2160"/>
                    </a:lnTo>
                    <a:lnTo>
                      <a:pt x="4002" y="2160"/>
                    </a:lnTo>
                    <a:lnTo>
                      <a:pt x="4014" y="2166"/>
                    </a:lnTo>
                    <a:lnTo>
                      <a:pt x="4026" y="2166"/>
                    </a:lnTo>
                    <a:lnTo>
                      <a:pt x="4038" y="2172"/>
                    </a:lnTo>
                    <a:lnTo>
                      <a:pt x="4044" y="2172"/>
                    </a:lnTo>
                    <a:lnTo>
                      <a:pt x="4044" y="2178"/>
                    </a:lnTo>
                    <a:lnTo>
                      <a:pt x="4050" y="2190"/>
                    </a:lnTo>
                    <a:lnTo>
                      <a:pt x="4056" y="2196"/>
                    </a:lnTo>
                    <a:lnTo>
                      <a:pt x="4062" y="2208"/>
                    </a:lnTo>
                    <a:lnTo>
                      <a:pt x="4068" y="2214"/>
                    </a:lnTo>
                    <a:lnTo>
                      <a:pt x="4068" y="2220"/>
                    </a:lnTo>
                    <a:lnTo>
                      <a:pt x="4140" y="2226"/>
                    </a:lnTo>
                    <a:lnTo>
                      <a:pt x="4152" y="2190"/>
                    </a:lnTo>
                    <a:lnTo>
                      <a:pt x="4176" y="2214"/>
                    </a:lnTo>
                    <a:lnTo>
                      <a:pt x="4212" y="2256"/>
                    </a:lnTo>
                    <a:lnTo>
                      <a:pt x="4254" y="2256"/>
                    </a:lnTo>
                    <a:lnTo>
                      <a:pt x="4266" y="2244"/>
                    </a:lnTo>
                    <a:lnTo>
                      <a:pt x="4266" y="2226"/>
                    </a:lnTo>
                    <a:lnTo>
                      <a:pt x="4326" y="2226"/>
                    </a:lnTo>
                    <a:lnTo>
                      <a:pt x="4320" y="2214"/>
                    </a:lnTo>
                    <a:lnTo>
                      <a:pt x="4344" y="2214"/>
                    </a:lnTo>
                    <a:lnTo>
                      <a:pt x="4338" y="2208"/>
                    </a:lnTo>
                    <a:lnTo>
                      <a:pt x="4338" y="2202"/>
                    </a:lnTo>
                    <a:lnTo>
                      <a:pt x="4374" y="2166"/>
                    </a:lnTo>
                    <a:lnTo>
                      <a:pt x="4392" y="2166"/>
                    </a:lnTo>
                    <a:lnTo>
                      <a:pt x="4404" y="2148"/>
                    </a:lnTo>
                    <a:lnTo>
                      <a:pt x="4428" y="2148"/>
                    </a:lnTo>
                    <a:lnTo>
                      <a:pt x="4428" y="2142"/>
                    </a:lnTo>
                    <a:lnTo>
                      <a:pt x="4434" y="2136"/>
                    </a:lnTo>
                    <a:lnTo>
                      <a:pt x="4434" y="2130"/>
                    </a:lnTo>
                    <a:lnTo>
                      <a:pt x="4440" y="2124"/>
                    </a:lnTo>
                    <a:lnTo>
                      <a:pt x="4458" y="2124"/>
                    </a:lnTo>
                    <a:lnTo>
                      <a:pt x="4464" y="2130"/>
                    </a:lnTo>
                    <a:lnTo>
                      <a:pt x="4482" y="2124"/>
                    </a:lnTo>
                    <a:lnTo>
                      <a:pt x="4482" y="2130"/>
                    </a:lnTo>
                    <a:lnTo>
                      <a:pt x="4518" y="2130"/>
                    </a:lnTo>
                    <a:lnTo>
                      <a:pt x="4524" y="2148"/>
                    </a:lnTo>
                    <a:lnTo>
                      <a:pt x="4548" y="2148"/>
                    </a:lnTo>
                    <a:lnTo>
                      <a:pt x="4566" y="2142"/>
                    </a:lnTo>
                    <a:lnTo>
                      <a:pt x="4608" y="2142"/>
                    </a:lnTo>
                    <a:lnTo>
                      <a:pt x="4608" y="2148"/>
                    </a:lnTo>
                    <a:lnTo>
                      <a:pt x="4614" y="2154"/>
                    </a:lnTo>
                    <a:lnTo>
                      <a:pt x="4614" y="2166"/>
                    </a:lnTo>
                    <a:lnTo>
                      <a:pt x="4620" y="2172"/>
                    </a:lnTo>
                    <a:lnTo>
                      <a:pt x="4638" y="2178"/>
                    </a:lnTo>
                    <a:lnTo>
                      <a:pt x="4668" y="2178"/>
                    </a:lnTo>
                    <a:lnTo>
                      <a:pt x="4674" y="2190"/>
                    </a:lnTo>
                    <a:lnTo>
                      <a:pt x="4698" y="2184"/>
                    </a:lnTo>
                    <a:lnTo>
                      <a:pt x="4704" y="2196"/>
                    </a:lnTo>
                    <a:lnTo>
                      <a:pt x="4704" y="2190"/>
                    </a:lnTo>
                    <a:lnTo>
                      <a:pt x="4710" y="2184"/>
                    </a:lnTo>
                    <a:lnTo>
                      <a:pt x="4752" y="2184"/>
                    </a:lnTo>
                    <a:lnTo>
                      <a:pt x="4752" y="2196"/>
                    </a:lnTo>
                    <a:lnTo>
                      <a:pt x="4800" y="2190"/>
                    </a:lnTo>
                    <a:lnTo>
                      <a:pt x="4800" y="2202"/>
                    </a:lnTo>
                    <a:lnTo>
                      <a:pt x="4806" y="2208"/>
                    </a:lnTo>
                    <a:lnTo>
                      <a:pt x="4830" y="2196"/>
                    </a:lnTo>
                    <a:lnTo>
                      <a:pt x="4836" y="2190"/>
                    </a:lnTo>
                    <a:lnTo>
                      <a:pt x="4836" y="2184"/>
                    </a:lnTo>
                    <a:lnTo>
                      <a:pt x="4854" y="2184"/>
                    </a:lnTo>
                    <a:lnTo>
                      <a:pt x="4854" y="2160"/>
                    </a:lnTo>
                    <a:lnTo>
                      <a:pt x="4848" y="2148"/>
                    </a:lnTo>
                    <a:lnTo>
                      <a:pt x="4842" y="2142"/>
                    </a:lnTo>
                    <a:lnTo>
                      <a:pt x="4836" y="2142"/>
                    </a:lnTo>
                    <a:lnTo>
                      <a:pt x="4812" y="2106"/>
                    </a:lnTo>
                    <a:lnTo>
                      <a:pt x="4806" y="2088"/>
                    </a:lnTo>
                    <a:lnTo>
                      <a:pt x="4794" y="2076"/>
                    </a:lnTo>
                    <a:lnTo>
                      <a:pt x="4794" y="2064"/>
                    </a:lnTo>
                    <a:lnTo>
                      <a:pt x="4812" y="2064"/>
                    </a:lnTo>
                    <a:lnTo>
                      <a:pt x="4806" y="2052"/>
                    </a:lnTo>
                    <a:lnTo>
                      <a:pt x="4812" y="2052"/>
                    </a:lnTo>
                    <a:lnTo>
                      <a:pt x="4824" y="2046"/>
                    </a:lnTo>
                    <a:lnTo>
                      <a:pt x="4830" y="2034"/>
                    </a:lnTo>
                    <a:lnTo>
                      <a:pt x="4830" y="2016"/>
                    </a:lnTo>
                    <a:lnTo>
                      <a:pt x="4890" y="2046"/>
                    </a:lnTo>
                    <a:lnTo>
                      <a:pt x="4902" y="2046"/>
                    </a:lnTo>
                    <a:lnTo>
                      <a:pt x="4926" y="2052"/>
                    </a:lnTo>
                    <a:lnTo>
                      <a:pt x="4962" y="2052"/>
                    </a:lnTo>
                    <a:lnTo>
                      <a:pt x="4974" y="2058"/>
                    </a:lnTo>
                    <a:lnTo>
                      <a:pt x="4980" y="2064"/>
                    </a:lnTo>
                    <a:lnTo>
                      <a:pt x="5004" y="2076"/>
                    </a:lnTo>
                    <a:lnTo>
                      <a:pt x="5010" y="2076"/>
                    </a:lnTo>
                    <a:lnTo>
                      <a:pt x="5022" y="2070"/>
                    </a:lnTo>
                    <a:lnTo>
                      <a:pt x="5040" y="2070"/>
                    </a:lnTo>
                    <a:lnTo>
                      <a:pt x="5052" y="2076"/>
                    </a:lnTo>
                    <a:lnTo>
                      <a:pt x="5058" y="2082"/>
                    </a:lnTo>
                    <a:lnTo>
                      <a:pt x="5064" y="2094"/>
                    </a:lnTo>
                    <a:lnTo>
                      <a:pt x="5076" y="2106"/>
                    </a:lnTo>
                    <a:lnTo>
                      <a:pt x="5088" y="2130"/>
                    </a:lnTo>
                    <a:lnTo>
                      <a:pt x="5094" y="2136"/>
                    </a:lnTo>
                    <a:lnTo>
                      <a:pt x="5094" y="2142"/>
                    </a:lnTo>
                    <a:lnTo>
                      <a:pt x="5118" y="2136"/>
                    </a:lnTo>
                    <a:lnTo>
                      <a:pt x="5118" y="2142"/>
                    </a:lnTo>
                    <a:lnTo>
                      <a:pt x="5136" y="2160"/>
                    </a:lnTo>
                    <a:lnTo>
                      <a:pt x="5166" y="2160"/>
                    </a:lnTo>
                    <a:lnTo>
                      <a:pt x="5172" y="2166"/>
                    </a:lnTo>
                    <a:lnTo>
                      <a:pt x="5184" y="2166"/>
                    </a:lnTo>
                    <a:lnTo>
                      <a:pt x="5196" y="2172"/>
                    </a:lnTo>
                    <a:lnTo>
                      <a:pt x="5208" y="2172"/>
                    </a:lnTo>
                    <a:lnTo>
                      <a:pt x="5220" y="2166"/>
                    </a:lnTo>
                    <a:lnTo>
                      <a:pt x="5274" y="2148"/>
                    </a:lnTo>
                    <a:lnTo>
                      <a:pt x="5322" y="2148"/>
                    </a:lnTo>
                    <a:lnTo>
                      <a:pt x="5334" y="2154"/>
                    </a:lnTo>
                    <a:lnTo>
                      <a:pt x="5340" y="2154"/>
                    </a:lnTo>
                    <a:lnTo>
                      <a:pt x="5346" y="2160"/>
                    </a:lnTo>
                    <a:lnTo>
                      <a:pt x="5382" y="2160"/>
                    </a:lnTo>
                    <a:lnTo>
                      <a:pt x="5406" y="2184"/>
                    </a:lnTo>
                    <a:lnTo>
                      <a:pt x="5466" y="2184"/>
                    </a:lnTo>
                    <a:lnTo>
                      <a:pt x="5472" y="2190"/>
                    </a:lnTo>
                    <a:lnTo>
                      <a:pt x="5472" y="2196"/>
                    </a:lnTo>
                    <a:lnTo>
                      <a:pt x="5484" y="2208"/>
                    </a:lnTo>
                    <a:lnTo>
                      <a:pt x="5484" y="2214"/>
                    </a:lnTo>
                    <a:lnTo>
                      <a:pt x="5502" y="2214"/>
                    </a:lnTo>
                    <a:lnTo>
                      <a:pt x="5514" y="2220"/>
                    </a:lnTo>
                    <a:lnTo>
                      <a:pt x="5514" y="2232"/>
                    </a:lnTo>
                    <a:lnTo>
                      <a:pt x="5520" y="2238"/>
                    </a:lnTo>
                    <a:lnTo>
                      <a:pt x="5586" y="2238"/>
                    </a:lnTo>
                    <a:lnTo>
                      <a:pt x="5592" y="2244"/>
                    </a:lnTo>
                    <a:lnTo>
                      <a:pt x="5598" y="2244"/>
                    </a:lnTo>
                    <a:lnTo>
                      <a:pt x="5610" y="2250"/>
                    </a:lnTo>
                    <a:lnTo>
                      <a:pt x="5634" y="2250"/>
                    </a:lnTo>
                    <a:lnTo>
                      <a:pt x="5646" y="2244"/>
                    </a:lnTo>
                    <a:lnTo>
                      <a:pt x="5664" y="2244"/>
                    </a:lnTo>
                    <a:lnTo>
                      <a:pt x="5670" y="2250"/>
                    </a:lnTo>
                    <a:lnTo>
                      <a:pt x="5670" y="2256"/>
                    </a:lnTo>
                    <a:lnTo>
                      <a:pt x="5676" y="2256"/>
                    </a:lnTo>
                    <a:lnTo>
                      <a:pt x="5694" y="2238"/>
                    </a:lnTo>
                    <a:lnTo>
                      <a:pt x="5694" y="2232"/>
                    </a:lnTo>
                    <a:lnTo>
                      <a:pt x="5742" y="2232"/>
                    </a:lnTo>
                    <a:lnTo>
                      <a:pt x="5754" y="2220"/>
                    </a:lnTo>
                    <a:lnTo>
                      <a:pt x="5790" y="2220"/>
                    </a:lnTo>
                    <a:lnTo>
                      <a:pt x="5802" y="2208"/>
                    </a:lnTo>
                    <a:lnTo>
                      <a:pt x="5802" y="2196"/>
                    </a:lnTo>
                    <a:lnTo>
                      <a:pt x="5832" y="2166"/>
                    </a:lnTo>
                    <a:lnTo>
                      <a:pt x="5850" y="2166"/>
                    </a:lnTo>
                    <a:lnTo>
                      <a:pt x="5862" y="2172"/>
                    </a:lnTo>
                    <a:lnTo>
                      <a:pt x="5898" y="2172"/>
                    </a:lnTo>
                    <a:lnTo>
                      <a:pt x="5916" y="2190"/>
                    </a:lnTo>
                    <a:lnTo>
                      <a:pt x="5928" y="2196"/>
                    </a:lnTo>
                    <a:lnTo>
                      <a:pt x="5952" y="2196"/>
                    </a:lnTo>
                    <a:lnTo>
                      <a:pt x="5964" y="2190"/>
                    </a:lnTo>
                    <a:lnTo>
                      <a:pt x="5970" y="2184"/>
                    </a:lnTo>
                    <a:lnTo>
                      <a:pt x="5994" y="2190"/>
                    </a:lnTo>
                    <a:lnTo>
                      <a:pt x="6012" y="2190"/>
                    </a:lnTo>
                    <a:lnTo>
                      <a:pt x="6048" y="2214"/>
                    </a:lnTo>
                    <a:lnTo>
                      <a:pt x="6084" y="2214"/>
                    </a:lnTo>
                    <a:lnTo>
                      <a:pt x="6090" y="2220"/>
                    </a:lnTo>
                    <a:lnTo>
                      <a:pt x="6102" y="2220"/>
                    </a:lnTo>
                    <a:lnTo>
                      <a:pt x="6120" y="2202"/>
                    </a:lnTo>
                    <a:lnTo>
                      <a:pt x="6120" y="2190"/>
                    </a:lnTo>
                    <a:lnTo>
                      <a:pt x="6144" y="2190"/>
                    </a:lnTo>
                    <a:lnTo>
                      <a:pt x="6156" y="2184"/>
                    </a:lnTo>
                    <a:lnTo>
                      <a:pt x="6162" y="2178"/>
                    </a:lnTo>
                    <a:lnTo>
                      <a:pt x="6162" y="2166"/>
                    </a:lnTo>
                    <a:lnTo>
                      <a:pt x="6150" y="2166"/>
                    </a:lnTo>
                    <a:lnTo>
                      <a:pt x="6144" y="2160"/>
                    </a:lnTo>
                    <a:lnTo>
                      <a:pt x="6138" y="2118"/>
                    </a:lnTo>
                    <a:lnTo>
                      <a:pt x="6138" y="2046"/>
                    </a:lnTo>
                    <a:lnTo>
                      <a:pt x="6156" y="2028"/>
                    </a:lnTo>
                    <a:lnTo>
                      <a:pt x="6156" y="2016"/>
                    </a:lnTo>
                    <a:lnTo>
                      <a:pt x="6150" y="2010"/>
                    </a:lnTo>
                    <a:lnTo>
                      <a:pt x="6138" y="2004"/>
                    </a:lnTo>
                    <a:lnTo>
                      <a:pt x="6126" y="1992"/>
                    </a:lnTo>
                    <a:lnTo>
                      <a:pt x="6114" y="1992"/>
                    </a:lnTo>
                    <a:lnTo>
                      <a:pt x="6108" y="1986"/>
                    </a:lnTo>
                    <a:lnTo>
                      <a:pt x="6096" y="1986"/>
                    </a:lnTo>
                    <a:lnTo>
                      <a:pt x="6078" y="1980"/>
                    </a:lnTo>
                    <a:lnTo>
                      <a:pt x="6072" y="1980"/>
                    </a:lnTo>
                    <a:lnTo>
                      <a:pt x="6072" y="1968"/>
                    </a:lnTo>
                    <a:lnTo>
                      <a:pt x="6078" y="1968"/>
                    </a:lnTo>
                    <a:lnTo>
                      <a:pt x="6120" y="1926"/>
                    </a:lnTo>
                    <a:lnTo>
                      <a:pt x="6156" y="1920"/>
                    </a:lnTo>
                    <a:lnTo>
                      <a:pt x="6162" y="1908"/>
                    </a:lnTo>
                    <a:lnTo>
                      <a:pt x="6204" y="1914"/>
                    </a:lnTo>
                    <a:lnTo>
                      <a:pt x="6258" y="1902"/>
                    </a:lnTo>
                    <a:lnTo>
                      <a:pt x="6294" y="1920"/>
                    </a:lnTo>
                    <a:lnTo>
                      <a:pt x="6330" y="1944"/>
                    </a:lnTo>
                    <a:lnTo>
                      <a:pt x="6402" y="1944"/>
                    </a:lnTo>
                    <a:lnTo>
                      <a:pt x="6408" y="1950"/>
                    </a:lnTo>
                    <a:lnTo>
                      <a:pt x="6420" y="1956"/>
                    </a:lnTo>
                    <a:lnTo>
                      <a:pt x="6426" y="1962"/>
                    </a:lnTo>
                    <a:lnTo>
                      <a:pt x="6438" y="1968"/>
                    </a:lnTo>
                    <a:lnTo>
                      <a:pt x="6438" y="1980"/>
                    </a:lnTo>
                    <a:lnTo>
                      <a:pt x="6444" y="1980"/>
                    </a:lnTo>
                    <a:lnTo>
                      <a:pt x="6456" y="1992"/>
                    </a:lnTo>
                    <a:lnTo>
                      <a:pt x="6468" y="1998"/>
                    </a:lnTo>
                    <a:lnTo>
                      <a:pt x="6480" y="2010"/>
                    </a:lnTo>
                    <a:lnTo>
                      <a:pt x="6492" y="2010"/>
                    </a:lnTo>
                    <a:lnTo>
                      <a:pt x="6498" y="2016"/>
                    </a:lnTo>
                    <a:lnTo>
                      <a:pt x="6504" y="2016"/>
                    </a:lnTo>
                    <a:lnTo>
                      <a:pt x="6510" y="2046"/>
                    </a:lnTo>
                    <a:lnTo>
                      <a:pt x="6558" y="2070"/>
                    </a:lnTo>
                    <a:lnTo>
                      <a:pt x="6570" y="2100"/>
                    </a:lnTo>
                    <a:lnTo>
                      <a:pt x="6582" y="2100"/>
                    </a:lnTo>
                    <a:lnTo>
                      <a:pt x="6630" y="2124"/>
                    </a:lnTo>
                    <a:lnTo>
                      <a:pt x="6636" y="2136"/>
                    </a:lnTo>
                    <a:lnTo>
                      <a:pt x="6654" y="2154"/>
                    </a:lnTo>
                    <a:lnTo>
                      <a:pt x="6660" y="2166"/>
                    </a:lnTo>
                    <a:lnTo>
                      <a:pt x="6672" y="2166"/>
                    </a:lnTo>
                    <a:lnTo>
                      <a:pt x="6678" y="2190"/>
                    </a:lnTo>
                    <a:lnTo>
                      <a:pt x="6684" y="2190"/>
                    </a:lnTo>
                    <a:lnTo>
                      <a:pt x="6690" y="2196"/>
                    </a:lnTo>
                    <a:lnTo>
                      <a:pt x="6714" y="2208"/>
                    </a:lnTo>
                    <a:lnTo>
                      <a:pt x="6720" y="2214"/>
                    </a:lnTo>
                    <a:lnTo>
                      <a:pt x="6732" y="2220"/>
                    </a:lnTo>
                    <a:lnTo>
                      <a:pt x="6780" y="2220"/>
                    </a:lnTo>
                    <a:lnTo>
                      <a:pt x="6792" y="2226"/>
                    </a:lnTo>
                    <a:lnTo>
                      <a:pt x="6798" y="2232"/>
                    </a:lnTo>
                    <a:lnTo>
                      <a:pt x="6810" y="2238"/>
                    </a:lnTo>
                    <a:lnTo>
                      <a:pt x="6822" y="2226"/>
                    </a:lnTo>
                    <a:lnTo>
                      <a:pt x="6834" y="2226"/>
                    </a:lnTo>
                    <a:lnTo>
                      <a:pt x="6852" y="2244"/>
                    </a:lnTo>
                    <a:lnTo>
                      <a:pt x="6864" y="2250"/>
                    </a:lnTo>
                    <a:lnTo>
                      <a:pt x="6882" y="2268"/>
                    </a:lnTo>
                    <a:lnTo>
                      <a:pt x="6924" y="2268"/>
                    </a:lnTo>
                    <a:lnTo>
                      <a:pt x="6942" y="2298"/>
                    </a:lnTo>
                    <a:lnTo>
                      <a:pt x="6960" y="2298"/>
                    </a:lnTo>
                    <a:lnTo>
                      <a:pt x="6966" y="2304"/>
                    </a:lnTo>
                    <a:lnTo>
                      <a:pt x="6966" y="2310"/>
                    </a:lnTo>
                    <a:lnTo>
                      <a:pt x="6972" y="2322"/>
                    </a:lnTo>
                    <a:lnTo>
                      <a:pt x="6972" y="2334"/>
                    </a:lnTo>
                    <a:lnTo>
                      <a:pt x="7014" y="2364"/>
                    </a:lnTo>
                    <a:lnTo>
                      <a:pt x="7038" y="2358"/>
                    </a:lnTo>
                    <a:lnTo>
                      <a:pt x="7050" y="2370"/>
                    </a:lnTo>
                    <a:lnTo>
                      <a:pt x="7068" y="2370"/>
                    </a:lnTo>
                    <a:lnTo>
                      <a:pt x="7068" y="2358"/>
                    </a:lnTo>
                    <a:lnTo>
                      <a:pt x="7098" y="2364"/>
                    </a:lnTo>
                    <a:lnTo>
                      <a:pt x="7098" y="2346"/>
                    </a:lnTo>
                    <a:lnTo>
                      <a:pt x="7104" y="2340"/>
                    </a:lnTo>
                    <a:lnTo>
                      <a:pt x="7110" y="2340"/>
                    </a:lnTo>
                    <a:lnTo>
                      <a:pt x="7122" y="2334"/>
                    </a:lnTo>
                    <a:lnTo>
                      <a:pt x="7152" y="2334"/>
                    </a:lnTo>
                    <a:lnTo>
                      <a:pt x="7158" y="2310"/>
                    </a:lnTo>
                    <a:lnTo>
                      <a:pt x="7200" y="2310"/>
                    </a:lnTo>
                    <a:lnTo>
                      <a:pt x="7212" y="2316"/>
                    </a:lnTo>
                    <a:lnTo>
                      <a:pt x="7218" y="2328"/>
                    </a:lnTo>
                    <a:lnTo>
                      <a:pt x="7218" y="2346"/>
                    </a:lnTo>
                    <a:lnTo>
                      <a:pt x="7242" y="2358"/>
                    </a:lnTo>
                    <a:lnTo>
                      <a:pt x="7242" y="2388"/>
                    </a:lnTo>
                    <a:lnTo>
                      <a:pt x="7224" y="2394"/>
                    </a:lnTo>
                    <a:lnTo>
                      <a:pt x="7236" y="2412"/>
                    </a:lnTo>
                    <a:lnTo>
                      <a:pt x="7236" y="2430"/>
                    </a:lnTo>
                    <a:lnTo>
                      <a:pt x="7248" y="2442"/>
                    </a:lnTo>
                    <a:lnTo>
                      <a:pt x="7248" y="2466"/>
                    </a:lnTo>
                    <a:lnTo>
                      <a:pt x="7266" y="2472"/>
                    </a:lnTo>
                    <a:lnTo>
                      <a:pt x="7260" y="2502"/>
                    </a:lnTo>
                    <a:lnTo>
                      <a:pt x="7266" y="2526"/>
                    </a:lnTo>
                    <a:lnTo>
                      <a:pt x="7260" y="2532"/>
                    </a:lnTo>
                    <a:lnTo>
                      <a:pt x="7254" y="2532"/>
                    </a:lnTo>
                    <a:lnTo>
                      <a:pt x="7254" y="2550"/>
                    </a:lnTo>
                    <a:lnTo>
                      <a:pt x="7260" y="2562"/>
                    </a:lnTo>
                    <a:lnTo>
                      <a:pt x="7260" y="2574"/>
                    </a:lnTo>
                    <a:lnTo>
                      <a:pt x="7254" y="2580"/>
                    </a:lnTo>
                    <a:lnTo>
                      <a:pt x="7248" y="2580"/>
                    </a:lnTo>
                    <a:lnTo>
                      <a:pt x="7236" y="2574"/>
                    </a:lnTo>
                    <a:lnTo>
                      <a:pt x="7224" y="2574"/>
                    </a:lnTo>
                    <a:lnTo>
                      <a:pt x="7206" y="2568"/>
                    </a:lnTo>
                    <a:lnTo>
                      <a:pt x="7194" y="2562"/>
                    </a:lnTo>
                    <a:lnTo>
                      <a:pt x="7170" y="2562"/>
                    </a:lnTo>
                    <a:lnTo>
                      <a:pt x="7164" y="2568"/>
                    </a:lnTo>
                    <a:lnTo>
                      <a:pt x="7170" y="2574"/>
                    </a:lnTo>
                    <a:lnTo>
                      <a:pt x="7170" y="2586"/>
                    </a:lnTo>
                    <a:lnTo>
                      <a:pt x="7146" y="2586"/>
                    </a:lnTo>
                    <a:lnTo>
                      <a:pt x="7146" y="2598"/>
                    </a:lnTo>
                    <a:lnTo>
                      <a:pt x="7152" y="2610"/>
                    </a:lnTo>
                    <a:lnTo>
                      <a:pt x="7158" y="2610"/>
                    </a:lnTo>
                    <a:lnTo>
                      <a:pt x="7170" y="2622"/>
                    </a:lnTo>
                    <a:lnTo>
                      <a:pt x="7182" y="2628"/>
                    </a:lnTo>
                    <a:lnTo>
                      <a:pt x="7194" y="2646"/>
                    </a:lnTo>
                    <a:lnTo>
                      <a:pt x="7206" y="2658"/>
                    </a:lnTo>
                    <a:lnTo>
                      <a:pt x="7212" y="2676"/>
                    </a:lnTo>
                    <a:lnTo>
                      <a:pt x="7212" y="2688"/>
                    </a:lnTo>
                    <a:lnTo>
                      <a:pt x="7224" y="2700"/>
                    </a:lnTo>
                    <a:lnTo>
                      <a:pt x="7230" y="2712"/>
                    </a:lnTo>
                    <a:lnTo>
                      <a:pt x="7236" y="2748"/>
                    </a:lnTo>
                    <a:lnTo>
                      <a:pt x="7206" y="2742"/>
                    </a:lnTo>
                    <a:lnTo>
                      <a:pt x="7200" y="2766"/>
                    </a:lnTo>
                    <a:lnTo>
                      <a:pt x="7224" y="2778"/>
                    </a:lnTo>
                    <a:lnTo>
                      <a:pt x="7260" y="2778"/>
                    </a:lnTo>
                    <a:lnTo>
                      <a:pt x="7260" y="2718"/>
                    </a:lnTo>
                    <a:lnTo>
                      <a:pt x="7266" y="2712"/>
                    </a:lnTo>
                    <a:lnTo>
                      <a:pt x="7272" y="2712"/>
                    </a:lnTo>
                    <a:lnTo>
                      <a:pt x="7284" y="2718"/>
                    </a:lnTo>
                    <a:lnTo>
                      <a:pt x="7290" y="2724"/>
                    </a:lnTo>
                    <a:lnTo>
                      <a:pt x="7302" y="2712"/>
                    </a:lnTo>
                    <a:lnTo>
                      <a:pt x="7308" y="2724"/>
                    </a:lnTo>
                    <a:lnTo>
                      <a:pt x="7314" y="2730"/>
                    </a:lnTo>
                    <a:lnTo>
                      <a:pt x="7320" y="2742"/>
                    </a:lnTo>
                    <a:lnTo>
                      <a:pt x="7332" y="2754"/>
                    </a:lnTo>
                    <a:lnTo>
                      <a:pt x="7344" y="2754"/>
                    </a:lnTo>
                    <a:lnTo>
                      <a:pt x="7356" y="2748"/>
                    </a:lnTo>
                    <a:lnTo>
                      <a:pt x="7368" y="2748"/>
                    </a:lnTo>
                    <a:lnTo>
                      <a:pt x="7374" y="2742"/>
                    </a:lnTo>
                    <a:lnTo>
                      <a:pt x="7380" y="2742"/>
                    </a:lnTo>
                    <a:lnTo>
                      <a:pt x="7380" y="2760"/>
                    </a:lnTo>
                    <a:lnTo>
                      <a:pt x="7386" y="2760"/>
                    </a:lnTo>
                    <a:lnTo>
                      <a:pt x="7392" y="2754"/>
                    </a:lnTo>
                    <a:lnTo>
                      <a:pt x="7404" y="2748"/>
                    </a:lnTo>
                    <a:lnTo>
                      <a:pt x="7422" y="2742"/>
                    </a:lnTo>
                    <a:lnTo>
                      <a:pt x="7440" y="2730"/>
                    </a:lnTo>
                    <a:lnTo>
                      <a:pt x="7452" y="2724"/>
                    </a:lnTo>
                    <a:lnTo>
                      <a:pt x="7464" y="2700"/>
                    </a:lnTo>
                    <a:lnTo>
                      <a:pt x="7464" y="2682"/>
                    </a:lnTo>
                    <a:lnTo>
                      <a:pt x="7470" y="2664"/>
                    </a:lnTo>
                    <a:lnTo>
                      <a:pt x="7470" y="2628"/>
                    </a:lnTo>
                    <a:lnTo>
                      <a:pt x="7494" y="2622"/>
                    </a:lnTo>
                    <a:lnTo>
                      <a:pt x="7494" y="2562"/>
                    </a:lnTo>
                    <a:lnTo>
                      <a:pt x="7500" y="2550"/>
                    </a:lnTo>
                    <a:lnTo>
                      <a:pt x="7506" y="2544"/>
                    </a:lnTo>
                    <a:lnTo>
                      <a:pt x="7518" y="2520"/>
                    </a:lnTo>
                    <a:lnTo>
                      <a:pt x="7518" y="2490"/>
                    </a:lnTo>
                    <a:lnTo>
                      <a:pt x="7524" y="2472"/>
                    </a:lnTo>
                    <a:lnTo>
                      <a:pt x="7524" y="2454"/>
                    </a:lnTo>
                    <a:lnTo>
                      <a:pt x="7518" y="2442"/>
                    </a:lnTo>
                    <a:lnTo>
                      <a:pt x="7518" y="2424"/>
                    </a:lnTo>
                    <a:lnTo>
                      <a:pt x="7512" y="2418"/>
                    </a:lnTo>
                    <a:lnTo>
                      <a:pt x="7512" y="2412"/>
                    </a:lnTo>
                    <a:lnTo>
                      <a:pt x="7518" y="2400"/>
                    </a:lnTo>
                    <a:lnTo>
                      <a:pt x="7524" y="2394"/>
                    </a:lnTo>
                    <a:lnTo>
                      <a:pt x="7524" y="2382"/>
                    </a:lnTo>
                    <a:lnTo>
                      <a:pt x="7530" y="2376"/>
                    </a:lnTo>
                    <a:lnTo>
                      <a:pt x="7530" y="2364"/>
                    </a:lnTo>
                    <a:lnTo>
                      <a:pt x="7524" y="2358"/>
                    </a:lnTo>
                    <a:lnTo>
                      <a:pt x="7518" y="2346"/>
                    </a:lnTo>
                    <a:lnTo>
                      <a:pt x="7524" y="2334"/>
                    </a:lnTo>
                    <a:lnTo>
                      <a:pt x="7530" y="2328"/>
                    </a:lnTo>
                    <a:lnTo>
                      <a:pt x="7536" y="2316"/>
                    </a:lnTo>
                    <a:lnTo>
                      <a:pt x="7536" y="2298"/>
                    </a:lnTo>
                    <a:lnTo>
                      <a:pt x="7530" y="2292"/>
                    </a:lnTo>
                    <a:lnTo>
                      <a:pt x="7530" y="2280"/>
                    </a:lnTo>
                    <a:lnTo>
                      <a:pt x="7518" y="2256"/>
                    </a:lnTo>
                    <a:lnTo>
                      <a:pt x="7512" y="2250"/>
                    </a:lnTo>
                    <a:lnTo>
                      <a:pt x="7512" y="2238"/>
                    </a:lnTo>
                    <a:lnTo>
                      <a:pt x="7506" y="2232"/>
                    </a:lnTo>
                    <a:lnTo>
                      <a:pt x="7506" y="2220"/>
                    </a:lnTo>
                    <a:lnTo>
                      <a:pt x="7500" y="2214"/>
                    </a:lnTo>
                    <a:lnTo>
                      <a:pt x="7500" y="2202"/>
                    </a:lnTo>
                    <a:lnTo>
                      <a:pt x="7494" y="2196"/>
                    </a:lnTo>
                    <a:lnTo>
                      <a:pt x="7482" y="2190"/>
                    </a:lnTo>
                    <a:lnTo>
                      <a:pt x="7476" y="2184"/>
                    </a:lnTo>
                    <a:lnTo>
                      <a:pt x="7482" y="2178"/>
                    </a:lnTo>
                    <a:lnTo>
                      <a:pt x="7476" y="2178"/>
                    </a:lnTo>
                    <a:lnTo>
                      <a:pt x="7470" y="2172"/>
                    </a:lnTo>
                    <a:lnTo>
                      <a:pt x="7458" y="2166"/>
                    </a:lnTo>
                    <a:lnTo>
                      <a:pt x="7446" y="2154"/>
                    </a:lnTo>
                    <a:lnTo>
                      <a:pt x="7440" y="2142"/>
                    </a:lnTo>
                    <a:lnTo>
                      <a:pt x="7434" y="2124"/>
                    </a:lnTo>
                    <a:lnTo>
                      <a:pt x="7434" y="2112"/>
                    </a:lnTo>
                    <a:lnTo>
                      <a:pt x="7428" y="2106"/>
                    </a:lnTo>
                    <a:lnTo>
                      <a:pt x="7428" y="2100"/>
                    </a:lnTo>
                    <a:lnTo>
                      <a:pt x="7416" y="2094"/>
                    </a:lnTo>
                    <a:lnTo>
                      <a:pt x="7416" y="2082"/>
                    </a:lnTo>
                    <a:lnTo>
                      <a:pt x="7422" y="2070"/>
                    </a:lnTo>
                    <a:lnTo>
                      <a:pt x="7422" y="2040"/>
                    </a:lnTo>
                    <a:lnTo>
                      <a:pt x="7410" y="2028"/>
                    </a:lnTo>
                    <a:lnTo>
                      <a:pt x="7404" y="2016"/>
                    </a:lnTo>
                    <a:lnTo>
                      <a:pt x="7398" y="2010"/>
                    </a:lnTo>
                    <a:lnTo>
                      <a:pt x="7380" y="2004"/>
                    </a:lnTo>
                    <a:lnTo>
                      <a:pt x="7380" y="1998"/>
                    </a:lnTo>
                    <a:lnTo>
                      <a:pt x="7374" y="1992"/>
                    </a:lnTo>
                    <a:lnTo>
                      <a:pt x="7368" y="1980"/>
                    </a:lnTo>
                    <a:lnTo>
                      <a:pt x="7356" y="1968"/>
                    </a:lnTo>
                    <a:lnTo>
                      <a:pt x="7344" y="1968"/>
                    </a:lnTo>
                    <a:lnTo>
                      <a:pt x="7332" y="1956"/>
                    </a:lnTo>
                    <a:lnTo>
                      <a:pt x="7326" y="1956"/>
                    </a:lnTo>
                    <a:lnTo>
                      <a:pt x="7308" y="1950"/>
                    </a:lnTo>
                    <a:lnTo>
                      <a:pt x="7302" y="1938"/>
                    </a:lnTo>
                    <a:lnTo>
                      <a:pt x="7308" y="1938"/>
                    </a:lnTo>
                    <a:lnTo>
                      <a:pt x="7314" y="1944"/>
                    </a:lnTo>
                    <a:lnTo>
                      <a:pt x="7326" y="1944"/>
                    </a:lnTo>
                    <a:lnTo>
                      <a:pt x="7332" y="1950"/>
                    </a:lnTo>
                    <a:lnTo>
                      <a:pt x="7344" y="1950"/>
                    </a:lnTo>
                    <a:lnTo>
                      <a:pt x="7350" y="1944"/>
                    </a:lnTo>
                    <a:lnTo>
                      <a:pt x="7350" y="1938"/>
                    </a:lnTo>
                    <a:lnTo>
                      <a:pt x="7344" y="1938"/>
                    </a:lnTo>
                    <a:lnTo>
                      <a:pt x="7332" y="1932"/>
                    </a:lnTo>
                    <a:lnTo>
                      <a:pt x="7326" y="1926"/>
                    </a:lnTo>
                    <a:lnTo>
                      <a:pt x="7320" y="1926"/>
                    </a:lnTo>
                    <a:lnTo>
                      <a:pt x="7242" y="1890"/>
                    </a:lnTo>
                    <a:lnTo>
                      <a:pt x="7236" y="1890"/>
                    </a:lnTo>
                    <a:lnTo>
                      <a:pt x="7230" y="1884"/>
                    </a:lnTo>
                    <a:lnTo>
                      <a:pt x="7218" y="1878"/>
                    </a:lnTo>
                    <a:lnTo>
                      <a:pt x="7206" y="1866"/>
                    </a:lnTo>
                    <a:lnTo>
                      <a:pt x="7194" y="1860"/>
                    </a:lnTo>
                    <a:lnTo>
                      <a:pt x="7188" y="1854"/>
                    </a:lnTo>
                    <a:lnTo>
                      <a:pt x="7170" y="1854"/>
                    </a:lnTo>
                    <a:lnTo>
                      <a:pt x="7164" y="1860"/>
                    </a:lnTo>
                    <a:lnTo>
                      <a:pt x="7152" y="1866"/>
                    </a:lnTo>
                    <a:lnTo>
                      <a:pt x="7116" y="1854"/>
                    </a:lnTo>
                    <a:lnTo>
                      <a:pt x="7152" y="1896"/>
                    </a:lnTo>
                    <a:lnTo>
                      <a:pt x="7146" y="1920"/>
                    </a:lnTo>
                    <a:lnTo>
                      <a:pt x="7134" y="1920"/>
                    </a:lnTo>
                    <a:lnTo>
                      <a:pt x="7134" y="1890"/>
                    </a:lnTo>
                    <a:lnTo>
                      <a:pt x="7116" y="1878"/>
                    </a:lnTo>
                    <a:lnTo>
                      <a:pt x="7116" y="1908"/>
                    </a:lnTo>
                    <a:lnTo>
                      <a:pt x="7068" y="1908"/>
                    </a:lnTo>
                    <a:lnTo>
                      <a:pt x="7074" y="1902"/>
                    </a:lnTo>
                    <a:lnTo>
                      <a:pt x="7074" y="1884"/>
                    </a:lnTo>
                    <a:lnTo>
                      <a:pt x="7068" y="1878"/>
                    </a:lnTo>
                    <a:lnTo>
                      <a:pt x="7044" y="1878"/>
                    </a:lnTo>
                    <a:lnTo>
                      <a:pt x="7038" y="1890"/>
                    </a:lnTo>
                    <a:lnTo>
                      <a:pt x="7014" y="1890"/>
                    </a:lnTo>
                    <a:lnTo>
                      <a:pt x="7002" y="1854"/>
                    </a:lnTo>
                    <a:lnTo>
                      <a:pt x="6996" y="1854"/>
                    </a:lnTo>
                    <a:lnTo>
                      <a:pt x="6984" y="1830"/>
                    </a:lnTo>
                    <a:lnTo>
                      <a:pt x="6912" y="1836"/>
                    </a:lnTo>
                    <a:lnTo>
                      <a:pt x="6906" y="1824"/>
                    </a:lnTo>
                    <a:lnTo>
                      <a:pt x="6882" y="1824"/>
                    </a:lnTo>
                    <a:lnTo>
                      <a:pt x="6870" y="1818"/>
                    </a:lnTo>
                    <a:lnTo>
                      <a:pt x="6864" y="1812"/>
                    </a:lnTo>
                    <a:lnTo>
                      <a:pt x="6864" y="1794"/>
                    </a:lnTo>
                    <a:lnTo>
                      <a:pt x="6876" y="1788"/>
                    </a:lnTo>
                    <a:lnTo>
                      <a:pt x="6888" y="1776"/>
                    </a:lnTo>
                    <a:lnTo>
                      <a:pt x="6900" y="1776"/>
                    </a:lnTo>
                    <a:lnTo>
                      <a:pt x="6900" y="1752"/>
                    </a:lnTo>
                    <a:lnTo>
                      <a:pt x="6906" y="1752"/>
                    </a:lnTo>
                    <a:lnTo>
                      <a:pt x="6918" y="1746"/>
                    </a:lnTo>
                    <a:lnTo>
                      <a:pt x="6930" y="1734"/>
                    </a:lnTo>
                    <a:lnTo>
                      <a:pt x="6930" y="1728"/>
                    </a:lnTo>
                    <a:lnTo>
                      <a:pt x="6936" y="1716"/>
                    </a:lnTo>
                    <a:lnTo>
                      <a:pt x="6936" y="1710"/>
                    </a:lnTo>
                    <a:lnTo>
                      <a:pt x="6942" y="1698"/>
                    </a:lnTo>
                    <a:lnTo>
                      <a:pt x="6930" y="1686"/>
                    </a:lnTo>
                    <a:lnTo>
                      <a:pt x="6942" y="1662"/>
                    </a:lnTo>
                    <a:lnTo>
                      <a:pt x="6930" y="1650"/>
                    </a:lnTo>
                    <a:lnTo>
                      <a:pt x="6948" y="1632"/>
                    </a:lnTo>
                    <a:lnTo>
                      <a:pt x="6972" y="1626"/>
                    </a:lnTo>
                    <a:lnTo>
                      <a:pt x="6960" y="1596"/>
                    </a:lnTo>
                    <a:lnTo>
                      <a:pt x="6984" y="1590"/>
                    </a:lnTo>
                    <a:lnTo>
                      <a:pt x="6960" y="1554"/>
                    </a:lnTo>
                    <a:lnTo>
                      <a:pt x="6990" y="1542"/>
                    </a:lnTo>
                    <a:lnTo>
                      <a:pt x="6990" y="1500"/>
                    </a:lnTo>
                    <a:lnTo>
                      <a:pt x="6996" y="1488"/>
                    </a:lnTo>
                    <a:lnTo>
                      <a:pt x="7002" y="1482"/>
                    </a:lnTo>
                    <a:lnTo>
                      <a:pt x="7020" y="1470"/>
                    </a:lnTo>
                    <a:lnTo>
                      <a:pt x="7032" y="1464"/>
                    </a:lnTo>
                    <a:lnTo>
                      <a:pt x="7050" y="1464"/>
                    </a:lnTo>
                    <a:lnTo>
                      <a:pt x="7068" y="1470"/>
                    </a:lnTo>
                    <a:lnTo>
                      <a:pt x="7188" y="1470"/>
                    </a:lnTo>
                    <a:lnTo>
                      <a:pt x="7206" y="1488"/>
                    </a:lnTo>
                    <a:lnTo>
                      <a:pt x="7224" y="1482"/>
                    </a:lnTo>
                    <a:lnTo>
                      <a:pt x="7218" y="1464"/>
                    </a:lnTo>
                    <a:lnTo>
                      <a:pt x="7290" y="1482"/>
                    </a:lnTo>
                    <a:lnTo>
                      <a:pt x="7320" y="1464"/>
                    </a:lnTo>
                    <a:lnTo>
                      <a:pt x="7350" y="1488"/>
                    </a:lnTo>
                    <a:lnTo>
                      <a:pt x="7356" y="1452"/>
                    </a:lnTo>
                    <a:lnTo>
                      <a:pt x="7434" y="1452"/>
                    </a:lnTo>
                    <a:lnTo>
                      <a:pt x="7446" y="1458"/>
                    </a:lnTo>
                    <a:lnTo>
                      <a:pt x="7452" y="1470"/>
                    </a:lnTo>
                    <a:lnTo>
                      <a:pt x="7458" y="1470"/>
                    </a:lnTo>
                    <a:lnTo>
                      <a:pt x="7464" y="1464"/>
                    </a:lnTo>
                    <a:lnTo>
                      <a:pt x="7476" y="1464"/>
                    </a:lnTo>
                    <a:lnTo>
                      <a:pt x="7482" y="1458"/>
                    </a:lnTo>
                    <a:lnTo>
                      <a:pt x="7494" y="1452"/>
                    </a:lnTo>
                    <a:lnTo>
                      <a:pt x="7518" y="1470"/>
                    </a:lnTo>
                    <a:lnTo>
                      <a:pt x="7560" y="1476"/>
                    </a:lnTo>
                    <a:lnTo>
                      <a:pt x="7506" y="1488"/>
                    </a:lnTo>
                    <a:lnTo>
                      <a:pt x="7506" y="1494"/>
                    </a:lnTo>
                    <a:lnTo>
                      <a:pt x="7512" y="1500"/>
                    </a:lnTo>
                    <a:lnTo>
                      <a:pt x="7524" y="1506"/>
                    </a:lnTo>
                    <a:lnTo>
                      <a:pt x="7530" y="1512"/>
                    </a:lnTo>
                    <a:lnTo>
                      <a:pt x="7542" y="1512"/>
                    </a:lnTo>
                    <a:lnTo>
                      <a:pt x="7548" y="1506"/>
                    </a:lnTo>
                    <a:lnTo>
                      <a:pt x="7560" y="1506"/>
                    </a:lnTo>
                    <a:lnTo>
                      <a:pt x="7572" y="1500"/>
                    </a:lnTo>
                    <a:lnTo>
                      <a:pt x="7578" y="1494"/>
                    </a:lnTo>
                    <a:lnTo>
                      <a:pt x="7584" y="1494"/>
                    </a:lnTo>
                    <a:lnTo>
                      <a:pt x="7614" y="1506"/>
                    </a:lnTo>
                    <a:lnTo>
                      <a:pt x="7638" y="1488"/>
                    </a:lnTo>
                    <a:lnTo>
                      <a:pt x="7644" y="1488"/>
                    </a:lnTo>
                    <a:lnTo>
                      <a:pt x="7650" y="1494"/>
                    </a:lnTo>
                    <a:lnTo>
                      <a:pt x="7686" y="1494"/>
                    </a:lnTo>
                    <a:lnTo>
                      <a:pt x="7692" y="1488"/>
                    </a:lnTo>
                    <a:lnTo>
                      <a:pt x="7692" y="1476"/>
                    </a:lnTo>
                    <a:lnTo>
                      <a:pt x="7728" y="1482"/>
                    </a:lnTo>
                    <a:lnTo>
                      <a:pt x="7680" y="1452"/>
                    </a:lnTo>
                    <a:lnTo>
                      <a:pt x="7650" y="1464"/>
                    </a:lnTo>
                    <a:lnTo>
                      <a:pt x="7644" y="1446"/>
                    </a:lnTo>
                    <a:lnTo>
                      <a:pt x="7638" y="1434"/>
                    </a:lnTo>
                    <a:lnTo>
                      <a:pt x="7632" y="1428"/>
                    </a:lnTo>
                    <a:lnTo>
                      <a:pt x="7626" y="1416"/>
                    </a:lnTo>
                    <a:lnTo>
                      <a:pt x="7626" y="1398"/>
                    </a:lnTo>
                    <a:lnTo>
                      <a:pt x="7650" y="1374"/>
                    </a:lnTo>
                    <a:lnTo>
                      <a:pt x="7644" y="1344"/>
                    </a:lnTo>
                    <a:lnTo>
                      <a:pt x="7662" y="1332"/>
                    </a:lnTo>
                    <a:lnTo>
                      <a:pt x="7650" y="1326"/>
                    </a:lnTo>
                    <a:lnTo>
                      <a:pt x="7638" y="1314"/>
                    </a:lnTo>
                    <a:lnTo>
                      <a:pt x="7638" y="1302"/>
                    </a:lnTo>
                    <a:lnTo>
                      <a:pt x="7644" y="1296"/>
                    </a:lnTo>
                    <a:lnTo>
                      <a:pt x="7662" y="1290"/>
                    </a:lnTo>
                    <a:lnTo>
                      <a:pt x="7698" y="1290"/>
                    </a:lnTo>
                    <a:lnTo>
                      <a:pt x="7710" y="1296"/>
                    </a:lnTo>
                    <a:lnTo>
                      <a:pt x="7728" y="1296"/>
                    </a:lnTo>
                    <a:lnTo>
                      <a:pt x="7746" y="1278"/>
                    </a:lnTo>
                    <a:lnTo>
                      <a:pt x="7782" y="1308"/>
                    </a:lnTo>
                    <a:lnTo>
                      <a:pt x="7806" y="1290"/>
                    </a:lnTo>
                    <a:lnTo>
                      <a:pt x="7812" y="1302"/>
                    </a:lnTo>
                    <a:lnTo>
                      <a:pt x="7818" y="1308"/>
                    </a:lnTo>
                    <a:lnTo>
                      <a:pt x="7830" y="1332"/>
                    </a:lnTo>
                    <a:lnTo>
                      <a:pt x="7830" y="1338"/>
                    </a:lnTo>
                    <a:lnTo>
                      <a:pt x="7836" y="1344"/>
                    </a:lnTo>
                    <a:lnTo>
                      <a:pt x="7878" y="1344"/>
                    </a:lnTo>
                    <a:lnTo>
                      <a:pt x="7878" y="1362"/>
                    </a:lnTo>
                    <a:lnTo>
                      <a:pt x="7884" y="1374"/>
                    </a:lnTo>
                    <a:lnTo>
                      <a:pt x="7890" y="1380"/>
                    </a:lnTo>
                    <a:lnTo>
                      <a:pt x="7896" y="1380"/>
                    </a:lnTo>
                    <a:lnTo>
                      <a:pt x="7914" y="1362"/>
                    </a:lnTo>
                    <a:lnTo>
                      <a:pt x="7932" y="1326"/>
                    </a:lnTo>
                    <a:lnTo>
                      <a:pt x="7938" y="1320"/>
                    </a:lnTo>
                    <a:lnTo>
                      <a:pt x="7938" y="1314"/>
                    </a:lnTo>
                    <a:lnTo>
                      <a:pt x="7962" y="1302"/>
                    </a:lnTo>
                    <a:lnTo>
                      <a:pt x="7992" y="1314"/>
                    </a:lnTo>
                    <a:lnTo>
                      <a:pt x="7986" y="1302"/>
                    </a:lnTo>
                    <a:lnTo>
                      <a:pt x="7962" y="1284"/>
                    </a:lnTo>
                    <a:lnTo>
                      <a:pt x="7956" y="1278"/>
                    </a:lnTo>
                    <a:lnTo>
                      <a:pt x="7932" y="1266"/>
                    </a:lnTo>
                    <a:lnTo>
                      <a:pt x="7926" y="1254"/>
                    </a:lnTo>
                    <a:lnTo>
                      <a:pt x="7914" y="1248"/>
                    </a:lnTo>
                    <a:lnTo>
                      <a:pt x="7908" y="1242"/>
                    </a:lnTo>
                    <a:lnTo>
                      <a:pt x="7908" y="1230"/>
                    </a:lnTo>
                    <a:lnTo>
                      <a:pt x="7962" y="1230"/>
                    </a:lnTo>
                    <a:lnTo>
                      <a:pt x="7992" y="1236"/>
                    </a:lnTo>
                    <a:lnTo>
                      <a:pt x="8052" y="1236"/>
                    </a:lnTo>
                    <a:lnTo>
                      <a:pt x="8052" y="1254"/>
                    </a:lnTo>
                    <a:lnTo>
                      <a:pt x="8040" y="1254"/>
                    </a:lnTo>
                    <a:lnTo>
                      <a:pt x="8028" y="1248"/>
                    </a:lnTo>
                    <a:lnTo>
                      <a:pt x="7992" y="1248"/>
                    </a:lnTo>
                    <a:lnTo>
                      <a:pt x="7992" y="1266"/>
                    </a:lnTo>
                    <a:lnTo>
                      <a:pt x="8016" y="1290"/>
                    </a:lnTo>
                    <a:lnTo>
                      <a:pt x="8028" y="1296"/>
                    </a:lnTo>
                    <a:lnTo>
                      <a:pt x="8034" y="1320"/>
                    </a:lnTo>
                    <a:lnTo>
                      <a:pt x="8064" y="1326"/>
                    </a:lnTo>
                    <a:lnTo>
                      <a:pt x="8058" y="1344"/>
                    </a:lnTo>
                    <a:lnTo>
                      <a:pt x="8076" y="1362"/>
                    </a:lnTo>
                    <a:lnTo>
                      <a:pt x="8046" y="1368"/>
                    </a:lnTo>
                    <a:lnTo>
                      <a:pt x="8040" y="1380"/>
                    </a:lnTo>
                    <a:lnTo>
                      <a:pt x="8022" y="1386"/>
                    </a:lnTo>
                    <a:lnTo>
                      <a:pt x="8028" y="1398"/>
                    </a:lnTo>
                    <a:lnTo>
                      <a:pt x="8028" y="1404"/>
                    </a:lnTo>
                    <a:lnTo>
                      <a:pt x="8034" y="1416"/>
                    </a:lnTo>
                    <a:lnTo>
                      <a:pt x="8034" y="1440"/>
                    </a:lnTo>
                    <a:lnTo>
                      <a:pt x="8028" y="1452"/>
                    </a:lnTo>
                    <a:lnTo>
                      <a:pt x="8016" y="1464"/>
                    </a:lnTo>
                    <a:lnTo>
                      <a:pt x="8004" y="1488"/>
                    </a:lnTo>
                    <a:lnTo>
                      <a:pt x="8004" y="1506"/>
                    </a:lnTo>
                    <a:lnTo>
                      <a:pt x="8010" y="1506"/>
                    </a:lnTo>
                    <a:lnTo>
                      <a:pt x="8016" y="1512"/>
                    </a:lnTo>
                    <a:lnTo>
                      <a:pt x="8022" y="1524"/>
                    </a:lnTo>
                    <a:lnTo>
                      <a:pt x="8016" y="1530"/>
                    </a:lnTo>
                    <a:lnTo>
                      <a:pt x="8010" y="1542"/>
                    </a:lnTo>
                    <a:lnTo>
                      <a:pt x="7986" y="1566"/>
                    </a:lnTo>
                    <a:lnTo>
                      <a:pt x="7974" y="1572"/>
                    </a:lnTo>
                    <a:lnTo>
                      <a:pt x="7968" y="1578"/>
                    </a:lnTo>
                    <a:lnTo>
                      <a:pt x="7962" y="1578"/>
                    </a:lnTo>
                    <a:lnTo>
                      <a:pt x="7962" y="1596"/>
                    </a:lnTo>
                    <a:lnTo>
                      <a:pt x="7944" y="1596"/>
                    </a:lnTo>
                    <a:lnTo>
                      <a:pt x="7950" y="1596"/>
                    </a:lnTo>
                    <a:lnTo>
                      <a:pt x="7956" y="1602"/>
                    </a:lnTo>
                    <a:lnTo>
                      <a:pt x="7968" y="1608"/>
                    </a:lnTo>
                    <a:lnTo>
                      <a:pt x="7980" y="1632"/>
                    </a:lnTo>
                    <a:lnTo>
                      <a:pt x="7974" y="1650"/>
                    </a:lnTo>
                    <a:lnTo>
                      <a:pt x="7974" y="1662"/>
                    </a:lnTo>
                    <a:lnTo>
                      <a:pt x="7968" y="1674"/>
                    </a:lnTo>
                    <a:lnTo>
                      <a:pt x="7968" y="1686"/>
                    </a:lnTo>
                    <a:lnTo>
                      <a:pt x="7974" y="1704"/>
                    </a:lnTo>
                    <a:lnTo>
                      <a:pt x="7992" y="1722"/>
                    </a:lnTo>
                    <a:lnTo>
                      <a:pt x="8016" y="1752"/>
                    </a:lnTo>
                    <a:lnTo>
                      <a:pt x="8046" y="1776"/>
                    </a:lnTo>
                    <a:lnTo>
                      <a:pt x="8070" y="1800"/>
                    </a:lnTo>
                    <a:lnTo>
                      <a:pt x="8082" y="1806"/>
                    </a:lnTo>
                    <a:lnTo>
                      <a:pt x="8142" y="1872"/>
                    </a:lnTo>
                    <a:lnTo>
                      <a:pt x="8154" y="1866"/>
                    </a:lnTo>
                    <a:lnTo>
                      <a:pt x="8238" y="1962"/>
                    </a:lnTo>
                    <a:lnTo>
                      <a:pt x="8286" y="1980"/>
                    </a:lnTo>
                    <a:lnTo>
                      <a:pt x="8310" y="2004"/>
                    </a:lnTo>
                    <a:lnTo>
                      <a:pt x="8316" y="2016"/>
                    </a:lnTo>
                    <a:lnTo>
                      <a:pt x="8328" y="2022"/>
                    </a:lnTo>
                    <a:lnTo>
                      <a:pt x="8334" y="2034"/>
                    </a:lnTo>
                    <a:lnTo>
                      <a:pt x="8388" y="2088"/>
                    </a:lnTo>
                    <a:lnTo>
                      <a:pt x="8406" y="2088"/>
                    </a:lnTo>
                    <a:lnTo>
                      <a:pt x="8406" y="2106"/>
                    </a:lnTo>
                    <a:lnTo>
                      <a:pt x="8418" y="2106"/>
                    </a:lnTo>
                    <a:lnTo>
                      <a:pt x="8430" y="2100"/>
                    </a:lnTo>
                    <a:lnTo>
                      <a:pt x="8436" y="2094"/>
                    </a:lnTo>
                    <a:lnTo>
                      <a:pt x="8442" y="2082"/>
                    </a:lnTo>
                    <a:lnTo>
                      <a:pt x="8442" y="2076"/>
                    </a:lnTo>
                    <a:lnTo>
                      <a:pt x="8430" y="2064"/>
                    </a:lnTo>
                    <a:lnTo>
                      <a:pt x="8436" y="2058"/>
                    </a:lnTo>
                    <a:lnTo>
                      <a:pt x="8442" y="2046"/>
                    </a:lnTo>
                    <a:lnTo>
                      <a:pt x="8448" y="2040"/>
                    </a:lnTo>
                    <a:lnTo>
                      <a:pt x="8448" y="2022"/>
                    </a:lnTo>
                    <a:lnTo>
                      <a:pt x="8430" y="2004"/>
                    </a:lnTo>
                    <a:lnTo>
                      <a:pt x="8418" y="1998"/>
                    </a:lnTo>
                    <a:lnTo>
                      <a:pt x="8406" y="1974"/>
                    </a:lnTo>
                    <a:lnTo>
                      <a:pt x="8406" y="1962"/>
                    </a:lnTo>
                    <a:lnTo>
                      <a:pt x="8412" y="1950"/>
                    </a:lnTo>
                    <a:lnTo>
                      <a:pt x="8430" y="1932"/>
                    </a:lnTo>
                    <a:lnTo>
                      <a:pt x="8442" y="1932"/>
                    </a:lnTo>
                    <a:lnTo>
                      <a:pt x="8454" y="1938"/>
                    </a:lnTo>
                    <a:lnTo>
                      <a:pt x="8460" y="1938"/>
                    </a:lnTo>
                    <a:lnTo>
                      <a:pt x="8466" y="1944"/>
                    </a:lnTo>
                    <a:lnTo>
                      <a:pt x="8472" y="1944"/>
                    </a:lnTo>
                    <a:lnTo>
                      <a:pt x="8466" y="1938"/>
                    </a:lnTo>
                    <a:lnTo>
                      <a:pt x="8460" y="1926"/>
                    </a:lnTo>
                    <a:lnTo>
                      <a:pt x="8448" y="1920"/>
                    </a:lnTo>
                    <a:lnTo>
                      <a:pt x="8442" y="1908"/>
                    </a:lnTo>
                    <a:lnTo>
                      <a:pt x="8424" y="1890"/>
                    </a:lnTo>
                    <a:lnTo>
                      <a:pt x="8412" y="1890"/>
                    </a:lnTo>
                    <a:lnTo>
                      <a:pt x="8406" y="1884"/>
                    </a:lnTo>
                    <a:lnTo>
                      <a:pt x="8400" y="1872"/>
                    </a:lnTo>
                    <a:lnTo>
                      <a:pt x="8400" y="1860"/>
                    </a:lnTo>
                    <a:lnTo>
                      <a:pt x="8406" y="1848"/>
                    </a:lnTo>
                    <a:lnTo>
                      <a:pt x="8412" y="1842"/>
                    </a:lnTo>
                    <a:lnTo>
                      <a:pt x="8424" y="1836"/>
                    </a:lnTo>
                    <a:lnTo>
                      <a:pt x="8430" y="1830"/>
                    </a:lnTo>
                    <a:lnTo>
                      <a:pt x="8442" y="1836"/>
                    </a:lnTo>
                    <a:lnTo>
                      <a:pt x="8466" y="1836"/>
                    </a:lnTo>
                    <a:lnTo>
                      <a:pt x="8472" y="1830"/>
                    </a:lnTo>
                    <a:lnTo>
                      <a:pt x="8472" y="1812"/>
                    </a:lnTo>
                    <a:lnTo>
                      <a:pt x="8454" y="1794"/>
                    </a:lnTo>
                    <a:lnTo>
                      <a:pt x="8436" y="1788"/>
                    </a:lnTo>
                    <a:lnTo>
                      <a:pt x="8424" y="1782"/>
                    </a:lnTo>
                    <a:lnTo>
                      <a:pt x="8406" y="1770"/>
                    </a:lnTo>
                    <a:lnTo>
                      <a:pt x="8394" y="1758"/>
                    </a:lnTo>
                    <a:lnTo>
                      <a:pt x="8388" y="1740"/>
                    </a:lnTo>
                    <a:lnTo>
                      <a:pt x="8376" y="1716"/>
                    </a:lnTo>
                    <a:lnTo>
                      <a:pt x="8376" y="1704"/>
                    </a:lnTo>
                    <a:lnTo>
                      <a:pt x="8370" y="1698"/>
                    </a:lnTo>
                    <a:lnTo>
                      <a:pt x="8370" y="1692"/>
                    </a:lnTo>
                    <a:lnTo>
                      <a:pt x="8382" y="1686"/>
                    </a:lnTo>
                    <a:lnTo>
                      <a:pt x="8406" y="1710"/>
                    </a:lnTo>
                    <a:lnTo>
                      <a:pt x="8418" y="1716"/>
                    </a:lnTo>
                    <a:lnTo>
                      <a:pt x="8430" y="1716"/>
                    </a:lnTo>
                    <a:lnTo>
                      <a:pt x="8430" y="1710"/>
                    </a:lnTo>
                    <a:lnTo>
                      <a:pt x="8424" y="1704"/>
                    </a:lnTo>
                    <a:lnTo>
                      <a:pt x="8418" y="1692"/>
                    </a:lnTo>
                    <a:lnTo>
                      <a:pt x="8412" y="1686"/>
                    </a:lnTo>
                    <a:lnTo>
                      <a:pt x="8406" y="1674"/>
                    </a:lnTo>
                    <a:lnTo>
                      <a:pt x="8400" y="1668"/>
                    </a:lnTo>
                    <a:lnTo>
                      <a:pt x="8364" y="1668"/>
                    </a:lnTo>
                    <a:lnTo>
                      <a:pt x="8316" y="1626"/>
                    </a:lnTo>
                    <a:lnTo>
                      <a:pt x="8316" y="1596"/>
                    </a:lnTo>
                    <a:lnTo>
                      <a:pt x="8310" y="1590"/>
                    </a:lnTo>
                    <a:lnTo>
                      <a:pt x="8298" y="1584"/>
                    </a:lnTo>
                    <a:lnTo>
                      <a:pt x="8280" y="1578"/>
                    </a:lnTo>
                    <a:lnTo>
                      <a:pt x="8268" y="1572"/>
                    </a:lnTo>
                    <a:lnTo>
                      <a:pt x="8256" y="1572"/>
                    </a:lnTo>
                    <a:lnTo>
                      <a:pt x="8256" y="1590"/>
                    </a:lnTo>
                    <a:lnTo>
                      <a:pt x="8250" y="1590"/>
                    </a:lnTo>
                    <a:lnTo>
                      <a:pt x="8244" y="1584"/>
                    </a:lnTo>
                    <a:lnTo>
                      <a:pt x="8232" y="1584"/>
                    </a:lnTo>
                    <a:lnTo>
                      <a:pt x="8214" y="1572"/>
                    </a:lnTo>
                    <a:lnTo>
                      <a:pt x="8202" y="1566"/>
                    </a:lnTo>
                    <a:lnTo>
                      <a:pt x="8196" y="1560"/>
                    </a:lnTo>
                    <a:lnTo>
                      <a:pt x="8190" y="1548"/>
                    </a:lnTo>
                    <a:lnTo>
                      <a:pt x="8190" y="1536"/>
                    </a:lnTo>
                    <a:lnTo>
                      <a:pt x="8196" y="1524"/>
                    </a:lnTo>
                    <a:lnTo>
                      <a:pt x="8196" y="1500"/>
                    </a:lnTo>
                    <a:lnTo>
                      <a:pt x="8184" y="1476"/>
                    </a:lnTo>
                    <a:lnTo>
                      <a:pt x="8166" y="1458"/>
                    </a:lnTo>
                    <a:lnTo>
                      <a:pt x="8154" y="1452"/>
                    </a:lnTo>
                    <a:lnTo>
                      <a:pt x="8154" y="1434"/>
                    </a:lnTo>
                    <a:lnTo>
                      <a:pt x="8160" y="1428"/>
                    </a:lnTo>
                    <a:lnTo>
                      <a:pt x="8172" y="1428"/>
                    </a:lnTo>
                    <a:lnTo>
                      <a:pt x="8184" y="1434"/>
                    </a:lnTo>
                    <a:lnTo>
                      <a:pt x="8196" y="1416"/>
                    </a:lnTo>
                    <a:lnTo>
                      <a:pt x="8232" y="1446"/>
                    </a:lnTo>
                    <a:lnTo>
                      <a:pt x="8238" y="1440"/>
                    </a:lnTo>
                    <a:lnTo>
                      <a:pt x="8226" y="1428"/>
                    </a:lnTo>
                    <a:lnTo>
                      <a:pt x="8226" y="1422"/>
                    </a:lnTo>
                    <a:lnTo>
                      <a:pt x="8232" y="1416"/>
                    </a:lnTo>
                    <a:lnTo>
                      <a:pt x="8232" y="1404"/>
                    </a:lnTo>
                    <a:lnTo>
                      <a:pt x="8238" y="1392"/>
                    </a:lnTo>
                    <a:lnTo>
                      <a:pt x="8250" y="1386"/>
                    </a:lnTo>
                    <a:lnTo>
                      <a:pt x="8256" y="1386"/>
                    </a:lnTo>
                    <a:lnTo>
                      <a:pt x="8274" y="1404"/>
                    </a:lnTo>
                    <a:lnTo>
                      <a:pt x="8280" y="1416"/>
                    </a:lnTo>
                    <a:lnTo>
                      <a:pt x="8292" y="1428"/>
                    </a:lnTo>
                    <a:lnTo>
                      <a:pt x="8304" y="1434"/>
                    </a:lnTo>
                    <a:lnTo>
                      <a:pt x="8310" y="1446"/>
                    </a:lnTo>
                    <a:lnTo>
                      <a:pt x="8322" y="1398"/>
                    </a:lnTo>
                    <a:lnTo>
                      <a:pt x="8334" y="1398"/>
                    </a:lnTo>
                    <a:lnTo>
                      <a:pt x="8364" y="1392"/>
                    </a:lnTo>
                    <a:lnTo>
                      <a:pt x="8400" y="1386"/>
                    </a:lnTo>
                    <a:lnTo>
                      <a:pt x="8430" y="1386"/>
                    </a:lnTo>
                    <a:lnTo>
                      <a:pt x="8478" y="1410"/>
                    </a:lnTo>
                    <a:lnTo>
                      <a:pt x="8484" y="1416"/>
                    </a:lnTo>
                    <a:lnTo>
                      <a:pt x="8490" y="1416"/>
                    </a:lnTo>
                    <a:lnTo>
                      <a:pt x="8532" y="1434"/>
                    </a:lnTo>
                    <a:lnTo>
                      <a:pt x="8502" y="1374"/>
                    </a:lnTo>
                    <a:lnTo>
                      <a:pt x="8526" y="1374"/>
                    </a:lnTo>
                    <a:lnTo>
                      <a:pt x="8538" y="1368"/>
                    </a:lnTo>
                    <a:lnTo>
                      <a:pt x="8550" y="1356"/>
                    </a:lnTo>
                    <a:lnTo>
                      <a:pt x="8550" y="1332"/>
                    </a:lnTo>
                    <a:lnTo>
                      <a:pt x="8544" y="1326"/>
                    </a:lnTo>
                    <a:lnTo>
                      <a:pt x="8538" y="1314"/>
                    </a:lnTo>
                    <a:lnTo>
                      <a:pt x="8562" y="1314"/>
                    </a:lnTo>
                    <a:lnTo>
                      <a:pt x="8562" y="1290"/>
                    </a:lnTo>
                    <a:lnTo>
                      <a:pt x="8574" y="1290"/>
                    </a:lnTo>
                    <a:lnTo>
                      <a:pt x="8586" y="1296"/>
                    </a:lnTo>
                    <a:lnTo>
                      <a:pt x="8616" y="1296"/>
                    </a:lnTo>
                    <a:lnTo>
                      <a:pt x="8628" y="1290"/>
                    </a:lnTo>
                    <a:lnTo>
                      <a:pt x="8634" y="1284"/>
                    </a:lnTo>
                    <a:lnTo>
                      <a:pt x="8640" y="1272"/>
                    </a:lnTo>
                    <a:lnTo>
                      <a:pt x="8652" y="1260"/>
                    </a:lnTo>
                    <a:lnTo>
                      <a:pt x="8658" y="1248"/>
                    </a:lnTo>
                    <a:lnTo>
                      <a:pt x="8664" y="1242"/>
                    </a:lnTo>
                    <a:lnTo>
                      <a:pt x="8670" y="1242"/>
                    </a:lnTo>
                    <a:lnTo>
                      <a:pt x="8652" y="1218"/>
                    </a:lnTo>
                    <a:lnTo>
                      <a:pt x="8682" y="1218"/>
                    </a:lnTo>
                    <a:lnTo>
                      <a:pt x="8688" y="1236"/>
                    </a:lnTo>
                    <a:lnTo>
                      <a:pt x="8748" y="1242"/>
                    </a:lnTo>
                    <a:lnTo>
                      <a:pt x="8760" y="1242"/>
                    </a:lnTo>
                    <a:lnTo>
                      <a:pt x="8772" y="1248"/>
                    </a:lnTo>
                    <a:lnTo>
                      <a:pt x="8808" y="1248"/>
                    </a:lnTo>
                    <a:lnTo>
                      <a:pt x="8808" y="1230"/>
                    </a:lnTo>
                    <a:lnTo>
                      <a:pt x="8802" y="1218"/>
                    </a:lnTo>
                    <a:lnTo>
                      <a:pt x="8766" y="1218"/>
                    </a:lnTo>
                    <a:lnTo>
                      <a:pt x="8760" y="1194"/>
                    </a:lnTo>
                    <a:lnTo>
                      <a:pt x="8754" y="1194"/>
                    </a:lnTo>
                    <a:lnTo>
                      <a:pt x="8748" y="1188"/>
                    </a:lnTo>
                    <a:lnTo>
                      <a:pt x="8736" y="1188"/>
                    </a:lnTo>
                    <a:lnTo>
                      <a:pt x="8712" y="1176"/>
                    </a:lnTo>
                    <a:lnTo>
                      <a:pt x="8700" y="1176"/>
                    </a:lnTo>
                    <a:lnTo>
                      <a:pt x="8688" y="1170"/>
                    </a:lnTo>
                    <a:lnTo>
                      <a:pt x="8658" y="1170"/>
                    </a:lnTo>
                    <a:lnTo>
                      <a:pt x="8664" y="1152"/>
                    </a:lnTo>
                    <a:lnTo>
                      <a:pt x="8592" y="1104"/>
                    </a:lnTo>
                    <a:lnTo>
                      <a:pt x="8574" y="1122"/>
                    </a:lnTo>
                    <a:lnTo>
                      <a:pt x="8568" y="1122"/>
                    </a:lnTo>
                    <a:lnTo>
                      <a:pt x="8562" y="1116"/>
                    </a:lnTo>
                    <a:lnTo>
                      <a:pt x="8550" y="1116"/>
                    </a:lnTo>
                    <a:lnTo>
                      <a:pt x="8538" y="1110"/>
                    </a:lnTo>
                    <a:lnTo>
                      <a:pt x="8532" y="1110"/>
                    </a:lnTo>
                    <a:lnTo>
                      <a:pt x="8520" y="1104"/>
                    </a:lnTo>
                    <a:lnTo>
                      <a:pt x="8508" y="1092"/>
                    </a:lnTo>
                    <a:lnTo>
                      <a:pt x="8502" y="1092"/>
                    </a:lnTo>
                    <a:lnTo>
                      <a:pt x="8466" y="1098"/>
                    </a:lnTo>
                    <a:lnTo>
                      <a:pt x="8442" y="1092"/>
                    </a:lnTo>
                    <a:lnTo>
                      <a:pt x="8430" y="1086"/>
                    </a:lnTo>
                    <a:lnTo>
                      <a:pt x="8412" y="1068"/>
                    </a:lnTo>
                    <a:lnTo>
                      <a:pt x="8406" y="1068"/>
                    </a:lnTo>
                    <a:lnTo>
                      <a:pt x="8412" y="1062"/>
                    </a:lnTo>
                    <a:lnTo>
                      <a:pt x="8436" y="1062"/>
                    </a:lnTo>
                    <a:lnTo>
                      <a:pt x="8460" y="1074"/>
                    </a:lnTo>
                    <a:lnTo>
                      <a:pt x="8478" y="1074"/>
                    </a:lnTo>
                    <a:lnTo>
                      <a:pt x="8496" y="1080"/>
                    </a:lnTo>
                    <a:lnTo>
                      <a:pt x="8514" y="1080"/>
                    </a:lnTo>
                    <a:lnTo>
                      <a:pt x="8526" y="1086"/>
                    </a:lnTo>
                    <a:lnTo>
                      <a:pt x="8544" y="1086"/>
                    </a:lnTo>
                    <a:lnTo>
                      <a:pt x="8550" y="1080"/>
                    </a:lnTo>
                    <a:lnTo>
                      <a:pt x="8562" y="1080"/>
                    </a:lnTo>
                    <a:lnTo>
                      <a:pt x="8580" y="1074"/>
                    </a:lnTo>
                    <a:lnTo>
                      <a:pt x="8604" y="1062"/>
                    </a:lnTo>
                    <a:lnTo>
                      <a:pt x="8616" y="1050"/>
                    </a:lnTo>
                    <a:lnTo>
                      <a:pt x="8604" y="1038"/>
                    </a:lnTo>
                    <a:lnTo>
                      <a:pt x="8592" y="1032"/>
                    </a:lnTo>
                    <a:lnTo>
                      <a:pt x="8586" y="1026"/>
                    </a:lnTo>
                    <a:lnTo>
                      <a:pt x="8574" y="1020"/>
                    </a:lnTo>
                    <a:lnTo>
                      <a:pt x="8568" y="1014"/>
                    </a:lnTo>
                    <a:lnTo>
                      <a:pt x="8562" y="1014"/>
                    </a:lnTo>
                    <a:lnTo>
                      <a:pt x="8556" y="1008"/>
                    </a:lnTo>
                    <a:lnTo>
                      <a:pt x="8520" y="990"/>
                    </a:lnTo>
                    <a:lnTo>
                      <a:pt x="8508" y="978"/>
                    </a:lnTo>
                    <a:lnTo>
                      <a:pt x="8514" y="972"/>
                    </a:lnTo>
                    <a:lnTo>
                      <a:pt x="8538" y="972"/>
                    </a:lnTo>
                    <a:lnTo>
                      <a:pt x="8556" y="978"/>
                    </a:lnTo>
                    <a:lnTo>
                      <a:pt x="8562" y="984"/>
                    </a:lnTo>
                    <a:lnTo>
                      <a:pt x="8574" y="990"/>
                    </a:lnTo>
                    <a:lnTo>
                      <a:pt x="8580" y="990"/>
                    </a:lnTo>
                    <a:lnTo>
                      <a:pt x="8586" y="996"/>
                    </a:lnTo>
                    <a:lnTo>
                      <a:pt x="8610" y="1008"/>
                    </a:lnTo>
                    <a:lnTo>
                      <a:pt x="8628" y="1020"/>
                    </a:lnTo>
                    <a:lnTo>
                      <a:pt x="8652" y="1032"/>
                    </a:lnTo>
                    <a:lnTo>
                      <a:pt x="8664" y="1032"/>
                    </a:lnTo>
                    <a:lnTo>
                      <a:pt x="8676" y="1026"/>
                    </a:lnTo>
                    <a:lnTo>
                      <a:pt x="8682" y="1026"/>
                    </a:lnTo>
                    <a:lnTo>
                      <a:pt x="8688" y="1020"/>
                    </a:lnTo>
                    <a:lnTo>
                      <a:pt x="8730" y="1020"/>
                    </a:lnTo>
                    <a:lnTo>
                      <a:pt x="8754" y="1026"/>
                    </a:lnTo>
                    <a:lnTo>
                      <a:pt x="8808" y="1044"/>
                    </a:lnTo>
                    <a:lnTo>
                      <a:pt x="8850" y="1062"/>
                    </a:lnTo>
                    <a:lnTo>
                      <a:pt x="8880" y="1068"/>
                    </a:lnTo>
                    <a:lnTo>
                      <a:pt x="8886" y="1074"/>
                    </a:lnTo>
                    <a:lnTo>
                      <a:pt x="8898" y="1074"/>
                    </a:lnTo>
                    <a:lnTo>
                      <a:pt x="8934" y="1086"/>
                    </a:lnTo>
                    <a:lnTo>
                      <a:pt x="8946" y="1086"/>
                    </a:lnTo>
                    <a:lnTo>
                      <a:pt x="8952" y="1092"/>
                    </a:lnTo>
                    <a:lnTo>
                      <a:pt x="8958" y="1092"/>
                    </a:lnTo>
                    <a:lnTo>
                      <a:pt x="8970" y="1098"/>
                    </a:lnTo>
                    <a:lnTo>
                      <a:pt x="8976" y="1104"/>
                    </a:lnTo>
                    <a:lnTo>
                      <a:pt x="8988" y="1110"/>
                    </a:lnTo>
                    <a:lnTo>
                      <a:pt x="9000" y="1110"/>
                    </a:lnTo>
                    <a:lnTo>
                      <a:pt x="9018" y="1116"/>
                    </a:lnTo>
                    <a:lnTo>
                      <a:pt x="9024" y="1122"/>
                    </a:lnTo>
                    <a:lnTo>
                      <a:pt x="9042" y="1122"/>
                    </a:lnTo>
                    <a:lnTo>
                      <a:pt x="9042" y="1116"/>
                    </a:lnTo>
                    <a:lnTo>
                      <a:pt x="9036" y="1098"/>
                    </a:lnTo>
                    <a:lnTo>
                      <a:pt x="9012" y="1074"/>
                    </a:lnTo>
                    <a:lnTo>
                      <a:pt x="9006" y="1074"/>
                    </a:lnTo>
                    <a:lnTo>
                      <a:pt x="9024" y="1056"/>
                    </a:lnTo>
                    <a:lnTo>
                      <a:pt x="8976" y="1038"/>
                    </a:lnTo>
                    <a:lnTo>
                      <a:pt x="8988" y="1032"/>
                    </a:lnTo>
                    <a:lnTo>
                      <a:pt x="8940" y="1008"/>
                    </a:lnTo>
                    <a:lnTo>
                      <a:pt x="8994" y="1020"/>
                    </a:lnTo>
                    <a:lnTo>
                      <a:pt x="8988" y="996"/>
                    </a:lnTo>
                    <a:lnTo>
                      <a:pt x="9000" y="996"/>
                    </a:lnTo>
                    <a:lnTo>
                      <a:pt x="9012" y="1002"/>
                    </a:lnTo>
                    <a:lnTo>
                      <a:pt x="9048" y="1002"/>
                    </a:lnTo>
                    <a:lnTo>
                      <a:pt x="9048" y="996"/>
                    </a:lnTo>
                    <a:close/>
                  </a:path>
                </a:pathLst>
              </a:custGeom>
              <a:solidFill>
                <a:srgbClr val="9D90A0">
                  <a:lumMod val="40000"/>
                  <a:lumOff val="60000"/>
                </a:srgbClr>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73" name="Romania" descr="© INSCALE GmbH, 05.05.2010&#10;http://www.presentationload.com/">
                <a:extLst>
                  <a:ext uri="{FF2B5EF4-FFF2-40B4-BE49-F238E27FC236}">
                    <a16:creationId xmlns:a16="http://schemas.microsoft.com/office/drawing/2014/main" id="{4A477008-1A98-4EBD-B59F-30C205141EEC}"/>
                  </a:ext>
                </a:extLst>
              </p:cNvPr>
              <p:cNvSpPr>
                <a:spLocks/>
              </p:cNvSpPr>
              <p:nvPr/>
            </p:nvSpPr>
            <p:spPr bwMode="gray">
              <a:xfrm>
                <a:off x="4751312" y="2849058"/>
                <a:ext cx="243346" cy="161141"/>
              </a:xfrm>
              <a:custGeom>
                <a:avLst/>
                <a:gdLst>
                  <a:gd name="T0" fmla="*/ 2147483647 w 612"/>
                  <a:gd name="T1" fmla="*/ 2147483647 h 366"/>
                  <a:gd name="T2" fmla="*/ 2147483647 w 612"/>
                  <a:gd name="T3" fmla="*/ 2147483647 h 366"/>
                  <a:gd name="T4" fmla="*/ 2147483647 w 612"/>
                  <a:gd name="T5" fmla="*/ 2147483647 h 366"/>
                  <a:gd name="T6" fmla="*/ 2147483647 w 612"/>
                  <a:gd name="T7" fmla="*/ 2147483647 h 366"/>
                  <a:gd name="T8" fmla="*/ 2147483647 w 612"/>
                  <a:gd name="T9" fmla="*/ 2147483647 h 366"/>
                  <a:gd name="T10" fmla="*/ 2147483647 w 612"/>
                  <a:gd name="T11" fmla="*/ 2147483647 h 366"/>
                  <a:gd name="T12" fmla="*/ 2147483647 w 612"/>
                  <a:gd name="T13" fmla="*/ 2147483647 h 366"/>
                  <a:gd name="T14" fmla="*/ 2147483647 w 612"/>
                  <a:gd name="T15" fmla="*/ 2147483647 h 366"/>
                  <a:gd name="T16" fmla="*/ 2147483647 w 612"/>
                  <a:gd name="T17" fmla="*/ 2147483647 h 366"/>
                  <a:gd name="T18" fmla="*/ 2147483647 w 612"/>
                  <a:gd name="T19" fmla="*/ 2147483647 h 366"/>
                  <a:gd name="T20" fmla="*/ 2147483647 w 612"/>
                  <a:gd name="T21" fmla="*/ 2147483647 h 366"/>
                  <a:gd name="T22" fmla="*/ 2147483647 w 612"/>
                  <a:gd name="T23" fmla="*/ 2147483647 h 366"/>
                  <a:gd name="T24" fmla="*/ 2147483647 w 612"/>
                  <a:gd name="T25" fmla="*/ 2147483647 h 366"/>
                  <a:gd name="T26" fmla="*/ 2147483647 w 612"/>
                  <a:gd name="T27" fmla="*/ 0 h 366"/>
                  <a:gd name="T28" fmla="*/ 2147483647 w 612"/>
                  <a:gd name="T29" fmla="*/ 2147483647 h 366"/>
                  <a:gd name="T30" fmla="*/ 2147483647 w 612"/>
                  <a:gd name="T31" fmla="*/ 2147483647 h 366"/>
                  <a:gd name="T32" fmla="*/ 2147483647 w 612"/>
                  <a:gd name="T33" fmla="*/ 2147483647 h 366"/>
                  <a:gd name="T34" fmla="*/ 2147483647 w 612"/>
                  <a:gd name="T35" fmla="*/ 2147483647 h 366"/>
                  <a:gd name="T36" fmla="*/ 2147483647 w 612"/>
                  <a:gd name="T37" fmla="*/ 2147483647 h 366"/>
                  <a:gd name="T38" fmla="*/ 2147483647 w 612"/>
                  <a:gd name="T39" fmla="*/ 2147483647 h 366"/>
                  <a:gd name="T40" fmla="*/ 2147483647 w 612"/>
                  <a:gd name="T41" fmla="*/ 2147483647 h 366"/>
                  <a:gd name="T42" fmla="*/ 2147483647 w 612"/>
                  <a:gd name="T43" fmla="*/ 2147483647 h 366"/>
                  <a:gd name="T44" fmla="*/ 2147483647 w 612"/>
                  <a:gd name="T45" fmla="*/ 2147483647 h 366"/>
                  <a:gd name="T46" fmla="*/ 2147483647 w 612"/>
                  <a:gd name="T47" fmla="*/ 2147483647 h 366"/>
                  <a:gd name="T48" fmla="*/ 0 w 612"/>
                  <a:gd name="T49" fmla="*/ 2147483647 h 366"/>
                  <a:gd name="T50" fmla="*/ 2147483647 w 612"/>
                  <a:gd name="T51" fmla="*/ 2147483647 h 366"/>
                  <a:gd name="T52" fmla="*/ 2147483647 w 612"/>
                  <a:gd name="T53" fmla="*/ 2147483647 h 366"/>
                  <a:gd name="T54" fmla="*/ 2147483647 w 612"/>
                  <a:gd name="T55" fmla="*/ 2147483647 h 366"/>
                  <a:gd name="T56" fmla="*/ 2147483647 w 612"/>
                  <a:gd name="T57" fmla="*/ 2147483647 h 366"/>
                  <a:gd name="T58" fmla="*/ 2147483647 w 612"/>
                  <a:gd name="T59" fmla="*/ 2147483647 h 366"/>
                  <a:gd name="T60" fmla="*/ 2147483647 w 612"/>
                  <a:gd name="T61" fmla="*/ 2147483647 h 366"/>
                  <a:gd name="T62" fmla="*/ 2147483647 w 612"/>
                  <a:gd name="T63" fmla="*/ 2147483647 h 366"/>
                  <a:gd name="T64" fmla="*/ 2147483647 w 612"/>
                  <a:gd name="T65" fmla="*/ 2147483647 h 366"/>
                  <a:gd name="T66" fmla="*/ 2147483647 w 612"/>
                  <a:gd name="T67" fmla="*/ 2147483647 h 366"/>
                  <a:gd name="T68" fmla="*/ 2147483647 w 612"/>
                  <a:gd name="T69" fmla="*/ 2147483647 h 366"/>
                  <a:gd name="T70" fmla="*/ 2147483647 w 612"/>
                  <a:gd name="T71" fmla="*/ 2147483647 h 366"/>
                  <a:gd name="T72" fmla="*/ 2147483647 w 612"/>
                  <a:gd name="T73" fmla="*/ 2147483647 h 366"/>
                  <a:gd name="T74" fmla="*/ 2147483647 w 612"/>
                  <a:gd name="T75" fmla="*/ 2147483647 h 366"/>
                  <a:gd name="T76" fmla="*/ 2147483647 w 612"/>
                  <a:gd name="T77" fmla="*/ 2147483647 h 366"/>
                  <a:gd name="T78" fmla="*/ 2147483647 w 612"/>
                  <a:gd name="T79" fmla="*/ 2147483647 h 366"/>
                  <a:gd name="T80" fmla="*/ 2147483647 w 612"/>
                  <a:gd name="T81" fmla="*/ 2147483647 h 366"/>
                  <a:gd name="T82" fmla="*/ 2147483647 w 612"/>
                  <a:gd name="T83" fmla="*/ 2147483647 h 366"/>
                  <a:gd name="T84" fmla="*/ 2147483647 w 612"/>
                  <a:gd name="T85" fmla="*/ 2147483647 h 36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612"/>
                  <a:gd name="T130" fmla="*/ 0 h 366"/>
                  <a:gd name="T131" fmla="*/ 612 w 612"/>
                  <a:gd name="T132" fmla="*/ 366 h 36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612" h="366">
                    <a:moveTo>
                      <a:pt x="516" y="354"/>
                    </a:moveTo>
                    <a:lnTo>
                      <a:pt x="522" y="360"/>
                    </a:lnTo>
                    <a:lnTo>
                      <a:pt x="540" y="360"/>
                    </a:lnTo>
                    <a:lnTo>
                      <a:pt x="540" y="318"/>
                    </a:lnTo>
                    <a:lnTo>
                      <a:pt x="546" y="312"/>
                    </a:lnTo>
                    <a:lnTo>
                      <a:pt x="558" y="294"/>
                    </a:lnTo>
                    <a:lnTo>
                      <a:pt x="564" y="282"/>
                    </a:lnTo>
                    <a:lnTo>
                      <a:pt x="570" y="276"/>
                    </a:lnTo>
                    <a:lnTo>
                      <a:pt x="606" y="276"/>
                    </a:lnTo>
                    <a:lnTo>
                      <a:pt x="612" y="270"/>
                    </a:lnTo>
                    <a:lnTo>
                      <a:pt x="612" y="258"/>
                    </a:lnTo>
                    <a:lnTo>
                      <a:pt x="600" y="222"/>
                    </a:lnTo>
                    <a:lnTo>
                      <a:pt x="600" y="216"/>
                    </a:lnTo>
                    <a:lnTo>
                      <a:pt x="594" y="216"/>
                    </a:lnTo>
                    <a:lnTo>
                      <a:pt x="588" y="222"/>
                    </a:lnTo>
                    <a:lnTo>
                      <a:pt x="570" y="222"/>
                    </a:lnTo>
                    <a:lnTo>
                      <a:pt x="564" y="228"/>
                    </a:lnTo>
                    <a:lnTo>
                      <a:pt x="558" y="228"/>
                    </a:lnTo>
                    <a:lnTo>
                      <a:pt x="552" y="234"/>
                    </a:lnTo>
                    <a:lnTo>
                      <a:pt x="522" y="234"/>
                    </a:lnTo>
                    <a:lnTo>
                      <a:pt x="510" y="222"/>
                    </a:lnTo>
                    <a:lnTo>
                      <a:pt x="510" y="198"/>
                    </a:lnTo>
                    <a:lnTo>
                      <a:pt x="504" y="192"/>
                    </a:lnTo>
                    <a:lnTo>
                      <a:pt x="498" y="180"/>
                    </a:lnTo>
                    <a:lnTo>
                      <a:pt x="498" y="168"/>
                    </a:lnTo>
                    <a:lnTo>
                      <a:pt x="504" y="162"/>
                    </a:lnTo>
                    <a:lnTo>
                      <a:pt x="504" y="150"/>
                    </a:lnTo>
                    <a:lnTo>
                      <a:pt x="510" y="144"/>
                    </a:lnTo>
                    <a:lnTo>
                      <a:pt x="504" y="144"/>
                    </a:lnTo>
                    <a:lnTo>
                      <a:pt x="504" y="102"/>
                    </a:lnTo>
                    <a:lnTo>
                      <a:pt x="498" y="96"/>
                    </a:lnTo>
                    <a:lnTo>
                      <a:pt x="480" y="96"/>
                    </a:lnTo>
                    <a:lnTo>
                      <a:pt x="474" y="78"/>
                    </a:lnTo>
                    <a:lnTo>
                      <a:pt x="462" y="78"/>
                    </a:lnTo>
                    <a:lnTo>
                      <a:pt x="456" y="54"/>
                    </a:lnTo>
                    <a:lnTo>
                      <a:pt x="432" y="42"/>
                    </a:lnTo>
                    <a:lnTo>
                      <a:pt x="432" y="30"/>
                    </a:lnTo>
                    <a:lnTo>
                      <a:pt x="426" y="24"/>
                    </a:lnTo>
                    <a:lnTo>
                      <a:pt x="420" y="12"/>
                    </a:lnTo>
                    <a:lnTo>
                      <a:pt x="414" y="6"/>
                    </a:lnTo>
                    <a:lnTo>
                      <a:pt x="396" y="0"/>
                    </a:lnTo>
                    <a:lnTo>
                      <a:pt x="384" y="0"/>
                    </a:lnTo>
                    <a:lnTo>
                      <a:pt x="378" y="6"/>
                    </a:lnTo>
                    <a:lnTo>
                      <a:pt x="378" y="12"/>
                    </a:lnTo>
                    <a:lnTo>
                      <a:pt x="366" y="24"/>
                    </a:lnTo>
                    <a:lnTo>
                      <a:pt x="348" y="24"/>
                    </a:lnTo>
                    <a:lnTo>
                      <a:pt x="342" y="18"/>
                    </a:lnTo>
                    <a:lnTo>
                      <a:pt x="336" y="30"/>
                    </a:lnTo>
                    <a:lnTo>
                      <a:pt x="312" y="24"/>
                    </a:lnTo>
                    <a:lnTo>
                      <a:pt x="312" y="30"/>
                    </a:lnTo>
                    <a:lnTo>
                      <a:pt x="300" y="42"/>
                    </a:lnTo>
                    <a:lnTo>
                      <a:pt x="288" y="42"/>
                    </a:lnTo>
                    <a:lnTo>
                      <a:pt x="264" y="18"/>
                    </a:lnTo>
                    <a:lnTo>
                      <a:pt x="258" y="18"/>
                    </a:lnTo>
                    <a:lnTo>
                      <a:pt x="246" y="24"/>
                    </a:lnTo>
                    <a:lnTo>
                      <a:pt x="240" y="24"/>
                    </a:lnTo>
                    <a:lnTo>
                      <a:pt x="228" y="30"/>
                    </a:lnTo>
                    <a:lnTo>
                      <a:pt x="222" y="24"/>
                    </a:lnTo>
                    <a:lnTo>
                      <a:pt x="198" y="24"/>
                    </a:lnTo>
                    <a:lnTo>
                      <a:pt x="192" y="18"/>
                    </a:lnTo>
                    <a:lnTo>
                      <a:pt x="168" y="18"/>
                    </a:lnTo>
                    <a:lnTo>
                      <a:pt x="150" y="36"/>
                    </a:lnTo>
                    <a:lnTo>
                      <a:pt x="120" y="36"/>
                    </a:lnTo>
                    <a:lnTo>
                      <a:pt x="108" y="48"/>
                    </a:lnTo>
                    <a:lnTo>
                      <a:pt x="108" y="90"/>
                    </a:lnTo>
                    <a:lnTo>
                      <a:pt x="90" y="108"/>
                    </a:lnTo>
                    <a:lnTo>
                      <a:pt x="78" y="114"/>
                    </a:lnTo>
                    <a:lnTo>
                      <a:pt x="72" y="120"/>
                    </a:lnTo>
                    <a:lnTo>
                      <a:pt x="72" y="138"/>
                    </a:lnTo>
                    <a:lnTo>
                      <a:pt x="66" y="144"/>
                    </a:lnTo>
                    <a:lnTo>
                      <a:pt x="54" y="150"/>
                    </a:lnTo>
                    <a:lnTo>
                      <a:pt x="48" y="156"/>
                    </a:lnTo>
                    <a:lnTo>
                      <a:pt x="30" y="150"/>
                    </a:lnTo>
                    <a:lnTo>
                      <a:pt x="30" y="168"/>
                    </a:lnTo>
                    <a:lnTo>
                      <a:pt x="0" y="174"/>
                    </a:lnTo>
                    <a:lnTo>
                      <a:pt x="6" y="174"/>
                    </a:lnTo>
                    <a:lnTo>
                      <a:pt x="30" y="192"/>
                    </a:lnTo>
                    <a:lnTo>
                      <a:pt x="36" y="192"/>
                    </a:lnTo>
                    <a:lnTo>
                      <a:pt x="48" y="228"/>
                    </a:lnTo>
                    <a:lnTo>
                      <a:pt x="54" y="234"/>
                    </a:lnTo>
                    <a:lnTo>
                      <a:pt x="60" y="234"/>
                    </a:lnTo>
                    <a:lnTo>
                      <a:pt x="66" y="228"/>
                    </a:lnTo>
                    <a:lnTo>
                      <a:pt x="72" y="228"/>
                    </a:lnTo>
                    <a:lnTo>
                      <a:pt x="84" y="234"/>
                    </a:lnTo>
                    <a:lnTo>
                      <a:pt x="84" y="252"/>
                    </a:lnTo>
                    <a:lnTo>
                      <a:pt x="78" y="258"/>
                    </a:lnTo>
                    <a:lnTo>
                      <a:pt x="90" y="276"/>
                    </a:lnTo>
                    <a:lnTo>
                      <a:pt x="114" y="282"/>
                    </a:lnTo>
                    <a:lnTo>
                      <a:pt x="120" y="288"/>
                    </a:lnTo>
                    <a:lnTo>
                      <a:pt x="144" y="282"/>
                    </a:lnTo>
                    <a:lnTo>
                      <a:pt x="168" y="288"/>
                    </a:lnTo>
                    <a:lnTo>
                      <a:pt x="162" y="294"/>
                    </a:lnTo>
                    <a:lnTo>
                      <a:pt x="156" y="306"/>
                    </a:lnTo>
                    <a:lnTo>
                      <a:pt x="162" y="312"/>
                    </a:lnTo>
                    <a:lnTo>
                      <a:pt x="162" y="324"/>
                    </a:lnTo>
                    <a:lnTo>
                      <a:pt x="186" y="324"/>
                    </a:lnTo>
                    <a:lnTo>
                      <a:pt x="192" y="330"/>
                    </a:lnTo>
                    <a:lnTo>
                      <a:pt x="186" y="336"/>
                    </a:lnTo>
                    <a:lnTo>
                      <a:pt x="186" y="342"/>
                    </a:lnTo>
                    <a:lnTo>
                      <a:pt x="180" y="348"/>
                    </a:lnTo>
                    <a:lnTo>
                      <a:pt x="186" y="354"/>
                    </a:lnTo>
                    <a:lnTo>
                      <a:pt x="204" y="354"/>
                    </a:lnTo>
                    <a:lnTo>
                      <a:pt x="216" y="342"/>
                    </a:lnTo>
                    <a:lnTo>
                      <a:pt x="240" y="354"/>
                    </a:lnTo>
                    <a:lnTo>
                      <a:pt x="252" y="354"/>
                    </a:lnTo>
                    <a:lnTo>
                      <a:pt x="258" y="360"/>
                    </a:lnTo>
                    <a:lnTo>
                      <a:pt x="282" y="360"/>
                    </a:lnTo>
                    <a:lnTo>
                      <a:pt x="288" y="354"/>
                    </a:lnTo>
                    <a:lnTo>
                      <a:pt x="288" y="348"/>
                    </a:lnTo>
                    <a:lnTo>
                      <a:pt x="306" y="354"/>
                    </a:lnTo>
                    <a:lnTo>
                      <a:pt x="330" y="354"/>
                    </a:lnTo>
                    <a:lnTo>
                      <a:pt x="336" y="360"/>
                    </a:lnTo>
                    <a:lnTo>
                      <a:pt x="348" y="366"/>
                    </a:lnTo>
                    <a:lnTo>
                      <a:pt x="366" y="366"/>
                    </a:lnTo>
                    <a:lnTo>
                      <a:pt x="372" y="360"/>
                    </a:lnTo>
                    <a:lnTo>
                      <a:pt x="372" y="348"/>
                    </a:lnTo>
                    <a:lnTo>
                      <a:pt x="378" y="342"/>
                    </a:lnTo>
                    <a:lnTo>
                      <a:pt x="384" y="342"/>
                    </a:lnTo>
                    <a:lnTo>
                      <a:pt x="396" y="336"/>
                    </a:lnTo>
                    <a:lnTo>
                      <a:pt x="402" y="336"/>
                    </a:lnTo>
                    <a:lnTo>
                      <a:pt x="402" y="330"/>
                    </a:lnTo>
                    <a:lnTo>
                      <a:pt x="432" y="336"/>
                    </a:lnTo>
                    <a:lnTo>
                      <a:pt x="432" y="324"/>
                    </a:lnTo>
                    <a:lnTo>
                      <a:pt x="438" y="324"/>
                    </a:lnTo>
                    <a:lnTo>
                      <a:pt x="450" y="330"/>
                    </a:lnTo>
                    <a:lnTo>
                      <a:pt x="462" y="330"/>
                    </a:lnTo>
                    <a:lnTo>
                      <a:pt x="474" y="336"/>
                    </a:lnTo>
                    <a:lnTo>
                      <a:pt x="498" y="336"/>
                    </a:lnTo>
                    <a:lnTo>
                      <a:pt x="516" y="354"/>
                    </a:lnTo>
                    <a:close/>
                  </a:path>
                </a:pathLst>
              </a:custGeom>
              <a:solidFill>
                <a:srgbClr val="4966AC"/>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74" name="Portugal" descr="© INSCALE GmbH, 05.05.2010&#10;http://www.presentationload.com/">
                <a:extLst>
                  <a:ext uri="{FF2B5EF4-FFF2-40B4-BE49-F238E27FC236}">
                    <a16:creationId xmlns:a16="http://schemas.microsoft.com/office/drawing/2014/main" id="{A9054A0B-15CC-47F3-8AB6-2DC4926B3401}"/>
                  </a:ext>
                </a:extLst>
              </p:cNvPr>
              <p:cNvSpPr>
                <a:spLocks/>
              </p:cNvSpPr>
              <p:nvPr/>
            </p:nvSpPr>
            <p:spPr bwMode="gray">
              <a:xfrm>
                <a:off x="3988515" y="3063913"/>
                <a:ext cx="88915" cy="180201"/>
              </a:xfrm>
              <a:custGeom>
                <a:avLst/>
                <a:gdLst>
                  <a:gd name="T0" fmla="*/ 2147483647 w 228"/>
                  <a:gd name="T1" fmla="*/ 2147483647 h 414"/>
                  <a:gd name="T2" fmla="*/ 2147483647 w 228"/>
                  <a:gd name="T3" fmla="*/ 2147483647 h 414"/>
                  <a:gd name="T4" fmla="*/ 2147483647 w 228"/>
                  <a:gd name="T5" fmla="*/ 2147483647 h 414"/>
                  <a:gd name="T6" fmla="*/ 2147483647 w 228"/>
                  <a:gd name="T7" fmla="*/ 2147483647 h 414"/>
                  <a:gd name="T8" fmla="*/ 2147483647 w 228"/>
                  <a:gd name="T9" fmla="*/ 2147483647 h 414"/>
                  <a:gd name="T10" fmla="*/ 2147483647 w 228"/>
                  <a:gd name="T11" fmla="*/ 2147483647 h 414"/>
                  <a:gd name="T12" fmla="*/ 2147483647 w 228"/>
                  <a:gd name="T13" fmla="*/ 0 h 414"/>
                  <a:gd name="T14" fmla="*/ 2147483647 w 228"/>
                  <a:gd name="T15" fmla="*/ 2147483647 h 414"/>
                  <a:gd name="T16" fmla="*/ 2147483647 w 228"/>
                  <a:gd name="T17" fmla="*/ 2147483647 h 414"/>
                  <a:gd name="T18" fmla="*/ 2147483647 w 228"/>
                  <a:gd name="T19" fmla="*/ 2147483647 h 414"/>
                  <a:gd name="T20" fmla="*/ 2147483647 w 228"/>
                  <a:gd name="T21" fmla="*/ 2147483647 h 414"/>
                  <a:gd name="T22" fmla="*/ 2147483647 w 228"/>
                  <a:gd name="T23" fmla="*/ 2147483647 h 414"/>
                  <a:gd name="T24" fmla="*/ 2147483647 w 228"/>
                  <a:gd name="T25" fmla="*/ 2147483647 h 414"/>
                  <a:gd name="T26" fmla="*/ 0 w 228"/>
                  <a:gd name="T27" fmla="*/ 2147483647 h 414"/>
                  <a:gd name="T28" fmla="*/ 2147483647 w 228"/>
                  <a:gd name="T29" fmla="*/ 2147483647 h 414"/>
                  <a:gd name="T30" fmla="*/ 2147483647 w 228"/>
                  <a:gd name="T31" fmla="*/ 2147483647 h 414"/>
                  <a:gd name="T32" fmla="*/ 2147483647 w 228"/>
                  <a:gd name="T33" fmla="*/ 2147483647 h 414"/>
                  <a:gd name="T34" fmla="*/ 2147483647 w 228"/>
                  <a:gd name="T35" fmla="*/ 2147483647 h 414"/>
                  <a:gd name="T36" fmla="*/ 2147483647 w 228"/>
                  <a:gd name="T37" fmla="*/ 2147483647 h 414"/>
                  <a:gd name="T38" fmla="*/ 2147483647 w 228"/>
                  <a:gd name="T39" fmla="*/ 2147483647 h 414"/>
                  <a:gd name="T40" fmla="*/ 2147483647 w 228"/>
                  <a:gd name="T41" fmla="*/ 2147483647 h 414"/>
                  <a:gd name="T42" fmla="*/ 2147483647 w 228"/>
                  <a:gd name="T43" fmla="*/ 2147483647 h 414"/>
                  <a:gd name="T44" fmla="*/ 2147483647 w 228"/>
                  <a:gd name="T45" fmla="*/ 2147483647 h 414"/>
                  <a:gd name="T46" fmla="*/ 2147483647 w 228"/>
                  <a:gd name="T47" fmla="*/ 2147483647 h 414"/>
                  <a:gd name="T48" fmla="*/ 2147483647 w 228"/>
                  <a:gd name="T49" fmla="*/ 2147483647 h 414"/>
                  <a:gd name="T50" fmla="*/ 2147483647 w 228"/>
                  <a:gd name="T51" fmla="*/ 2147483647 h 414"/>
                  <a:gd name="T52" fmla="*/ 2147483647 w 228"/>
                  <a:gd name="T53" fmla="*/ 2147483647 h 414"/>
                  <a:gd name="T54" fmla="*/ 2147483647 w 228"/>
                  <a:gd name="T55" fmla="*/ 2147483647 h 414"/>
                  <a:gd name="T56" fmla="*/ 2147483647 w 228"/>
                  <a:gd name="T57" fmla="*/ 2147483647 h 414"/>
                  <a:gd name="T58" fmla="*/ 2147483647 w 228"/>
                  <a:gd name="T59" fmla="*/ 2147483647 h 414"/>
                  <a:gd name="T60" fmla="*/ 2147483647 w 228"/>
                  <a:gd name="T61" fmla="*/ 2147483647 h 414"/>
                  <a:gd name="T62" fmla="*/ 2147483647 w 228"/>
                  <a:gd name="T63" fmla="*/ 2147483647 h 414"/>
                  <a:gd name="T64" fmla="*/ 2147483647 w 228"/>
                  <a:gd name="T65" fmla="*/ 2147483647 h 414"/>
                  <a:gd name="T66" fmla="*/ 2147483647 w 228"/>
                  <a:gd name="T67" fmla="*/ 2147483647 h 414"/>
                  <a:gd name="T68" fmla="*/ 2147483647 w 228"/>
                  <a:gd name="T69" fmla="*/ 2147483647 h 414"/>
                  <a:gd name="T70" fmla="*/ 2147483647 w 228"/>
                  <a:gd name="T71" fmla="*/ 2147483647 h 414"/>
                  <a:gd name="T72" fmla="*/ 2147483647 w 228"/>
                  <a:gd name="T73" fmla="*/ 2147483647 h 414"/>
                  <a:gd name="T74" fmla="*/ 2147483647 w 228"/>
                  <a:gd name="T75" fmla="*/ 2147483647 h 414"/>
                  <a:gd name="T76" fmla="*/ 2147483647 w 228"/>
                  <a:gd name="T77" fmla="*/ 2147483647 h 414"/>
                  <a:gd name="T78" fmla="*/ 2147483647 w 228"/>
                  <a:gd name="T79" fmla="*/ 2147483647 h 414"/>
                  <a:gd name="T80" fmla="*/ 2147483647 w 228"/>
                  <a:gd name="T81" fmla="*/ 2147483647 h 414"/>
                  <a:gd name="T82" fmla="*/ 2147483647 w 228"/>
                  <a:gd name="T83" fmla="*/ 2147483647 h 41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28"/>
                  <a:gd name="T127" fmla="*/ 0 h 414"/>
                  <a:gd name="T128" fmla="*/ 228 w 228"/>
                  <a:gd name="T129" fmla="*/ 414 h 41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28" h="414">
                    <a:moveTo>
                      <a:pt x="210" y="30"/>
                    </a:moveTo>
                    <a:lnTo>
                      <a:pt x="210" y="12"/>
                    </a:lnTo>
                    <a:lnTo>
                      <a:pt x="156" y="12"/>
                    </a:lnTo>
                    <a:lnTo>
                      <a:pt x="156" y="18"/>
                    </a:lnTo>
                    <a:lnTo>
                      <a:pt x="150" y="24"/>
                    </a:lnTo>
                    <a:lnTo>
                      <a:pt x="138" y="24"/>
                    </a:lnTo>
                    <a:lnTo>
                      <a:pt x="132" y="18"/>
                    </a:lnTo>
                    <a:lnTo>
                      <a:pt x="114" y="18"/>
                    </a:lnTo>
                    <a:lnTo>
                      <a:pt x="108" y="24"/>
                    </a:lnTo>
                    <a:lnTo>
                      <a:pt x="96" y="24"/>
                    </a:lnTo>
                    <a:lnTo>
                      <a:pt x="96" y="18"/>
                    </a:lnTo>
                    <a:lnTo>
                      <a:pt x="102" y="18"/>
                    </a:lnTo>
                    <a:lnTo>
                      <a:pt x="114" y="6"/>
                    </a:lnTo>
                    <a:lnTo>
                      <a:pt x="114" y="0"/>
                    </a:lnTo>
                    <a:lnTo>
                      <a:pt x="90" y="0"/>
                    </a:lnTo>
                    <a:lnTo>
                      <a:pt x="66" y="12"/>
                    </a:lnTo>
                    <a:lnTo>
                      <a:pt x="60" y="18"/>
                    </a:lnTo>
                    <a:lnTo>
                      <a:pt x="60" y="36"/>
                    </a:lnTo>
                    <a:lnTo>
                      <a:pt x="66" y="60"/>
                    </a:lnTo>
                    <a:lnTo>
                      <a:pt x="66" y="78"/>
                    </a:lnTo>
                    <a:lnTo>
                      <a:pt x="60" y="108"/>
                    </a:lnTo>
                    <a:lnTo>
                      <a:pt x="48" y="138"/>
                    </a:lnTo>
                    <a:lnTo>
                      <a:pt x="30" y="174"/>
                    </a:lnTo>
                    <a:lnTo>
                      <a:pt x="12" y="222"/>
                    </a:lnTo>
                    <a:lnTo>
                      <a:pt x="6" y="234"/>
                    </a:lnTo>
                    <a:lnTo>
                      <a:pt x="6" y="240"/>
                    </a:lnTo>
                    <a:lnTo>
                      <a:pt x="0" y="252"/>
                    </a:lnTo>
                    <a:lnTo>
                      <a:pt x="0" y="264"/>
                    </a:lnTo>
                    <a:lnTo>
                      <a:pt x="18" y="282"/>
                    </a:lnTo>
                    <a:lnTo>
                      <a:pt x="30" y="288"/>
                    </a:lnTo>
                    <a:lnTo>
                      <a:pt x="42" y="342"/>
                    </a:lnTo>
                    <a:lnTo>
                      <a:pt x="42" y="348"/>
                    </a:lnTo>
                    <a:lnTo>
                      <a:pt x="36" y="354"/>
                    </a:lnTo>
                    <a:lnTo>
                      <a:pt x="36" y="366"/>
                    </a:lnTo>
                    <a:lnTo>
                      <a:pt x="30" y="384"/>
                    </a:lnTo>
                    <a:lnTo>
                      <a:pt x="24" y="396"/>
                    </a:lnTo>
                    <a:lnTo>
                      <a:pt x="24" y="408"/>
                    </a:lnTo>
                    <a:lnTo>
                      <a:pt x="48" y="408"/>
                    </a:lnTo>
                    <a:lnTo>
                      <a:pt x="60" y="402"/>
                    </a:lnTo>
                    <a:lnTo>
                      <a:pt x="72" y="402"/>
                    </a:lnTo>
                    <a:lnTo>
                      <a:pt x="84" y="414"/>
                    </a:lnTo>
                    <a:lnTo>
                      <a:pt x="96" y="414"/>
                    </a:lnTo>
                    <a:lnTo>
                      <a:pt x="108" y="408"/>
                    </a:lnTo>
                    <a:lnTo>
                      <a:pt x="114" y="402"/>
                    </a:lnTo>
                    <a:lnTo>
                      <a:pt x="120" y="402"/>
                    </a:lnTo>
                    <a:lnTo>
                      <a:pt x="126" y="396"/>
                    </a:lnTo>
                    <a:lnTo>
                      <a:pt x="126" y="348"/>
                    </a:lnTo>
                    <a:lnTo>
                      <a:pt x="132" y="342"/>
                    </a:lnTo>
                    <a:lnTo>
                      <a:pt x="138" y="330"/>
                    </a:lnTo>
                    <a:lnTo>
                      <a:pt x="150" y="330"/>
                    </a:lnTo>
                    <a:lnTo>
                      <a:pt x="162" y="318"/>
                    </a:lnTo>
                    <a:lnTo>
                      <a:pt x="162" y="312"/>
                    </a:lnTo>
                    <a:lnTo>
                      <a:pt x="150" y="312"/>
                    </a:lnTo>
                    <a:lnTo>
                      <a:pt x="144" y="306"/>
                    </a:lnTo>
                    <a:lnTo>
                      <a:pt x="138" y="294"/>
                    </a:lnTo>
                    <a:lnTo>
                      <a:pt x="138" y="288"/>
                    </a:lnTo>
                    <a:lnTo>
                      <a:pt x="132" y="282"/>
                    </a:lnTo>
                    <a:lnTo>
                      <a:pt x="132" y="276"/>
                    </a:lnTo>
                    <a:lnTo>
                      <a:pt x="144" y="264"/>
                    </a:lnTo>
                    <a:lnTo>
                      <a:pt x="156" y="258"/>
                    </a:lnTo>
                    <a:lnTo>
                      <a:pt x="168" y="246"/>
                    </a:lnTo>
                    <a:lnTo>
                      <a:pt x="168" y="240"/>
                    </a:lnTo>
                    <a:lnTo>
                      <a:pt x="156" y="234"/>
                    </a:lnTo>
                    <a:lnTo>
                      <a:pt x="150" y="228"/>
                    </a:lnTo>
                    <a:lnTo>
                      <a:pt x="150" y="216"/>
                    </a:lnTo>
                    <a:lnTo>
                      <a:pt x="126" y="192"/>
                    </a:lnTo>
                    <a:lnTo>
                      <a:pt x="162" y="192"/>
                    </a:lnTo>
                    <a:lnTo>
                      <a:pt x="174" y="180"/>
                    </a:lnTo>
                    <a:lnTo>
                      <a:pt x="174" y="168"/>
                    </a:lnTo>
                    <a:lnTo>
                      <a:pt x="168" y="162"/>
                    </a:lnTo>
                    <a:lnTo>
                      <a:pt x="168" y="150"/>
                    </a:lnTo>
                    <a:lnTo>
                      <a:pt x="174" y="144"/>
                    </a:lnTo>
                    <a:lnTo>
                      <a:pt x="180" y="144"/>
                    </a:lnTo>
                    <a:lnTo>
                      <a:pt x="180" y="126"/>
                    </a:lnTo>
                    <a:lnTo>
                      <a:pt x="186" y="108"/>
                    </a:lnTo>
                    <a:lnTo>
                      <a:pt x="186" y="96"/>
                    </a:lnTo>
                    <a:lnTo>
                      <a:pt x="180" y="90"/>
                    </a:lnTo>
                    <a:lnTo>
                      <a:pt x="174" y="90"/>
                    </a:lnTo>
                    <a:lnTo>
                      <a:pt x="174" y="84"/>
                    </a:lnTo>
                    <a:lnTo>
                      <a:pt x="180" y="78"/>
                    </a:lnTo>
                    <a:lnTo>
                      <a:pt x="204" y="66"/>
                    </a:lnTo>
                    <a:lnTo>
                      <a:pt x="228" y="42"/>
                    </a:lnTo>
                    <a:lnTo>
                      <a:pt x="228" y="36"/>
                    </a:lnTo>
                    <a:lnTo>
                      <a:pt x="216" y="30"/>
                    </a:lnTo>
                    <a:lnTo>
                      <a:pt x="210" y="30"/>
                    </a:lnTo>
                    <a:close/>
                  </a:path>
                </a:pathLst>
              </a:custGeom>
              <a:solidFill>
                <a:srgbClr val="4966AC"/>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75" name="Poland" descr="© INSCALE GmbH, 05.05.2010&#10;http://www.presentationload.com/">
                <a:extLst>
                  <a:ext uri="{FF2B5EF4-FFF2-40B4-BE49-F238E27FC236}">
                    <a16:creationId xmlns:a16="http://schemas.microsoft.com/office/drawing/2014/main" id="{4968F216-F5F9-44BA-A623-422BCC1600D1}"/>
                  </a:ext>
                </a:extLst>
              </p:cNvPr>
              <p:cNvSpPr>
                <a:spLocks/>
              </p:cNvSpPr>
              <p:nvPr/>
            </p:nvSpPr>
            <p:spPr bwMode="gray">
              <a:xfrm>
                <a:off x="4595321" y="2625540"/>
                <a:ext cx="248026" cy="197528"/>
              </a:xfrm>
              <a:custGeom>
                <a:avLst/>
                <a:gdLst>
                  <a:gd name="T0" fmla="*/ 2147483647 w 624"/>
                  <a:gd name="T1" fmla="*/ 2147483647 h 450"/>
                  <a:gd name="T2" fmla="*/ 2147483647 w 624"/>
                  <a:gd name="T3" fmla="*/ 2147483647 h 450"/>
                  <a:gd name="T4" fmla="*/ 2147483647 w 624"/>
                  <a:gd name="T5" fmla="*/ 2147483647 h 450"/>
                  <a:gd name="T6" fmla="*/ 2147483647 w 624"/>
                  <a:gd name="T7" fmla="*/ 2147483647 h 450"/>
                  <a:gd name="T8" fmla="*/ 2147483647 w 624"/>
                  <a:gd name="T9" fmla="*/ 2147483647 h 450"/>
                  <a:gd name="T10" fmla="*/ 2147483647 w 624"/>
                  <a:gd name="T11" fmla="*/ 2147483647 h 450"/>
                  <a:gd name="T12" fmla="*/ 2147483647 w 624"/>
                  <a:gd name="T13" fmla="*/ 2147483647 h 450"/>
                  <a:gd name="T14" fmla="*/ 2147483647 w 624"/>
                  <a:gd name="T15" fmla="*/ 2147483647 h 450"/>
                  <a:gd name="T16" fmla="*/ 2147483647 w 624"/>
                  <a:gd name="T17" fmla="*/ 2147483647 h 450"/>
                  <a:gd name="T18" fmla="*/ 2147483647 w 624"/>
                  <a:gd name="T19" fmla="*/ 2147483647 h 450"/>
                  <a:gd name="T20" fmla="*/ 2147483647 w 624"/>
                  <a:gd name="T21" fmla="*/ 2147483647 h 450"/>
                  <a:gd name="T22" fmla="*/ 2147483647 w 624"/>
                  <a:gd name="T23" fmla="*/ 2147483647 h 450"/>
                  <a:gd name="T24" fmla="*/ 2147483647 w 624"/>
                  <a:gd name="T25" fmla="*/ 2147483647 h 450"/>
                  <a:gd name="T26" fmla="*/ 2147483647 w 624"/>
                  <a:gd name="T27" fmla="*/ 2147483647 h 450"/>
                  <a:gd name="T28" fmla="*/ 2147483647 w 624"/>
                  <a:gd name="T29" fmla="*/ 2147483647 h 450"/>
                  <a:gd name="T30" fmla="*/ 2147483647 w 624"/>
                  <a:gd name="T31" fmla="*/ 2147483647 h 450"/>
                  <a:gd name="T32" fmla="*/ 2147483647 w 624"/>
                  <a:gd name="T33" fmla="*/ 2147483647 h 450"/>
                  <a:gd name="T34" fmla="*/ 2147483647 w 624"/>
                  <a:gd name="T35" fmla="*/ 2147483647 h 450"/>
                  <a:gd name="T36" fmla="*/ 2147483647 w 624"/>
                  <a:gd name="T37" fmla="*/ 2147483647 h 450"/>
                  <a:gd name="T38" fmla="*/ 2147483647 w 624"/>
                  <a:gd name="T39" fmla="*/ 2147483647 h 450"/>
                  <a:gd name="T40" fmla="*/ 2147483647 w 624"/>
                  <a:gd name="T41" fmla="*/ 2147483647 h 450"/>
                  <a:gd name="T42" fmla="*/ 2147483647 w 624"/>
                  <a:gd name="T43" fmla="*/ 2147483647 h 450"/>
                  <a:gd name="T44" fmla="*/ 2147483647 w 624"/>
                  <a:gd name="T45" fmla="*/ 2147483647 h 450"/>
                  <a:gd name="T46" fmla="*/ 2147483647 w 624"/>
                  <a:gd name="T47" fmla="*/ 2147483647 h 450"/>
                  <a:gd name="T48" fmla="*/ 2147483647 w 624"/>
                  <a:gd name="T49" fmla="*/ 2147483647 h 450"/>
                  <a:gd name="T50" fmla="*/ 2147483647 w 624"/>
                  <a:gd name="T51" fmla="*/ 2147483647 h 450"/>
                  <a:gd name="T52" fmla="*/ 2147483647 w 624"/>
                  <a:gd name="T53" fmla="*/ 2147483647 h 450"/>
                  <a:gd name="T54" fmla="*/ 2147483647 w 624"/>
                  <a:gd name="T55" fmla="*/ 2147483647 h 450"/>
                  <a:gd name="T56" fmla="*/ 2147483647 w 624"/>
                  <a:gd name="T57" fmla="*/ 2147483647 h 450"/>
                  <a:gd name="T58" fmla="*/ 0 w 624"/>
                  <a:gd name="T59" fmla="*/ 2147483647 h 450"/>
                  <a:gd name="T60" fmla="*/ 2147483647 w 624"/>
                  <a:gd name="T61" fmla="*/ 2147483647 h 450"/>
                  <a:gd name="T62" fmla="*/ 2147483647 w 624"/>
                  <a:gd name="T63" fmla="*/ 2147483647 h 450"/>
                  <a:gd name="T64" fmla="*/ 2147483647 w 624"/>
                  <a:gd name="T65" fmla="*/ 2147483647 h 450"/>
                  <a:gd name="T66" fmla="*/ 2147483647 w 624"/>
                  <a:gd name="T67" fmla="*/ 2147483647 h 450"/>
                  <a:gd name="T68" fmla="*/ 2147483647 w 624"/>
                  <a:gd name="T69" fmla="*/ 2147483647 h 450"/>
                  <a:gd name="T70" fmla="*/ 2147483647 w 624"/>
                  <a:gd name="T71" fmla="*/ 2147483647 h 450"/>
                  <a:gd name="T72" fmla="*/ 2147483647 w 624"/>
                  <a:gd name="T73" fmla="*/ 2147483647 h 450"/>
                  <a:gd name="T74" fmla="*/ 2147483647 w 624"/>
                  <a:gd name="T75" fmla="*/ 2147483647 h 450"/>
                  <a:gd name="T76" fmla="*/ 2147483647 w 624"/>
                  <a:gd name="T77" fmla="*/ 2147483647 h 450"/>
                  <a:gd name="T78" fmla="*/ 2147483647 w 624"/>
                  <a:gd name="T79" fmla="*/ 2147483647 h 450"/>
                  <a:gd name="T80" fmla="*/ 2147483647 w 624"/>
                  <a:gd name="T81" fmla="*/ 2147483647 h 450"/>
                  <a:gd name="T82" fmla="*/ 2147483647 w 624"/>
                  <a:gd name="T83" fmla="*/ 2147483647 h 450"/>
                  <a:gd name="T84" fmla="*/ 2147483647 w 624"/>
                  <a:gd name="T85" fmla="*/ 2147483647 h 450"/>
                  <a:gd name="T86" fmla="*/ 2147483647 w 624"/>
                  <a:gd name="T87" fmla="*/ 2147483647 h 450"/>
                  <a:gd name="T88" fmla="*/ 2147483647 w 624"/>
                  <a:gd name="T89" fmla="*/ 2147483647 h 450"/>
                  <a:gd name="T90" fmla="*/ 2147483647 w 624"/>
                  <a:gd name="T91" fmla="*/ 2147483647 h 450"/>
                  <a:gd name="T92" fmla="*/ 2147483647 w 624"/>
                  <a:gd name="T93" fmla="*/ 2147483647 h 450"/>
                  <a:gd name="T94" fmla="*/ 2147483647 w 624"/>
                  <a:gd name="T95" fmla="*/ 2147483647 h 450"/>
                  <a:gd name="T96" fmla="*/ 2147483647 w 624"/>
                  <a:gd name="T97" fmla="*/ 2147483647 h 450"/>
                  <a:gd name="T98" fmla="*/ 2147483647 w 624"/>
                  <a:gd name="T99" fmla="*/ 2147483647 h 450"/>
                  <a:gd name="T100" fmla="*/ 2147483647 w 624"/>
                  <a:gd name="T101" fmla="*/ 2147483647 h 450"/>
                  <a:gd name="T102" fmla="*/ 2147483647 w 624"/>
                  <a:gd name="T103" fmla="*/ 2147483647 h 450"/>
                  <a:gd name="T104" fmla="*/ 2147483647 w 624"/>
                  <a:gd name="T105" fmla="*/ 2147483647 h 450"/>
                  <a:gd name="T106" fmla="*/ 2147483647 w 624"/>
                  <a:gd name="T107" fmla="*/ 2147483647 h 45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624"/>
                  <a:gd name="T163" fmla="*/ 0 h 450"/>
                  <a:gd name="T164" fmla="*/ 624 w 624"/>
                  <a:gd name="T165" fmla="*/ 450 h 45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624" h="450">
                    <a:moveTo>
                      <a:pt x="426" y="426"/>
                    </a:moveTo>
                    <a:lnTo>
                      <a:pt x="432" y="426"/>
                    </a:lnTo>
                    <a:lnTo>
                      <a:pt x="444" y="420"/>
                    </a:lnTo>
                    <a:lnTo>
                      <a:pt x="450" y="414"/>
                    </a:lnTo>
                    <a:lnTo>
                      <a:pt x="474" y="414"/>
                    </a:lnTo>
                    <a:lnTo>
                      <a:pt x="498" y="438"/>
                    </a:lnTo>
                    <a:lnTo>
                      <a:pt x="528" y="438"/>
                    </a:lnTo>
                    <a:lnTo>
                      <a:pt x="528" y="450"/>
                    </a:lnTo>
                    <a:lnTo>
                      <a:pt x="552" y="450"/>
                    </a:lnTo>
                    <a:lnTo>
                      <a:pt x="540" y="438"/>
                    </a:lnTo>
                    <a:lnTo>
                      <a:pt x="540" y="396"/>
                    </a:lnTo>
                    <a:lnTo>
                      <a:pt x="594" y="348"/>
                    </a:lnTo>
                    <a:lnTo>
                      <a:pt x="606" y="348"/>
                    </a:lnTo>
                    <a:lnTo>
                      <a:pt x="612" y="342"/>
                    </a:lnTo>
                    <a:lnTo>
                      <a:pt x="618" y="342"/>
                    </a:lnTo>
                    <a:lnTo>
                      <a:pt x="624" y="336"/>
                    </a:lnTo>
                    <a:lnTo>
                      <a:pt x="618" y="330"/>
                    </a:lnTo>
                    <a:lnTo>
                      <a:pt x="618" y="324"/>
                    </a:lnTo>
                    <a:lnTo>
                      <a:pt x="612" y="318"/>
                    </a:lnTo>
                    <a:lnTo>
                      <a:pt x="618" y="306"/>
                    </a:lnTo>
                    <a:lnTo>
                      <a:pt x="612" y="300"/>
                    </a:lnTo>
                    <a:lnTo>
                      <a:pt x="600" y="294"/>
                    </a:lnTo>
                    <a:lnTo>
                      <a:pt x="600" y="288"/>
                    </a:lnTo>
                    <a:lnTo>
                      <a:pt x="582" y="270"/>
                    </a:lnTo>
                    <a:lnTo>
                      <a:pt x="576" y="252"/>
                    </a:lnTo>
                    <a:lnTo>
                      <a:pt x="582" y="252"/>
                    </a:lnTo>
                    <a:lnTo>
                      <a:pt x="576" y="240"/>
                    </a:lnTo>
                    <a:lnTo>
                      <a:pt x="576" y="210"/>
                    </a:lnTo>
                    <a:lnTo>
                      <a:pt x="564" y="198"/>
                    </a:lnTo>
                    <a:lnTo>
                      <a:pt x="558" y="198"/>
                    </a:lnTo>
                    <a:lnTo>
                      <a:pt x="552" y="192"/>
                    </a:lnTo>
                    <a:lnTo>
                      <a:pt x="552" y="186"/>
                    </a:lnTo>
                    <a:lnTo>
                      <a:pt x="564" y="186"/>
                    </a:lnTo>
                    <a:lnTo>
                      <a:pt x="564" y="168"/>
                    </a:lnTo>
                    <a:lnTo>
                      <a:pt x="588" y="162"/>
                    </a:lnTo>
                    <a:lnTo>
                      <a:pt x="588" y="150"/>
                    </a:lnTo>
                    <a:lnTo>
                      <a:pt x="594" y="144"/>
                    </a:lnTo>
                    <a:lnTo>
                      <a:pt x="594" y="138"/>
                    </a:lnTo>
                    <a:lnTo>
                      <a:pt x="588" y="132"/>
                    </a:lnTo>
                    <a:lnTo>
                      <a:pt x="576" y="108"/>
                    </a:lnTo>
                    <a:lnTo>
                      <a:pt x="570" y="102"/>
                    </a:lnTo>
                    <a:lnTo>
                      <a:pt x="570" y="90"/>
                    </a:lnTo>
                    <a:lnTo>
                      <a:pt x="564" y="84"/>
                    </a:lnTo>
                    <a:lnTo>
                      <a:pt x="558" y="72"/>
                    </a:lnTo>
                    <a:lnTo>
                      <a:pt x="558" y="48"/>
                    </a:lnTo>
                    <a:lnTo>
                      <a:pt x="546" y="42"/>
                    </a:lnTo>
                    <a:lnTo>
                      <a:pt x="540" y="42"/>
                    </a:lnTo>
                    <a:lnTo>
                      <a:pt x="522" y="36"/>
                    </a:lnTo>
                    <a:lnTo>
                      <a:pt x="498" y="36"/>
                    </a:lnTo>
                    <a:lnTo>
                      <a:pt x="498" y="42"/>
                    </a:lnTo>
                    <a:lnTo>
                      <a:pt x="408" y="42"/>
                    </a:lnTo>
                    <a:lnTo>
                      <a:pt x="402" y="36"/>
                    </a:lnTo>
                    <a:lnTo>
                      <a:pt x="390" y="36"/>
                    </a:lnTo>
                    <a:lnTo>
                      <a:pt x="384" y="30"/>
                    </a:lnTo>
                    <a:lnTo>
                      <a:pt x="360" y="30"/>
                    </a:lnTo>
                    <a:lnTo>
                      <a:pt x="354" y="36"/>
                    </a:lnTo>
                    <a:lnTo>
                      <a:pt x="348" y="36"/>
                    </a:lnTo>
                    <a:lnTo>
                      <a:pt x="342" y="30"/>
                    </a:lnTo>
                    <a:lnTo>
                      <a:pt x="312" y="30"/>
                    </a:lnTo>
                    <a:lnTo>
                      <a:pt x="300" y="36"/>
                    </a:lnTo>
                    <a:lnTo>
                      <a:pt x="282" y="36"/>
                    </a:lnTo>
                    <a:lnTo>
                      <a:pt x="276" y="30"/>
                    </a:lnTo>
                    <a:lnTo>
                      <a:pt x="270" y="18"/>
                    </a:lnTo>
                    <a:lnTo>
                      <a:pt x="264" y="12"/>
                    </a:lnTo>
                    <a:lnTo>
                      <a:pt x="264" y="6"/>
                    </a:lnTo>
                    <a:lnTo>
                      <a:pt x="258" y="6"/>
                    </a:lnTo>
                    <a:lnTo>
                      <a:pt x="252" y="0"/>
                    </a:lnTo>
                    <a:lnTo>
                      <a:pt x="210" y="0"/>
                    </a:lnTo>
                    <a:lnTo>
                      <a:pt x="192" y="6"/>
                    </a:lnTo>
                    <a:lnTo>
                      <a:pt x="180" y="12"/>
                    </a:lnTo>
                    <a:lnTo>
                      <a:pt x="162" y="12"/>
                    </a:lnTo>
                    <a:lnTo>
                      <a:pt x="150" y="18"/>
                    </a:lnTo>
                    <a:lnTo>
                      <a:pt x="144" y="24"/>
                    </a:lnTo>
                    <a:lnTo>
                      <a:pt x="138" y="24"/>
                    </a:lnTo>
                    <a:lnTo>
                      <a:pt x="120" y="42"/>
                    </a:lnTo>
                    <a:lnTo>
                      <a:pt x="60" y="48"/>
                    </a:lnTo>
                    <a:lnTo>
                      <a:pt x="54" y="48"/>
                    </a:lnTo>
                    <a:lnTo>
                      <a:pt x="48" y="54"/>
                    </a:lnTo>
                    <a:lnTo>
                      <a:pt x="24" y="66"/>
                    </a:lnTo>
                    <a:lnTo>
                      <a:pt x="18" y="66"/>
                    </a:lnTo>
                    <a:lnTo>
                      <a:pt x="12" y="72"/>
                    </a:lnTo>
                    <a:lnTo>
                      <a:pt x="18" y="78"/>
                    </a:lnTo>
                    <a:lnTo>
                      <a:pt x="18" y="96"/>
                    </a:lnTo>
                    <a:lnTo>
                      <a:pt x="6" y="90"/>
                    </a:lnTo>
                    <a:lnTo>
                      <a:pt x="6" y="108"/>
                    </a:lnTo>
                    <a:lnTo>
                      <a:pt x="12" y="108"/>
                    </a:lnTo>
                    <a:lnTo>
                      <a:pt x="18" y="114"/>
                    </a:lnTo>
                    <a:lnTo>
                      <a:pt x="18" y="132"/>
                    </a:lnTo>
                    <a:lnTo>
                      <a:pt x="6" y="144"/>
                    </a:lnTo>
                    <a:lnTo>
                      <a:pt x="0" y="144"/>
                    </a:lnTo>
                    <a:lnTo>
                      <a:pt x="0" y="156"/>
                    </a:lnTo>
                    <a:lnTo>
                      <a:pt x="6" y="162"/>
                    </a:lnTo>
                    <a:lnTo>
                      <a:pt x="12" y="162"/>
                    </a:lnTo>
                    <a:lnTo>
                      <a:pt x="18" y="168"/>
                    </a:lnTo>
                    <a:lnTo>
                      <a:pt x="30" y="168"/>
                    </a:lnTo>
                    <a:lnTo>
                      <a:pt x="30" y="186"/>
                    </a:lnTo>
                    <a:lnTo>
                      <a:pt x="24" y="186"/>
                    </a:lnTo>
                    <a:lnTo>
                      <a:pt x="24" y="198"/>
                    </a:lnTo>
                    <a:lnTo>
                      <a:pt x="36" y="198"/>
                    </a:lnTo>
                    <a:lnTo>
                      <a:pt x="36" y="204"/>
                    </a:lnTo>
                    <a:lnTo>
                      <a:pt x="30" y="210"/>
                    </a:lnTo>
                    <a:lnTo>
                      <a:pt x="36" y="210"/>
                    </a:lnTo>
                    <a:lnTo>
                      <a:pt x="42" y="216"/>
                    </a:lnTo>
                    <a:lnTo>
                      <a:pt x="36" y="222"/>
                    </a:lnTo>
                    <a:lnTo>
                      <a:pt x="24" y="228"/>
                    </a:lnTo>
                    <a:lnTo>
                      <a:pt x="24" y="234"/>
                    </a:lnTo>
                    <a:lnTo>
                      <a:pt x="30" y="240"/>
                    </a:lnTo>
                    <a:lnTo>
                      <a:pt x="36" y="240"/>
                    </a:lnTo>
                    <a:lnTo>
                      <a:pt x="42" y="246"/>
                    </a:lnTo>
                    <a:lnTo>
                      <a:pt x="42" y="264"/>
                    </a:lnTo>
                    <a:lnTo>
                      <a:pt x="48" y="258"/>
                    </a:lnTo>
                    <a:lnTo>
                      <a:pt x="54" y="258"/>
                    </a:lnTo>
                    <a:lnTo>
                      <a:pt x="54" y="270"/>
                    </a:lnTo>
                    <a:lnTo>
                      <a:pt x="48" y="276"/>
                    </a:lnTo>
                    <a:lnTo>
                      <a:pt x="60" y="276"/>
                    </a:lnTo>
                    <a:lnTo>
                      <a:pt x="60" y="282"/>
                    </a:lnTo>
                    <a:lnTo>
                      <a:pt x="54" y="282"/>
                    </a:lnTo>
                    <a:lnTo>
                      <a:pt x="54" y="294"/>
                    </a:lnTo>
                    <a:lnTo>
                      <a:pt x="72" y="294"/>
                    </a:lnTo>
                    <a:lnTo>
                      <a:pt x="78" y="312"/>
                    </a:lnTo>
                    <a:lnTo>
                      <a:pt x="96" y="312"/>
                    </a:lnTo>
                    <a:lnTo>
                      <a:pt x="108" y="318"/>
                    </a:lnTo>
                    <a:lnTo>
                      <a:pt x="114" y="318"/>
                    </a:lnTo>
                    <a:lnTo>
                      <a:pt x="114" y="324"/>
                    </a:lnTo>
                    <a:lnTo>
                      <a:pt x="138" y="324"/>
                    </a:lnTo>
                    <a:lnTo>
                      <a:pt x="144" y="330"/>
                    </a:lnTo>
                    <a:lnTo>
                      <a:pt x="132" y="336"/>
                    </a:lnTo>
                    <a:lnTo>
                      <a:pt x="144" y="342"/>
                    </a:lnTo>
                    <a:lnTo>
                      <a:pt x="144" y="354"/>
                    </a:lnTo>
                    <a:lnTo>
                      <a:pt x="150" y="354"/>
                    </a:lnTo>
                    <a:lnTo>
                      <a:pt x="156" y="360"/>
                    </a:lnTo>
                    <a:lnTo>
                      <a:pt x="174" y="360"/>
                    </a:lnTo>
                    <a:lnTo>
                      <a:pt x="174" y="354"/>
                    </a:lnTo>
                    <a:lnTo>
                      <a:pt x="180" y="354"/>
                    </a:lnTo>
                    <a:lnTo>
                      <a:pt x="192" y="348"/>
                    </a:lnTo>
                    <a:lnTo>
                      <a:pt x="210" y="348"/>
                    </a:lnTo>
                    <a:lnTo>
                      <a:pt x="204" y="354"/>
                    </a:lnTo>
                    <a:lnTo>
                      <a:pt x="222" y="354"/>
                    </a:lnTo>
                    <a:lnTo>
                      <a:pt x="228" y="360"/>
                    </a:lnTo>
                    <a:lnTo>
                      <a:pt x="234" y="372"/>
                    </a:lnTo>
                    <a:lnTo>
                      <a:pt x="240" y="378"/>
                    </a:lnTo>
                    <a:lnTo>
                      <a:pt x="246" y="366"/>
                    </a:lnTo>
                    <a:lnTo>
                      <a:pt x="252" y="372"/>
                    </a:lnTo>
                    <a:lnTo>
                      <a:pt x="252" y="378"/>
                    </a:lnTo>
                    <a:lnTo>
                      <a:pt x="270" y="378"/>
                    </a:lnTo>
                    <a:lnTo>
                      <a:pt x="282" y="384"/>
                    </a:lnTo>
                    <a:lnTo>
                      <a:pt x="282" y="390"/>
                    </a:lnTo>
                    <a:lnTo>
                      <a:pt x="288" y="402"/>
                    </a:lnTo>
                    <a:lnTo>
                      <a:pt x="306" y="420"/>
                    </a:lnTo>
                    <a:lnTo>
                      <a:pt x="318" y="420"/>
                    </a:lnTo>
                    <a:lnTo>
                      <a:pt x="330" y="408"/>
                    </a:lnTo>
                    <a:lnTo>
                      <a:pt x="342" y="408"/>
                    </a:lnTo>
                    <a:lnTo>
                      <a:pt x="354" y="420"/>
                    </a:lnTo>
                    <a:lnTo>
                      <a:pt x="360" y="420"/>
                    </a:lnTo>
                    <a:lnTo>
                      <a:pt x="360" y="426"/>
                    </a:lnTo>
                    <a:lnTo>
                      <a:pt x="366" y="432"/>
                    </a:lnTo>
                    <a:lnTo>
                      <a:pt x="378" y="432"/>
                    </a:lnTo>
                    <a:lnTo>
                      <a:pt x="384" y="426"/>
                    </a:lnTo>
                    <a:lnTo>
                      <a:pt x="384" y="420"/>
                    </a:lnTo>
                    <a:lnTo>
                      <a:pt x="414" y="420"/>
                    </a:lnTo>
                    <a:lnTo>
                      <a:pt x="420" y="426"/>
                    </a:lnTo>
                    <a:lnTo>
                      <a:pt x="426" y="426"/>
                    </a:lnTo>
                    <a:close/>
                  </a:path>
                </a:pathLst>
              </a:custGeom>
              <a:solidFill>
                <a:srgbClr val="4966AC"/>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76" name="Norway" descr="© INSCALE GmbH, 05.05.2010&#10;http://www.presentationload.com/">
                <a:extLst>
                  <a:ext uri="{FF2B5EF4-FFF2-40B4-BE49-F238E27FC236}">
                    <a16:creationId xmlns:a16="http://schemas.microsoft.com/office/drawing/2014/main" id="{3DDB70C5-14C4-41D9-B2DE-13E7247C49F0}"/>
                  </a:ext>
                </a:extLst>
              </p:cNvPr>
              <p:cNvSpPr>
                <a:spLocks noEditPoints="1"/>
              </p:cNvSpPr>
              <p:nvPr/>
            </p:nvSpPr>
            <p:spPr bwMode="gray">
              <a:xfrm>
                <a:off x="4386293" y="1861420"/>
                <a:ext cx="538169" cy="658426"/>
              </a:xfrm>
              <a:custGeom>
                <a:avLst/>
                <a:gdLst>
                  <a:gd name="T0" fmla="*/ 2147483647 w 1362"/>
                  <a:gd name="T1" fmla="*/ 2147483647 h 1500"/>
                  <a:gd name="T2" fmla="*/ 2147483647 w 1362"/>
                  <a:gd name="T3" fmla="*/ 2147483647 h 1500"/>
                  <a:gd name="T4" fmla="*/ 2147483647 w 1362"/>
                  <a:gd name="T5" fmla="*/ 2147483647 h 1500"/>
                  <a:gd name="T6" fmla="*/ 2147483647 w 1362"/>
                  <a:gd name="T7" fmla="*/ 2147483647 h 1500"/>
                  <a:gd name="T8" fmla="*/ 2147483647 w 1362"/>
                  <a:gd name="T9" fmla="*/ 0 h 1500"/>
                  <a:gd name="T10" fmla="*/ 2147483647 w 1362"/>
                  <a:gd name="T11" fmla="*/ 2147483647 h 1500"/>
                  <a:gd name="T12" fmla="*/ 2147483647 w 1362"/>
                  <a:gd name="T13" fmla="*/ 2147483647 h 1500"/>
                  <a:gd name="T14" fmla="*/ 2147483647 w 1362"/>
                  <a:gd name="T15" fmla="*/ 2147483647 h 1500"/>
                  <a:gd name="T16" fmla="*/ 2147483647 w 1362"/>
                  <a:gd name="T17" fmla="*/ 2147483647 h 1500"/>
                  <a:gd name="T18" fmla="*/ 2147483647 w 1362"/>
                  <a:gd name="T19" fmla="*/ 2147483647 h 1500"/>
                  <a:gd name="T20" fmla="*/ 2147483647 w 1362"/>
                  <a:gd name="T21" fmla="*/ 2147483647 h 1500"/>
                  <a:gd name="T22" fmla="*/ 2147483647 w 1362"/>
                  <a:gd name="T23" fmla="*/ 2147483647 h 1500"/>
                  <a:gd name="T24" fmla="*/ 2147483647 w 1362"/>
                  <a:gd name="T25" fmla="*/ 2147483647 h 1500"/>
                  <a:gd name="T26" fmla="*/ 2147483647 w 1362"/>
                  <a:gd name="T27" fmla="*/ 2147483647 h 1500"/>
                  <a:gd name="T28" fmla="*/ 2147483647 w 1362"/>
                  <a:gd name="T29" fmla="*/ 2147483647 h 1500"/>
                  <a:gd name="T30" fmla="*/ 2147483647 w 1362"/>
                  <a:gd name="T31" fmla="*/ 2147483647 h 1500"/>
                  <a:gd name="T32" fmla="*/ 2147483647 w 1362"/>
                  <a:gd name="T33" fmla="*/ 2147483647 h 1500"/>
                  <a:gd name="T34" fmla="*/ 2147483647 w 1362"/>
                  <a:gd name="T35" fmla="*/ 2147483647 h 1500"/>
                  <a:gd name="T36" fmla="*/ 2147483647 w 1362"/>
                  <a:gd name="T37" fmla="*/ 2147483647 h 1500"/>
                  <a:gd name="T38" fmla="*/ 2147483647 w 1362"/>
                  <a:gd name="T39" fmla="*/ 2147483647 h 1500"/>
                  <a:gd name="T40" fmla="*/ 2147483647 w 1362"/>
                  <a:gd name="T41" fmla="*/ 2147483647 h 1500"/>
                  <a:gd name="T42" fmla="*/ 2147483647 w 1362"/>
                  <a:gd name="T43" fmla="*/ 2147483647 h 1500"/>
                  <a:gd name="T44" fmla="*/ 2147483647 w 1362"/>
                  <a:gd name="T45" fmla="*/ 2147483647 h 1500"/>
                  <a:gd name="T46" fmla="*/ 2147483647 w 1362"/>
                  <a:gd name="T47" fmla="*/ 2147483647 h 1500"/>
                  <a:gd name="T48" fmla="*/ 2147483647 w 1362"/>
                  <a:gd name="T49" fmla="*/ 2147483647 h 1500"/>
                  <a:gd name="T50" fmla="*/ 2147483647 w 1362"/>
                  <a:gd name="T51" fmla="*/ 2147483647 h 1500"/>
                  <a:gd name="T52" fmla="*/ 2147483647 w 1362"/>
                  <a:gd name="T53" fmla="*/ 2147483647 h 1500"/>
                  <a:gd name="T54" fmla="*/ 2147483647 w 1362"/>
                  <a:gd name="T55" fmla="*/ 2147483647 h 1500"/>
                  <a:gd name="T56" fmla="*/ 2147483647 w 1362"/>
                  <a:gd name="T57" fmla="*/ 2147483647 h 1500"/>
                  <a:gd name="T58" fmla="*/ 2147483647 w 1362"/>
                  <a:gd name="T59" fmla="*/ 2147483647 h 1500"/>
                  <a:gd name="T60" fmla="*/ 2147483647 w 1362"/>
                  <a:gd name="T61" fmla="*/ 2147483647 h 1500"/>
                  <a:gd name="T62" fmla="*/ 2147483647 w 1362"/>
                  <a:gd name="T63" fmla="*/ 2147483647 h 1500"/>
                  <a:gd name="T64" fmla="*/ 2147483647 w 1362"/>
                  <a:gd name="T65" fmla="*/ 2147483647 h 1500"/>
                  <a:gd name="T66" fmla="*/ 2147483647 w 1362"/>
                  <a:gd name="T67" fmla="*/ 2147483647 h 1500"/>
                  <a:gd name="T68" fmla="*/ 2147483647 w 1362"/>
                  <a:gd name="T69" fmla="*/ 2147483647 h 1500"/>
                  <a:gd name="T70" fmla="*/ 2147483647 w 1362"/>
                  <a:gd name="T71" fmla="*/ 2147483647 h 1500"/>
                  <a:gd name="T72" fmla="*/ 2147483647 w 1362"/>
                  <a:gd name="T73" fmla="*/ 2147483647 h 1500"/>
                  <a:gd name="T74" fmla="*/ 2147483647 w 1362"/>
                  <a:gd name="T75" fmla="*/ 2147483647 h 1500"/>
                  <a:gd name="T76" fmla="*/ 2147483647 w 1362"/>
                  <a:gd name="T77" fmla="*/ 2147483647 h 1500"/>
                  <a:gd name="T78" fmla="*/ 2147483647 w 1362"/>
                  <a:gd name="T79" fmla="*/ 2147483647 h 1500"/>
                  <a:gd name="T80" fmla="*/ 2147483647 w 1362"/>
                  <a:gd name="T81" fmla="*/ 2147483647 h 1500"/>
                  <a:gd name="T82" fmla="*/ 2147483647 w 1362"/>
                  <a:gd name="T83" fmla="*/ 2147483647 h 1500"/>
                  <a:gd name="T84" fmla="*/ 2147483647 w 1362"/>
                  <a:gd name="T85" fmla="*/ 2147483647 h 1500"/>
                  <a:gd name="T86" fmla="*/ 2147483647 w 1362"/>
                  <a:gd name="T87" fmla="*/ 2147483647 h 1500"/>
                  <a:gd name="T88" fmla="*/ 2147483647 w 1362"/>
                  <a:gd name="T89" fmla="*/ 2147483647 h 1500"/>
                  <a:gd name="T90" fmla="*/ 2147483647 w 1362"/>
                  <a:gd name="T91" fmla="*/ 2147483647 h 1500"/>
                  <a:gd name="T92" fmla="*/ 2147483647 w 1362"/>
                  <a:gd name="T93" fmla="*/ 2147483647 h 1500"/>
                  <a:gd name="T94" fmla="*/ 2147483647 w 1362"/>
                  <a:gd name="T95" fmla="*/ 2147483647 h 1500"/>
                  <a:gd name="T96" fmla="*/ 2147483647 w 1362"/>
                  <a:gd name="T97" fmla="*/ 2147483647 h 1500"/>
                  <a:gd name="T98" fmla="*/ 2147483647 w 1362"/>
                  <a:gd name="T99" fmla="*/ 2147483647 h 1500"/>
                  <a:gd name="T100" fmla="*/ 2147483647 w 1362"/>
                  <a:gd name="T101" fmla="*/ 2147483647 h 1500"/>
                  <a:gd name="T102" fmla="*/ 2147483647 w 1362"/>
                  <a:gd name="T103" fmla="*/ 2147483647 h 1500"/>
                  <a:gd name="T104" fmla="*/ 2147483647 w 1362"/>
                  <a:gd name="T105" fmla="*/ 2147483647 h 1500"/>
                  <a:gd name="T106" fmla="*/ 2147483647 w 1362"/>
                  <a:gd name="T107" fmla="*/ 2147483647 h 1500"/>
                  <a:gd name="T108" fmla="*/ 2147483647 w 1362"/>
                  <a:gd name="T109" fmla="*/ 2147483647 h 1500"/>
                  <a:gd name="T110" fmla="*/ 2147483647 w 1362"/>
                  <a:gd name="T111" fmla="*/ 2147483647 h 1500"/>
                  <a:gd name="T112" fmla="*/ 2147483647 w 1362"/>
                  <a:gd name="T113" fmla="*/ 2147483647 h 1500"/>
                  <a:gd name="T114" fmla="*/ 2147483647 w 1362"/>
                  <a:gd name="T115" fmla="*/ 2147483647 h 150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362"/>
                  <a:gd name="T175" fmla="*/ 0 h 1500"/>
                  <a:gd name="T176" fmla="*/ 1362 w 1362"/>
                  <a:gd name="T177" fmla="*/ 1500 h 150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362" h="1500">
                    <a:moveTo>
                      <a:pt x="324" y="120"/>
                    </a:moveTo>
                    <a:lnTo>
                      <a:pt x="336" y="126"/>
                    </a:lnTo>
                    <a:lnTo>
                      <a:pt x="354" y="132"/>
                    </a:lnTo>
                    <a:lnTo>
                      <a:pt x="378" y="132"/>
                    </a:lnTo>
                    <a:lnTo>
                      <a:pt x="294" y="90"/>
                    </a:lnTo>
                    <a:lnTo>
                      <a:pt x="294" y="102"/>
                    </a:lnTo>
                    <a:lnTo>
                      <a:pt x="306" y="108"/>
                    </a:lnTo>
                    <a:lnTo>
                      <a:pt x="312" y="114"/>
                    </a:lnTo>
                    <a:lnTo>
                      <a:pt x="324" y="120"/>
                    </a:lnTo>
                    <a:close/>
                    <a:moveTo>
                      <a:pt x="684" y="48"/>
                    </a:moveTo>
                    <a:lnTo>
                      <a:pt x="732" y="48"/>
                    </a:lnTo>
                    <a:lnTo>
                      <a:pt x="738" y="54"/>
                    </a:lnTo>
                    <a:lnTo>
                      <a:pt x="750" y="54"/>
                    </a:lnTo>
                    <a:lnTo>
                      <a:pt x="774" y="66"/>
                    </a:lnTo>
                    <a:lnTo>
                      <a:pt x="786" y="66"/>
                    </a:lnTo>
                    <a:lnTo>
                      <a:pt x="798" y="60"/>
                    </a:lnTo>
                    <a:lnTo>
                      <a:pt x="804" y="60"/>
                    </a:lnTo>
                    <a:lnTo>
                      <a:pt x="816" y="54"/>
                    </a:lnTo>
                    <a:lnTo>
                      <a:pt x="828" y="54"/>
                    </a:lnTo>
                    <a:lnTo>
                      <a:pt x="840" y="60"/>
                    </a:lnTo>
                    <a:lnTo>
                      <a:pt x="876" y="72"/>
                    </a:lnTo>
                    <a:lnTo>
                      <a:pt x="888" y="78"/>
                    </a:lnTo>
                    <a:lnTo>
                      <a:pt x="894" y="84"/>
                    </a:lnTo>
                    <a:lnTo>
                      <a:pt x="900" y="84"/>
                    </a:lnTo>
                    <a:lnTo>
                      <a:pt x="924" y="60"/>
                    </a:lnTo>
                    <a:lnTo>
                      <a:pt x="984" y="66"/>
                    </a:lnTo>
                    <a:lnTo>
                      <a:pt x="984" y="42"/>
                    </a:lnTo>
                    <a:lnTo>
                      <a:pt x="1014" y="42"/>
                    </a:lnTo>
                    <a:lnTo>
                      <a:pt x="1026" y="36"/>
                    </a:lnTo>
                    <a:lnTo>
                      <a:pt x="1032" y="24"/>
                    </a:lnTo>
                    <a:lnTo>
                      <a:pt x="1038" y="18"/>
                    </a:lnTo>
                    <a:lnTo>
                      <a:pt x="1032" y="12"/>
                    </a:lnTo>
                    <a:lnTo>
                      <a:pt x="1002" y="12"/>
                    </a:lnTo>
                    <a:lnTo>
                      <a:pt x="990" y="18"/>
                    </a:lnTo>
                    <a:lnTo>
                      <a:pt x="984" y="18"/>
                    </a:lnTo>
                    <a:lnTo>
                      <a:pt x="972" y="6"/>
                    </a:lnTo>
                    <a:lnTo>
                      <a:pt x="960" y="0"/>
                    </a:lnTo>
                    <a:lnTo>
                      <a:pt x="918" y="0"/>
                    </a:lnTo>
                    <a:lnTo>
                      <a:pt x="900" y="6"/>
                    </a:lnTo>
                    <a:lnTo>
                      <a:pt x="882" y="18"/>
                    </a:lnTo>
                    <a:lnTo>
                      <a:pt x="870" y="18"/>
                    </a:lnTo>
                    <a:lnTo>
                      <a:pt x="864" y="12"/>
                    </a:lnTo>
                    <a:lnTo>
                      <a:pt x="864" y="6"/>
                    </a:lnTo>
                    <a:lnTo>
                      <a:pt x="858" y="6"/>
                    </a:lnTo>
                    <a:lnTo>
                      <a:pt x="852" y="0"/>
                    </a:lnTo>
                    <a:lnTo>
                      <a:pt x="822" y="0"/>
                    </a:lnTo>
                    <a:lnTo>
                      <a:pt x="804" y="18"/>
                    </a:lnTo>
                    <a:lnTo>
                      <a:pt x="738" y="0"/>
                    </a:lnTo>
                    <a:lnTo>
                      <a:pt x="726" y="0"/>
                    </a:lnTo>
                    <a:lnTo>
                      <a:pt x="708" y="6"/>
                    </a:lnTo>
                    <a:lnTo>
                      <a:pt x="690" y="6"/>
                    </a:lnTo>
                    <a:lnTo>
                      <a:pt x="672" y="12"/>
                    </a:lnTo>
                    <a:lnTo>
                      <a:pt x="660" y="12"/>
                    </a:lnTo>
                    <a:lnTo>
                      <a:pt x="660" y="6"/>
                    </a:lnTo>
                    <a:lnTo>
                      <a:pt x="666" y="0"/>
                    </a:lnTo>
                    <a:lnTo>
                      <a:pt x="630" y="12"/>
                    </a:lnTo>
                    <a:lnTo>
                      <a:pt x="648" y="36"/>
                    </a:lnTo>
                    <a:lnTo>
                      <a:pt x="684" y="48"/>
                    </a:lnTo>
                    <a:close/>
                    <a:moveTo>
                      <a:pt x="324" y="66"/>
                    </a:moveTo>
                    <a:lnTo>
                      <a:pt x="342" y="66"/>
                    </a:lnTo>
                    <a:lnTo>
                      <a:pt x="348" y="72"/>
                    </a:lnTo>
                    <a:lnTo>
                      <a:pt x="360" y="72"/>
                    </a:lnTo>
                    <a:lnTo>
                      <a:pt x="360" y="78"/>
                    </a:lnTo>
                    <a:lnTo>
                      <a:pt x="342" y="96"/>
                    </a:lnTo>
                    <a:lnTo>
                      <a:pt x="336" y="96"/>
                    </a:lnTo>
                    <a:lnTo>
                      <a:pt x="378" y="114"/>
                    </a:lnTo>
                    <a:lnTo>
                      <a:pt x="390" y="120"/>
                    </a:lnTo>
                    <a:lnTo>
                      <a:pt x="396" y="126"/>
                    </a:lnTo>
                    <a:lnTo>
                      <a:pt x="414" y="126"/>
                    </a:lnTo>
                    <a:lnTo>
                      <a:pt x="426" y="132"/>
                    </a:lnTo>
                    <a:lnTo>
                      <a:pt x="438" y="132"/>
                    </a:lnTo>
                    <a:lnTo>
                      <a:pt x="462" y="108"/>
                    </a:lnTo>
                    <a:lnTo>
                      <a:pt x="504" y="96"/>
                    </a:lnTo>
                    <a:lnTo>
                      <a:pt x="534" y="120"/>
                    </a:lnTo>
                    <a:lnTo>
                      <a:pt x="528" y="120"/>
                    </a:lnTo>
                    <a:lnTo>
                      <a:pt x="516" y="126"/>
                    </a:lnTo>
                    <a:lnTo>
                      <a:pt x="504" y="126"/>
                    </a:lnTo>
                    <a:lnTo>
                      <a:pt x="480" y="132"/>
                    </a:lnTo>
                    <a:lnTo>
                      <a:pt x="468" y="138"/>
                    </a:lnTo>
                    <a:lnTo>
                      <a:pt x="456" y="150"/>
                    </a:lnTo>
                    <a:lnTo>
                      <a:pt x="486" y="150"/>
                    </a:lnTo>
                    <a:lnTo>
                      <a:pt x="498" y="156"/>
                    </a:lnTo>
                    <a:lnTo>
                      <a:pt x="522" y="156"/>
                    </a:lnTo>
                    <a:lnTo>
                      <a:pt x="516" y="162"/>
                    </a:lnTo>
                    <a:lnTo>
                      <a:pt x="504" y="162"/>
                    </a:lnTo>
                    <a:lnTo>
                      <a:pt x="486" y="168"/>
                    </a:lnTo>
                    <a:lnTo>
                      <a:pt x="474" y="174"/>
                    </a:lnTo>
                    <a:lnTo>
                      <a:pt x="468" y="180"/>
                    </a:lnTo>
                    <a:lnTo>
                      <a:pt x="462" y="180"/>
                    </a:lnTo>
                    <a:lnTo>
                      <a:pt x="516" y="198"/>
                    </a:lnTo>
                    <a:lnTo>
                      <a:pt x="522" y="198"/>
                    </a:lnTo>
                    <a:lnTo>
                      <a:pt x="528" y="204"/>
                    </a:lnTo>
                    <a:lnTo>
                      <a:pt x="540" y="210"/>
                    </a:lnTo>
                    <a:lnTo>
                      <a:pt x="558" y="210"/>
                    </a:lnTo>
                    <a:lnTo>
                      <a:pt x="576" y="216"/>
                    </a:lnTo>
                    <a:lnTo>
                      <a:pt x="594" y="210"/>
                    </a:lnTo>
                    <a:lnTo>
                      <a:pt x="606" y="204"/>
                    </a:lnTo>
                    <a:lnTo>
                      <a:pt x="612" y="204"/>
                    </a:lnTo>
                    <a:lnTo>
                      <a:pt x="618" y="198"/>
                    </a:lnTo>
                    <a:lnTo>
                      <a:pt x="612" y="192"/>
                    </a:lnTo>
                    <a:lnTo>
                      <a:pt x="612" y="186"/>
                    </a:lnTo>
                    <a:lnTo>
                      <a:pt x="606" y="180"/>
                    </a:lnTo>
                    <a:lnTo>
                      <a:pt x="606" y="174"/>
                    </a:lnTo>
                    <a:lnTo>
                      <a:pt x="612" y="168"/>
                    </a:lnTo>
                    <a:lnTo>
                      <a:pt x="618" y="168"/>
                    </a:lnTo>
                    <a:lnTo>
                      <a:pt x="630" y="162"/>
                    </a:lnTo>
                    <a:lnTo>
                      <a:pt x="648" y="162"/>
                    </a:lnTo>
                    <a:lnTo>
                      <a:pt x="648" y="144"/>
                    </a:lnTo>
                    <a:lnTo>
                      <a:pt x="678" y="132"/>
                    </a:lnTo>
                    <a:lnTo>
                      <a:pt x="690" y="102"/>
                    </a:lnTo>
                    <a:lnTo>
                      <a:pt x="714" y="114"/>
                    </a:lnTo>
                    <a:lnTo>
                      <a:pt x="738" y="102"/>
                    </a:lnTo>
                    <a:lnTo>
                      <a:pt x="750" y="114"/>
                    </a:lnTo>
                    <a:lnTo>
                      <a:pt x="762" y="120"/>
                    </a:lnTo>
                    <a:lnTo>
                      <a:pt x="780" y="126"/>
                    </a:lnTo>
                    <a:lnTo>
                      <a:pt x="792" y="138"/>
                    </a:lnTo>
                    <a:lnTo>
                      <a:pt x="792" y="144"/>
                    </a:lnTo>
                    <a:lnTo>
                      <a:pt x="786" y="150"/>
                    </a:lnTo>
                    <a:lnTo>
                      <a:pt x="786" y="162"/>
                    </a:lnTo>
                    <a:lnTo>
                      <a:pt x="774" y="174"/>
                    </a:lnTo>
                    <a:lnTo>
                      <a:pt x="828" y="174"/>
                    </a:lnTo>
                    <a:lnTo>
                      <a:pt x="834" y="180"/>
                    </a:lnTo>
                    <a:lnTo>
                      <a:pt x="846" y="186"/>
                    </a:lnTo>
                    <a:lnTo>
                      <a:pt x="852" y="192"/>
                    </a:lnTo>
                    <a:lnTo>
                      <a:pt x="858" y="192"/>
                    </a:lnTo>
                    <a:lnTo>
                      <a:pt x="864" y="186"/>
                    </a:lnTo>
                    <a:lnTo>
                      <a:pt x="876" y="186"/>
                    </a:lnTo>
                    <a:lnTo>
                      <a:pt x="894" y="174"/>
                    </a:lnTo>
                    <a:lnTo>
                      <a:pt x="906" y="168"/>
                    </a:lnTo>
                    <a:lnTo>
                      <a:pt x="924" y="162"/>
                    </a:lnTo>
                    <a:lnTo>
                      <a:pt x="936" y="156"/>
                    </a:lnTo>
                    <a:lnTo>
                      <a:pt x="942" y="150"/>
                    </a:lnTo>
                    <a:lnTo>
                      <a:pt x="942" y="144"/>
                    </a:lnTo>
                    <a:lnTo>
                      <a:pt x="936" y="144"/>
                    </a:lnTo>
                    <a:lnTo>
                      <a:pt x="924" y="138"/>
                    </a:lnTo>
                    <a:lnTo>
                      <a:pt x="888" y="138"/>
                    </a:lnTo>
                    <a:lnTo>
                      <a:pt x="882" y="120"/>
                    </a:lnTo>
                    <a:lnTo>
                      <a:pt x="828" y="114"/>
                    </a:lnTo>
                    <a:lnTo>
                      <a:pt x="828" y="96"/>
                    </a:lnTo>
                    <a:lnTo>
                      <a:pt x="798" y="102"/>
                    </a:lnTo>
                    <a:lnTo>
                      <a:pt x="798" y="84"/>
                    </a:lnTo>
                    <a:lnTo>
                      <a:pt x="726" y="84"/>
                    </a:lnTo>
                    <a:lnTo>
                      <a:pt x="720" y="72"/>
                    </a:lnTo>
                    <a:lnTo>
                      <a:pt x="684" y="72"/>
                    </a:lnTo>
                    <a:lnTo>
                      <a:pt x="678" y="60"/>
                    </a:lnTo>
                    <a:lnTo>
                      <a:pt x="654" y="48"/>
                    </a:lnTo>
                    <a:lnTo>
                      <a:pt x="624" y="48"/>
                    </a:lnTo>
                    <a:lnTo>
                      <a:pt x="624" y="30"/>
                    </a:lnTo>
                    <a:lnTo>
                      <a:pt x="618" y="30"/>
                    </a:lnTo>
                    <a:lnTo>
                      <a:pt x="612" y="24"/>
                    </a:lnTo>
                    <a:lnTo>
                      <a:pt x="540" y="24"/>
                    </a:lnTo>
                    <a:lnTo>
                      <a:pt x="534" y="30"/>
                    </a:lnTo>
                    <a:lnTo>
                      <a:pt x="534" y="36"/>
                    </a:lnTo>
                    <a:lnTo>
                      <a:pt x="540" y="42"/>
                    </a:lnTo>
                    <a:lnTo>
                      <a:pt x="546" y="54"/>
                    </a:lnTo>
                    <a:lnTo>
                      <a:pt x="564" y="72"/>
                    </a:lnTo>
                    <a:lnTo>
                      <a:pt x="552" y="66"/>
                    </a:lnTo>
                    <a:lnTo>
                      <a:pt x="546" y="60"/>
                    </a:lnTo>
                    <a:lnTo>
                      <a:pt x="528" y="48"/>
                    </a:lnTo>
                    <a:lnTo>
                      <a:pt x="492" y="30"/>
                    </a:lnTo>
                    <a:lnTo>
                      <a:pt x="480" y="30"/>
                    </a:lnTo>
                    <a:lnTo>
                      <a:pt x="474" y="36"/>
                    </a:lnTo>
                    <a:lnTo>
                      <a:pt x="468" y="48"/>
                    </a:lnTo>
                    <a:lnTo>
                      <a:pt x="462" y="54"/>
                    </a:lnTo>
                    <a:lnTo>
                      <a:pt x="450" y="54"/>
                    </a:lnTo>
                    <a:lnTo>
                      <a:pt x="438" y="48"/>
                    </a:lnTo>
                    <a:lnTo>
                      <a:pt x="420" y="48"/>
                    </a:lnTo>
                    <a:lnTo>
                      <a:pt x="420" y="42"/>
                    </a:lnTo>
                    <a:lnTo>
                      <a:pt x="426" y="42"/>
                    </a:lnTo>
                    <a:lnTo>
                      <a:pt x="438" y="30"/>
                    </a:lnTo>
                    <a:lnTo>
                      <a:pt x="384" y="30"/>
                    </a:lnTo>
                    <a:lnTo>
                      <a:pt x="372" y="42"/>
                    </a:lnTo>
                    <a:lnTo>
                      <a:pt x="366" y="30"/>
                    </a:lnTo>
                    <a:lnTo>
                      <a:pt x="354" y="30"/>
                    </a:lnTo>
                    <a:lnTo>
                      <a:pt x="318" y="48"/>
                    </a:lnTo>
                    <a:lnTo>
                      <a:pt x="318" y="60"/>
                    </a:lnTo>
                    <a:lnTo>
                      <a:pt x="324" y="66"/>
                    </a:lnTo>
                    <a:close/>
                    <a:moveTo>
                      <a:pt x="642" y="708"/>
                    </a:moveTo>
                    <a:lnTo>
                      <a:pt x="666" y="696"/>
                    </a:lnTo>
                    <a:lnTo>
                      <a:pt x="666" y="690"/>
                    </a:lnTo>
                    <a:lnTo>
                      <a:pt x="678" y="690"/>
                    </a:lnTo>
                    <a:lnTo>
                      <a:pt x="678" y="678"/>
                    </a:lnTo>
                    <a:lnTo>
                      <a:pt x="672" y="672"/>
                    </a:lnTo>
                    <a:lnTo>
                      <a:pt x="630" y="690"/>
                    </a:lnTo>
                    <a:lnTo>
                      <a:pt x="642" y="708"/>
                    </a:lnTo>
                    <a:close/>
                    <a:moveTo>
                      <a:pt x="774" y="648"/>
                    </a:moveTo>
                    <a:lnTo>
                      <a:pt x="780" y="642"/>
                    </a:lnTo>
                    <a:lnTo>
                      <a:pt x="786" y="642"/>
                    </a:lnTo>
                    <a:lnTo>
                      <a:pt x="792" y="636"/>
                    </a:lnTo>
                    <a:lnTo>
                      <a:pt x="792" y="630"/>
                    </a:lnTo>
                    <a:lnTo>
                      <a:pt x="786" y="624"/>
                    </a:lnTo>
                    <a:lnTo>
                      <a:pt x="774" y="624"/>
                    </a:lnTo>
                    <a:lnTo>
                      <a:pt x="768" y="630"/>
                    </a:lnTo>
                    <a:lnTo>
                      <a:pt x="768" y="642"/>
                    </a:lnTo>
                    <a:lnTo>
                      <a:pt x="774" y="648"/>
                    </a:lnTo>
                    <a:close/>
                    <a:moveTo>
                      <a:pt x="594" y="696"/>
                    </a:moveTo>
                    <a:lnTo>
                      <a:pt x="576" y="696"/>
                    </a:lnTo>
                    <a:lnTo>
                      <a:pt x="552" y="708"/>
                    </a:lnTo>
                    <a:lnTo>
                      <a:pt x="546" y="714"/>
                    </a:lnTo>
                    <a:lnTo>
                      <a:pt x="570" y="720"/>
                    </a:lnTo>
                    <a:lnTo>
                      <a:pt x="576" y="714"/>
                    </a:lnTo>
                    <a:lnTo>
                      <a:pt x="588" y="714"/>
                    </a:lnTo>
                    <a:lnTo>
                      <a:pt x="600" y="702"/>
                    </a:lnTo>
                    <a:lnTo>
                      <a:pt x="594" y="696"/>
                    </a:lnTo>
                    <a:close/>
                    <a:moveTo>
                      <a:pt x="918" y="612"/>
                    </a:moveTo>
                    <a:lnTo>
                      <a:pt x="936" y="618"/>
                    </a:lnTo>
                    <a:lnTo>
                      <a:pt x="942" y="606"/>
                    </a:lnTo>
                    <a:lnTo>
                      <a:pt x="948" y="600"/>
                    </a:lnTo>
                    <a:lnTo>
                      <a:pt x="948" y="594"/>
                    </a:lnTo>
                    <a:lnTo>
                      <a:pt x="918" y="594"/>
                    </a:lnTo>
                    <a:lnTo>
                      <a:pt x="918" y="612"/>
                    </a:lnTo>
                    <a:close/>
                    <a:moveTo>
                      <a:pt x="486" y="756"/>
                    </a:moveTo>
                    <a:lnTo>
                      <a:pt x="474" y="756"/>
                    </a:lnTo>
                    <a:lnTo>
                      <a:pt x="438" y="774"/>
                    </a:lnTo>
                    <a:lnTo>
                      <a:pt x="432" y="780"/>
                    </a:lnTo>
                    <a:lnTo>
                      <a:pt x="432" y="786"/>
                    </a:lnTo>
                    <a:lnTo>
                      <a:pt x="444" y="786"/>
                    </a:lnTo>
                    <a:lnTo>
                      <a:pt x="456" y="780"/>
                    </a:lnTo>
                    <a:lnTo>
                      <a:pt x="462" y="774"/>
                    </a:lnTo>
                    <a:lnTo>
                      <a:pt x="474" y="768"/>
                    </a:lnTo>
                    <a:lnTo>
                      <a:pt x="510" y="768"/>
                    </a:lnTo>
                    <a:lnTo>
                      <a:pt x="510" y="762"/>
                    </a:lnTo>
                    <a:lnTo>
                      <a:pt x="504" y="762"/>
                    </a:lnTo>
                    <a:lnTo>
                      <a:pt x="504" y="756"/>
                    </a:lnTo>
                    <a:lnTo>
                      <a:pt x="486" y="756"/>
                    </a:lnTo>
                    <a:close/>
                    <a:moveTo>
                      <a:pt x="1356" y="660"/>
                    </a:moveTo>
                    <a:lnTo>
                      <a:pt x="1326" y="666"/>
                    </a:lnTo>
                    <a:lnTo>
                      <a:pt x="1290" y="654"/>
                    </a:lnTo>
                    <a:lnTo>
                      <a:pt x="1260" y="642"/>
                    </a:lnTo>
                    <a:lnTo>
                      <a:pt x="1302" y="642"/>
                    </a:lnTo>
                    <a:lnTo>
                      <a:pt x="1326" y="630"/>
                    </a:lnTo>
                    <a:lnTo>
                      <a:pt x="1344" y="630"/>
                    </a:lnTo>
                    <a:lnTo>
                      <a:pt x="1350" y="624"/>
                    </a:lnTo>
                    <a:lnTo>
                      <a:pt x="1356" y="624"/>
                    </a:lnTo>
                    <a:lnTo>
                      <a:pt x="1344" y="618"/>
                    </a:lnTo>
                    <a:lnTo>
                      <a:pt x="1338" y="612"/>
                    </a:lnTo>
                    <a:lnTo>
                      <a:pt x="1320" y="606"/>
                    </a:lnTo>
                    <a:lnTo>
                      <a:pt x="1308" y="600"/>
                    </a:lnTo>
                    <a:lnTo>
                      <a:pt x="1284" y="600"/>
                    </a:lnTo>
                    <a:lnTo>
                      <a:pt x="1260" y="588"/>
                    </a:lnTo>
                    <a:lnTo>
                      <a:pt x="1254" y="588"/>
                    </a:lnTo>
                    <a:lnTo>
                      <a:pt x="1242" y="582"/>
                    </a:lnTo>
                    <a:lnTo>
                      <a:pt x="1242" y="588"/>
                    </a:lnTo>
                    <a:lnTo>
                      <a:pt x="1236" y="594"/>
                    </a:lnTo>
                    <a:lnTo>
                      <a:pt x="1236" y="600"/>
                    </a:lnTo>
                    <a:lnTo>
                      <a:pt x="1218" y="618"/>
                    </a:lnTo>
                    <a:lnTo>
                      <a:pt x="1206" y="618"/>
                    </a:lnTo>
                    <a:lnTo>
                      <a:pt x="1200" y="612"/>
                    </a:lnTo>
                    <a:lnTo>
                      <a:pt x="1224" y="588"/>
                    </a:lnTo>
                    <a:lnTo>
                      <a:pt x="1158" y="564"/>
                    </a:lnTo>
                    <a:lnTo>
                      <a:pt x="1158" y="576"/>
                    </a:lnTo>
                    <a:lnTo>
                      <a:pt x="1152" y="594"/>
                    </a:lnTo>
                    <a:lnTo>
                      <a:pt x="1134" y="630"/>
                    </a:lnTo>
                    <a:lnTo>
                      <a:pt x="1128" y="630"/>
                    </a:lnTo>
                    <a:lnTo>
                      <a:pt x="1122" y="624"/>
                    </a:lnTo>
                    <a:lnTo>
                      <a:pt x="1116" y="612"/>
                    </a:lnTo>
                    <a:lnTo>
                      <a:pt x="1116" y="594"/>
                    </a:lnTo>
                    <a:lnTo>
                      <a:pt x="1122" y="582"/>
                    </a:lnTo>
                    <a:lnTo>
                      <a:pt x="1116" y="594"/>
                    </a:lnTo>
                    <a:lnTo>
                      <a:pt x="1104" y="600"/>
                    </a:lnTo>
                    <a:lnTo>
                      <a:pt x="1080" y="624"/>
                    </a:lnTo>
                    <a:lnTo>
                      <a:pt x="1056" y="636"/>
                    </a:lnTo>
                    <a:lnTo>
                      <a:pt x="1050" y="636"/>
                    </a:lnTo>
                    <a:lnTo>
                      <a:pt x="1050" y="630"/>
                    </a:lnTo>
                    <a:lnTo>
                      <a:pt x="1056" y="618"/>
                    </a:lnTo>
                    <a:lnTo>
                      <a:pt x="1086" y="588"/>
                    </a:lnTo>
                    <a:lnTo>
                      <a:pt x="1092" y="576"/>
                    </a:lnTo>
                    <a:lnTo>
                      <a:pt x="1104" y="570"/>
                    </a:lnTo>
                    <a:lnTo>
                      <a:pt x="1068" y="570"/>
                    </a:lnTo>
                    <a:lnTo>
                      <a:pt x="1050" y="582"/>
                    </a:lnTo>
                    <a:lnTo>
                      <a:pt x="1026" y="582"/>
                    </a:lnTo>
                    <a:lnTo>
                      <a:pt x="984" y="606"/>
                    </a:lnTo>
                    <a:lnTo>
                      <a:pt x="960" y="606"/>
                    </a:lnTo>
                    <a:lnTo>
                      <a:pt x="954" y="636"/>
                    </a:lnTo>
                    <a:lnTo>
                      <a:pt x="918" y="624"/>
                    </a:lnTo>
                    <a:lnTo>
                      <a:pt x="882" y="630"/>
                    </a:lnTo>
                    <a:lnTo>
                      <a:pt x="894" y="660"/>
                    </a:lnTo>
                    <a:lnTo>
                      <a:pt x="846" y="648"/>
                    </a:lnTo>
                    <a:lnTo>
                      <a:pt x="828" y="654"/>
                    </a:lnTo>
                    <a:lnTo>
                      <a:pt x="834" y="678"/>
                    </a:lnTo>
                    <a:lnTo>
                      <a:pt x="792" y="690"/>
                    </a:lnTo>
                    <a:lnTo>
                      <a:pt x="792" y="654"/>
                    </a:lnTo>
                    <a:lnTo>
                      <a:pt x="762" y="654"/>
                    </a:lnTo>
                    <a:lnTo>
                      <a:pt x="774" y="678"/>
                    </a:lnTo>
                    <a:lnTo>
                      <a:pt x="750" y="660"/>
                    </a:lnTo>
                    <a:lnTo>
                      <a:pt x="750" y="690"/>
                    </a:lnTo>
                    <a:lnTo>
                      <a:pt x="726" y="690"/>
                    </a:lnTo>
                    <a:lnTo>
                      <a:pt x="726" y="660"/>
                    </a:lnTo>
                    <a:lnTo>
                      <a:pt x="738" y="654"/>
                    </a:lnTo>
                    <a:lnTo>
                      <a:pt x="744" y="648"/>
                    </a:lnTo>
                    <a:lnTo>
                      <a:pt x="708" y="642"/>
                    </a:lnTo>
                    <a:lnTo>
                      <a:pt x="708" y="684"/>
                    </a:lnTo>
                    <a:lnTo>
                      <a:pt x="678" y="696"/>
                    </a:lnTo>
                    <a:lnTo>
                      <a:pt x="696" y="708"/>
                    </a:lnTo>
                    <a:lnTo>
                      <a:pt x="660" y="714"/>
                    </a:lnTo>
                    <a:lnTo>
                      <a:pt x="672" y="726"/>
                    </a:lnTo>
                    <a:lnTo>
                      <a:pt x="630" y="726"/>
                    </a:lnTo>
                    <a:lnTo>
                      <a:pt x="630" y="738"/>
                    </a:lnTo>
                    <a:lnTo>
                      <a:pt x="660" y="750"/>
                    </a:lnTo>
                    <a:lnTo>
                      <a:pt x="654" y="762"/>
                    </a:lnTo>
                    <a:lnTo>
                      <a:pt x="618" y="744"/>
                    </a:lnTo>
                    <a:lnTo>
                      <a:pt x="600" y="750"/>
                    </a:lnTo>
                    <a:lnTo>
                      <a:pt x="624" y="762"/>
                    </a:lnTo>
                    <a:lnTo>
                      <a:pt x="606" y="780"/>
                    </a:lnTo>
                    <a:lnTo>
                      <a:pt x="594" y="762"/>
                    </a:lnTo>
                    <a:lnTo>
                      <a:pt x="576" y="768"/>
                    </a:lnTo>
                    <a:lnTo>
                      <a:pt x="576" y="780"/>
                    </a:lnTo>
                    <a:lnTo>
                      <a:pt x="546" y="780"/>
                    </a:lnTo>
                    <a:lnTo>
                      <a:pt x="540" y="792"/>
                    </a:lnTo>
                    <a:lnTo>
                      <a:pt x="564" y="804"/>
                    </a:lnTo>
                    <a:lnTo>
                      <a:pt x="564" y="822"/>
                    </a:lnTo>
                    <a:lnTo>
                      <a:pt x="528" y="810"/>
                    </a:lnTo>
                    <a:lnTo>
                      <a:pt x="522" y="822"/>
                    </a:lnTo>
                    <a:lnTo>
                      <a:pt x="552" y="834"/>
                    </a:lnTo>
                    <a:lnTo>
                      <a:pt x="504" y="834"/>
                    </a:lnTo>
                    <a:lnTo>
                      <a:pt x="504" y="852"/>
                    </a:lnTo>
                    <a:lnTo>
                      <a:pt x="492" y="846"/>
                    </a:lnTo>
                    <a:lnTo>
                      <a:pt x="486" y="846"/>
                    </a:lnTo>
                    <a:lnTo>
                      <a:pt x="474" y="852"/>
                    </a:lnTo>
                    <a:lnTo>
                      <a:pt x="468" y="858"/>
                    </a:lnTo>
                    <a:lnTo>
                      <a:pt x="456" y="858"/>
                    </a:lnTo>
                    <a:lnTo>
                      <a:pt x="456" y="870"/>
                    </a:lnTo>
                    <a:lnTo>
                      <a:pt x="462" y="876"/>
                    </a:lnTo>
                    <a:lnTo>
                      <a:pt x="456" y="876"/>
                    </a:lnTo>
                    <a:lnTo>
                      <a:pt x="450" y="882"/>
                    </a:lnTo>
                    <a:lnTo>
                      <a:pt x="444" y="882"/>
                    </a:lnTo>
                    <a:lnTo>
                      <a:pt x="444" y="900"/>
                    </a:lnTo>
                    <a:lnTo>
                      <a:pt x="480" y="900"/>
                    </a:lnTo>
                    <a:lnTo>
                      <a:pt x="468" y="912"/>
                    </a:lnTo>
                    <a:lnTo>
                      <a:pt x="432" y="906"/>
                    </a:lnTo>
                    <a:lnTo>
                      <a:pt x="420" y="912"/>
                    </a:lnTo>
                    <a:lnTo>
                      <a:pt x="414" y="918"/>
                    </a:lnTo>
                    <a:lnTo>
                      <a:pt x="414" y="930"/>
                    </a:lnTo>
                    <a:lnTo>
                      <a:pt x="420" y="936"/>
                    </a:lnTo>
                    <a:lnTo>
                      <a:pt x="420" y="948"/>
                    </a:lnTo>
                    <a:lnTo>
                      <a:pt x="408" y="954"/>
                    </a:lnTo>
                    <a:lnTo>
                      <a:pt x="390" y="954"/>
                    </a:lnTo>
                    <a:lnTo>
                      <a:pt x="390" y="972"/>
                    </a:lnTo>
                    <a:lnTo>
                      <a:pt x="408" y="990"/>
                    </a:lnTo>
                    <a:lnTo>
                      <a:pt x="408" y="996"/>
                    </a:lnTo>
                    <a:lnTo>
                      <a:pt x="402" y="1002"/>
                    </a:lnTo>
                    <a:lnTo>
                      <a:pt x="366" y="1002"/>
                    </a:lnTo>
                    <a:lnTo>
                      <a:pt x="360" y="1008"/>
                    </a:lnTo>
                    <a:lnTo>
                      <a:pt x="360" y="1026"/>
                    </a:lnTo>
                    <a:lnTo>
                      <a:pt x="354" y="1032"/>
                    </a:lnTo>
                    <a:lnTo>
                      <a:pt x="342" y="1032"/>
                    </a:lnTo>
                    <a:lnTo>
                      <a:pt x="336" y="1026"/>
                    </a:lnTo>
                    <a:lnTo>
                      <a:pt x="318" y="1026"/>
                    </a:lnTo>
                    <a:lnTo>
                      <a:pt x="294" y="1050"/>
                    </a:lnTo>
                    <a:lnTo>
                      <a:pt x="282" y="1050"/>
                    </a:lnTo>
                    <a:lnTo>
                      <a:pt x="270" y="1062"/>
                    </a:lnTo>
                    <a:lnTo>
                      <a:pt x="270" y="1068"/>
                    </a:lnTo>
                    <a:lnTo>
                      <a:pt x="276" y="1074"/>
                    </a:lnTo>
                    <a:lnTo>
                      <a:pt x="276" y="1080"/>
                    </a:lnTo>
                    <a:lnTo>
                      <a:pt x="264" y="1092"/>
                    </a:lnTo>
                    <a:lnTo>
                      <a:pt x="252" y="1092"/>
                    </a:lnTo>
                    <a:lnTo>
                      <a:pt x="246" y="1086"/>
                    </a:lnTo>
                    <a:lnTo>
                      <a:pt x="234" y="1080"/>
                    </a:lnTo>
                    <a:lnTo>
                      <a:pt x="234" y="1074"/>
                    </a:lnTo>
                    <a:lnTo>
                      <a:pt x="228" y="1074"/>
                    </a:lnTo>
                    <a:lnTo>
                      <a:pt x="204" y="1086"/>
                    </a:lnTo>
                    <a:lnTo>
                      <a:pt x="198" y="1092"/>
                    </a:lnTo>
                    <a:lnTo>
                      <a:pt x="180" y="1092"/>
                    </a:lnTo>
                    <a:lnTo>
                      <a:pt x="180" y="1110"/>
                    </a:lnTo>
                    <a:lnTo>
                      <a:pt x="186" y="1116"/>
                    </a:lnTo>
                    <a:lnTo>
                      <a:pt x="192" y="1116"/>
                    </a:lnTo>
                    <a:lnTo>
                      <a:pt x="192" y="1128"/>
                    </a:lnTo>
                    <a:lnTo>
                      <a:pt x="186" y="1128"/>
                    </a:lnTo>
                    <a:lnTo>
                      <a:pt x="174" y="1116"/>
                    </a:lnTo>
                    <a:lnTo>
                      <a:pt x="162" y="1116"/>
                    </a:lnTo>
                    <a:lnTo>
                      <a:pt x="156" y="1122"/>
                    </a:lnTo>
                    <a:lnTo>
                      <a:pt x="156" y="1134"/>
                    </a:lnTo>
                    <a:lnTo>
                      <a:pt x="168" y="1134"/>
                    </a:lnTo>
                    <a:lnTo>
                      <a:pt x="174" y="1140"/>
                    </a:lnTo>
                    <a:lnTo>
                      <a:pt x="180" y="1140"/>
                    </a:lnTo>
                    <a:lnTo>
                      <a:pt x="180" y="1152"/>
                    </a:lnTo>
                    <a:lnTo>
                      <a:pt x="138" y="1152"/>
                    </a:lnTo>
                    <a:lnTo>
                      <a:pt x="138" y="1146"/>
                    </a:lnTo>
                    <a:lnTo>
                      <a:pt x="132" y="1146"/>
                    </a:lnTo>
                    <a:lnTo>
                      <a:pt x="126" y="1158"/>
                    </a:lnTo>
                    <a:lnTo>
                      <a:pt x="126" y="1170"/>
                    </a:lnTo>
                    <a:lnTo>
                      <a:pt x="120" y="1164"/>
                    </a:lnTo>
                    <a:lnTo>
                      <a:pt x="102" y="1164"/>
                    </a:lnTo>
                    <a:lnTo>
                      <a:pt x="96" y="1158"/>
                    </a:lnTo>
                    <a:lnTo>
                      <a:pt x="90" y="1158"/>
                    </a:lnTo>
                    <a:lnTo>
                      <a:pt x="90" y="1164"/>
                    </a:lnTo>
                    <a:lnTo>
                      <a:pt x="96" y="1170"/>
                    </a:lnTo>
                    <a:lnTo>
                      <a:pt x="120" y="1182"/>
                    </a:lnTo>
                    <a:lnTo>
                      <a:pt x="132" y="1182"/>
                    </a:lnTo>
                    <a:lnTo>
                      <a:pt x="108" y="1200"/>
                    </a:lnTo>
                    <a:lnTo>
                      <a:pt x="108" y="1188"/>
                    </a:lnTo>
                    <a:lnTo>
                      <a:pt x="90" y="1188"/>
                    </a:lnTo>
                    <a:lnTo>
                      <a:pt x="84" y="1194"/>
                    </a:lnTo>
                    <a:lnTo>
                      <a:pt x="60" y="1182"/>
                    </a:lnTo>
                    <a:lnTo>
                      <a:pt x="54" y="1194"/>
                    </a:lnTo>
                    <a:lnTo>
                      <a:pt x="66" y="1200"/>
                    </a:lnTo>
                    <a:lnTo>
                      <a:pt x="30" y="1194"/>
                    </a:lnTo>
                    <a:lnTo>
                      <a:pt x="30" y="1212"/>
                    </a:lnTo>
                    <a:lnTo>
                      <a:pt x="78" y="1212"/>
                    </a:lnTo>
                    <a:lnTo>
                      <a:pt x="54" y="1218"/>
                    </a:lnTo>
                    <a:lnTo>
                      <a:pt x="18" y="1212"/>
                    </a:lnTo>
                    <a:lnTo>
                      <a:pt x="6" y="1224"/>
                    </a:lnTo>
                    <a:lnTo>
                      <a:pt x="6" y="1230"/>
                    </a:lnTo>
                    <a:lnTo>
                      <a:pt x="18" y="1242"/>
                    </a:lnTo>
                    <a:lnTo>
                      <a:pt x="36" y="1242"/>
                    </a:lnTo>
                    <a:lnTo>
                      <a:pt x="18" y="1248"/>
                    </a:lnTo>
                    <a:lnTo>
                      <a:pt x="12" y="1254"/>
                    </a:lnTo>
                    <a:lnTo>
                      <a:pt x="12" y="1260"/>
                    </a:lnTo>
                    <a:lnTo>
                      <a:pt x="66" y="1260"/>
                    </a:lnTo>
                    <a:lnTo>
                      <a:pt x="78" y="1272"/>
                    </a:lnTo>
                    <a:lnTo>
                      <a:pt x="96" y="1260"/>
                    </a:lnTo>
                    <a:lnTo>
                      <a:pt x="108" y="1272"/>
                    </a:lnTo>
                    <a:lnTo>
                      <a:pt x="138" y="1260"/>
                    </a:lnTo>
                    <a:lnTo>
                      <a:pt x="132" y="1266"/>
                    </a:lnTo>
                    <a:lnTo>
                      <a:pt x="126" y="1278"/>
                    </a:lnTo>
                    <a:lnTo>
                      <a:pt x="60" y="1278"/>
                    </a:lnTo>
                    <a:lnTo>
                      <a:pt x="54" y="1272"/>
                    </a:lnTo>
                    <a:lnTo>
                      <a:pt x="24" y="1272"/>
                    </a:lnTo>
                    <a:lnTo>
                      <a:pt x="12" y="1278"/>
                    </a:lnTo>
                    <a:lnTo>
                      <a:pt x="0" y="1278"/>
                    </a:lnTo>
                    <a:lnTo>
                      <a:pt x="6" y="1284"/>
                    </a:lnTo>
                    <a:lnTo>
                      <a:pt x="6" y="1296"/>
                    </a:lnTo>
                    <a:lnTo>
                      <a:pt x="12" y="1296"/>
                    </a:lnTo>
                    <a:lnTo>
                      <a:pt x="18" y="1302"/>
                    </a:lnTo>
                    <a:lnTo>
                      <a:pt x="30" y="1302"/>
                    </a:lnTo>
                    <a:lnTo>
                      <a:pt x="24" y="1308"/>
                    </a:lnTo>
                    <a:lnTo>
                      <a:pt x="18" y="1320"/>
                    </a:lnTo>
                    <a:lnTo>
                      <a:pt x="36" y="1338"/>
                    </a:lnTo>
                    <a:lnTo>
                      <a:pt x="48" y="1338"/>
                    </a:lnTo>
                    <a:lnTo>
                      <a:pt x="72" y="1320"/>
                    </a:lnTo>
                    <a:lnTo>
                      <a:pt x="102" y="1314"/>
                    </a:lnTo>
                    <a:lnTo>
                      <a:pt x="90" y="1338"/>
                    </a:lnTo>
                    <a:lnTo>
                      <a:pt x="78" y="1332"/>
                    </a:lnTo>
                    <a:lnTo>
                      <a:pt x="66" y="1350"/>
                    </a:lnTo>
                    <a:lnTo>
                      <a:pt x="30" y="1350"/>
                    </a:lnTo>
                    <a:lnTo>
                      <a:pt x="48" y="1368"/>
                    </a:lnTo>
                    <a:lnTo>
                      <a:pt x="24" y="1380"/>
                    </a:lnTo>
                    <a:lnTo>
                      <a:pt x="6" y="1380"/>
                    </a:lnTo>
                    <a:lnTo>
                      <a:pt x="6" y="1398"/>
                    </a:lnTo>
                    <a:lnTo>
                      <a:pt x="66" y="1398"/>
                    </a:lnTo>
                    <a:lnTo>
                      <a:pt x="54" y="1422"/>
                    </a:lnTo>
                    <a:lnTo>
                      <a:pt x="66" y="1422"/>
                    </a:lnTo>
                    <a:lnTo>
                      <a:pt x="54" y="1440"/>
                    </a:lnTo>
                    <a:lnTo>
                      <a:pt x="42" y="1434"/>
                    </a:lnTo>
                    <a:lnTo>
                      <a:pt x="36" y="1434"/>
                    </a:lnTo>
                    <a:lnTo>
                      <a:pt x="30" y="1428"/>
                    </a:lnTo>
                    <a:lnTo>
                      <a:pt x="18" y="1428"/>
                    </a:lnTo>
                    <a:lnTo>
                      <a:pt x="18" y="1440"/>
                    </a:lnTo>
                    <a:lnTo>
                      <a:pt x="24" y="1452"/>
                    </a:lnTo>
                    <a:lnTo>
                      <a:pt x="36" y="1464"/>
                    </a:lnTo>
                    <a:lnTo>
                      <a:pt x="84" y="1482"/>
                    </a:lnTo>
                    <a:lnTo>
                      <a:pt x="78" y="1488"/>
                    </a:lnTo>
                    <a:lnTo>
                      <a:pt x="84" y="1494"/>
                    </a:lnTo>
                    <a:lnTo>
                      <a:pt x="126" y="1494"/>
                    </a:lnTo>
                    <a:lnTo>
                      <a:pt x="132" y="1500"/>
                    </a:lnTo>
                    <a:lnTo>
                      <a:pt x="144" y="1500"/>
                    </a:lnTo>
                    <a:lnTo>
                      <a:pt x="192" y="1476"/>
                    </a:lnTo>
                    <a:lnTo>
                      <a:pt x="204" y="1464"/>
                    </a:lnTo>
                    <a:lnTo>
                      <a:pt x="216" y="1458"/>
                    </a:lnTo>
                    <a:lnTo>
                      <a:pt x="222" y="1452"/>
                    </a:lnTo>
                    <a:lnTo>
                      <a:pt x="258" y="1422"/>
                    </a:lnTo>
                    <a:lnTo>
                      <a:pt x="282" y="1422"/>
                    </a:lnTo>
                    <a:lnTo>
                      <a:pt x="294" y="1416"/>
                    </a:lnTo>
                    <a:lnTo>
                      <a:pt x="300" y="1410"/>
                    </a:lnTo>
                    <a:lnTo>
                      <a:pt x="300" y="1386"/>
                    </a:lnTo>
                    <a:lnTo>
                      <a:pt x="294" y="1380"/>
                    </a:lnTo>
                    <a:lnTo>
                      <a:pt x="294" y="1374"/>
                    </a:lnTo>
                    <a:lnTo>
                      <a:pt x="312" y="1368"/>
                    </a:lnTo>
                    <a:lnTo>
                      <a:pt x="306" y="1374"/>
                    </a:lnTo>
                    <a:lnTo>
                      <a:pt x="306" y="1380"/>
                    </a:lnTo>
                    <a:lnTo>
                      <a:pt x="300" y="1386"/>
                    </a:lnTo>
                    <a:lnTo>
                      <a:pt x="300" y="1392"/>
                    </a:lnTo>
                    <a:lnTo>
                      <a:pt x="312" y="1404"/>
                    </a:lnTo>
                    <a:lnTo>
                      <a:pt x="330" y="1410"/>
                    </a:lnTo>
                    <a:lnTo>
                      <a:pt x="342" y="1410"/>
                    </a:lnTo>
                    <a:lnTo>
                      <a:pt x="348" y="1416"/>
                    </a:lnTo>
                    <a:lnTo>
                      <a:pt x="354" y="1416"/>
                    </a:lnTo>
                    <a:lnTo>
                      <a:pt x="372" y="1434"/>
                    </a:lnTo>
                    <a:lnTo>
                      <a:pt x="378" y="1422"/>
                    </a:lnTo>
                    <a:lnTo>
                      <a:pt x="384" y="1416"/>
                    </a:lnTo>
                    <a:lnTo>
                      <a:pt x="384" y="1398"/>
                    </a:lnTo>
                    <a:lnTo>
                      <a:pt x="372" y="1386"/>
                    </a:lnTo>
                    <a:lnTo>
                      <a:pt x="372" y="1380"/>
                    </a:lnTo>
                    <a:lnTo>
                      <a:pt x="378" y="1374"/>
                    </a:lnTo>
                    <a:lnTo>
                      <a:pt x="384" y="1374"/>
                    </a:lnTo>
                    <a:lnTo>
                      <a:pt x="384" y="1368"/>
                    </a:lnTo>
                    <a:lnTo>
                      <a:pt x="378" y="1356"/>
                    </a:lnTo>
                    <a:lnTo>
                      <a:pt x="414" y="1356"/>
                    </a:lnTo>
                    <a:lnTo>
                      <a:pt x="420" y="1350"/>
                    </a:lnTo>
                    <a:lnTo>
                      <a:pt x="420" y="1326"/>
                    </a:lnTo>
                    <a:lnTo>
                      <a:pt x="426" y="1326"/>
                    </a:lnTo>
                    <a:lnTo>
                      <a:pt x="420" y="1314"/>
                    </a:lnTo>
                    <a:lnTo>
                      <a:pt x="420" y="1308"/>
                    </a:lnTo>
                    <a:lnTo>
                      <a:pt x="414" y="1302"/>
                    </a:lnTo>
                    <a:lnTo>
                      <a:pt x="414" y="1296"/>
                    </a:lnTo>
                    <a:lnTo>
                      <a:pt x="408" y="1284"/>
                    </a:lnTo>
                    <a:lnTo>
                      <a:pt x="402" y="1278"/>
                    </a:lnTo>
                    <a:lnTo>
                      <a:pt x="426" y="1272"/>
                    </a:lnTo>
                    <a:lnTo>
                      <a:pt x="438" y="1260"/>
                    </a:lnTo>
                    <a:lnTo>
                      <a:pt x="438" y="1248"/>
                    </a:lnTo>
                    <a:lnTo>
                      <a:pt x="420" y="1230"/>
                    </a:lnTo>
                    <a:lnTo>
                      <a:pt x="414" y="1230"/>
                    </a:lnTo>
                    <a:lnTo>
                      <a:pt x="402" y="1218"/>
                    </a:lnTo>
                    <a:lnTo>
                      <a:pt x="402" y="1200"/>
                    </a:lnTo>
                    <a:lnTo>
                      <a:pt x="408" y="1188"/>
                    </a:lnTo>
                    <a:lnTo>
                      <a:pt x="408" y="1176"/>
                    </a:lnTo>
                    <a:lnTo>
                      <a:pt x="384" y="1152"/>
                    </a:lnTo>
                    <a:lnTo>
                      <a:pt x="384" y="1140"/>
                    </a:lnTo>
                    <a:lnTo>
                      <a:pt x="390" y="1134"/>
                    </a:lnTo>
                    <a:lnTo>
                      <a:pt x="396" y="1134"/>
                    </a:lnTo>
                    <a:lnTo>
                      <a:pt x="402" y="1128"/>
                    </a:lnTo>
                    <a:lnTo>
                      <a:pt x="402" y="1122"/>
                    </a:lnTo>
                    <a:lnTo>
                      <a:pt x="396" y="1116"/>
                    </a:lnTo>
                    <a:lnTo>
                      <a:pt x="390" y="1116"/>
                    </a:lnTo>
                    <a:lnTo>
                      <a:pt x="384" y="1110"/>
                    </a:lnTo>
                    <a:lnTo>
                      <a:pt x="426" y="1068"/>
                    </a:lnTo>
                    <a:lnTo>
                      <a:pt x="438" y="1062"/>
                    </a:lnTo>
                    <a:lnTo>
                      <a:pt x="444" y="1056"/>
                    </a:lnTo>
                    <a:lnTo>
                      <a:pt x="456" y="1050"/>
                    </a:lnTo>
                    <a:lnTo>
                      <a:pt x="498" y="1050"/>
                    </a:lnTo>
                    <a:lnTo>
                      <a:pt x="504" y="1044"/>
                    </a:lnTo>
                    <a:lnTo>
                      <a:pt x="504" y="1038"/>
                    </a:lnTo>
                    <a:lnTo>
                      <a:pt x="486" y="1020"/>
                    </a:lnTo>
                    <a:lnTo>
                      <a:pt x="474" y="1014"/>
                    </a:lnTo>
                    <a:lnTo>
                      <a:pt x="486" y="1008"/>
                    </a:lnTo>
                    <a:lnTo>
                      <a:pt x="492" y="1008"/>
                    </a:lnTo>
                    <a:lnTo>
                      <a:pt x="522" y="978"/>
                    </a:lnTo>
                    <a:lnTo>
                      <a:pt x="528" y="936"/>
                    </a:lnTo>
                    <a:lnTo>
                      <a:pt x="528" y="900"/>
                    </a:lnTo>
                    <a:lnTo>
                      <a:pt x="546" y="912"/>
                    </a:lnTo>
                    <a:lnTo>
                      <a:pt x="558" y="906"/>
                    </a:lnTo>
                    <a:lnTo>
                      <a:pt x="564" y="906"/>
                    </a:lnTo>
                    <a:lnTo>
                      <a:pt x="570" y="900"/>
                    </a:lnTo>
                    <a:lnTo>
                      <a:pt x="576" y="900"/>
                    </a:lnTo>
                    <a:lnTo>
                      <a:pt x="576" y="894"/>
                    </a:lnTo>
                    <a:lnTo>
                      <a:pt x="570" y="888"/>
                    </a:lnTo>
                    <a:lnTo>
                      <a:pt x="570" y="882"/>
                    </a:lnTo>
                    <a:lnTo>
                      <a:pt x="564" y="876"/>
                    </a:lnTo>
                    <a:lnTo>
                      <a:pt x="582" y="876"/>
                    </a:lnTo>
                    <a:lnTo>
                      <a:pt x="588" y="870"/>
                    </a:lnTo>
                    <a:lnTo>
                      <a:pt x="588" y="864"/>
                    </a:lnTo>
                    <a:lnTo>
                      <a:pt x="594" y="858"/>
                    </a:lnTo>
                    <a:lnTo>
                      <a:pt x="606" y="852"/>
                    </a:lnTo>
                    <a:lnTo>
                      <a:pt x="612" y="852"/>
                    </a:lnTo>
                    <a:lnTo>
                      <a:pt x="618" y="834"/>
                    </a:lnTo>
                    <a:lnTo>
                      <a:pt x="612" y="828"/>
                    </a:lnTo>
                    <a:lnTo>
                      <a:pt x="600" y="822"/>
                    </a:lnTo>
                    <a:lnTo>
                      <a:pt x="600" y="810"/>
                    </a:lnTo>
                    <a:lnTo>
                      <a:pt x="606" y="810"/>
                    </a:lnTo>
                    <a:lnTo>
                      <a:pt x="618" y="804"/>
                    </a:lnTo>
                    <a:lnTo>
                      <a:pt x="636" y="786"/>
                    </a:lnTo>
                    <a:lnTo>
                      <a:pt x="678" y="780"/>
                    </a:lnTo>
                    <a:lnTo>
                      <a:pt x="696" y="780"/>
                    </a:lnTo>
                    <a:lnTo>
                      <a:pt x="702" y="774"/>
                    </a:lnTo>
                    <a:lnTo>
                      <a:pt x="702" y="744"/>
                    </a:lnTo>
                    <a:lnTo>
                      <a:pt x="714" y="732"/>
                    </a:lnTo>
                    <a:lnTo>
                      <a:pt x="720" y="738"/>
                    </a:lnTo>
                    <a:lnTo>
                      <a:pt x="720" y="750"/>
                    </a:lnTo>
                    <a:lnTo>
                      <a:pt x="744" y="744"/>
                    </a:lnTo>
                    <a:lnTo>
                      <a:pt x="768" y="750"/>
                    </a:lnTo>
                    <a:lnTo>
                      <a:pt x="792" y="750"/>
                    </a:lnTo>
                    <a:lnTo>
                      <a:pt x="798" y="756"/>
                    </a:lnTo>
                    <a:lnTo>
                      <a:pt x="810" y="756"/>
                    </a:lnTo>
                    <a:lnTo>
                      <a:pt x="816" y="750"/>
                    </a:lnTo>
                    <a:lnTo>
                      <a:pt x="810" y="750"/>
                    </a:lnTo>
                    <a:lnTo>
                      <a:pt x="798" y="738"/>
                    </a:lnTo>
                    <a:lnTo>
                      <a:pt x="798" y="732"/>
                    </a:lnTo>
                    <a:lnTo>
                      <a:pt x="810" y="732"/>
                    </a:lnTo>
                    <a:lnTo>
                      <a:pt x="810" y="708"/>
                    </a:lnTo>
                    <a:lnTo>
                      <a:pt x="840" y="714"/>
                    </a:lnTo>
                    <a:lnTo>
                      <a:pt x="834" y="708"/>
                    </a:lnTo>
                    <a:lnTo>
                      <a:pt x="840" y="702"/>
                    </a:lnTo>
                    <a:lnTo>
                      <a:pt x="858" y="708"/>
                    </a:lnTo>
                    <a:lnTo>
                      <a:pt x="858" y="696"/>
                    </a:lnTo>
                    <a:lnTo>
                      <a:pt x="864" y="690"/>
                    </a:lnTo>
                    <a:lnTo>
                      <a:pt x="882" y="690"/>
                    </a:lnTo>
                    <a:lnTo>
                      <a:pt x="888" y="696"/>
                    </a:lnTo>
                    <a:lnTo>
                      <a:pt x="894" y="708"/>
                    </a:lnTo>
                    <a:lnTo>
                      <a:pt x="906" y="714"/>
                    </a:lnTo>
                    <a:lnTo>
                      <a:pt x="918" y="726"/>
                    </a:lnTo>
                    <a:lnTo>
                      <a:pt x="930" y="726"/>
                    </a:lnTo>
                    <a:lnTo>
                      <a:pt x="942" y="732"/>
                    </a:lnTo>
                    <a:lnTo>
                      <a:pt x="960" y="732"/>
                    </a:lnTo>
                    <a:lnTo>
                      <a:pt x="966" y="738"/>
                    </a:lnTo>
                    <a:lnTo>
                      <a:pt x="978" y="738"/>
                    </a:lnTo>
                    <a:lnTo>
                      <a:pt x="990" y="732"/>
                    </a:lnTo>
                    <a:lnTo>
                      <a:pt x="996" y="726"/>
                    </a:lnTo>
                    <a:lnTo>
                      <a:pt x="1026" y="726"/>
                    </a:lnTo>
                    <a:lnTo>
                      <a:pt x="1038" y="732"/>
                    </a:lnTo>
                    <a:lnTo>
                      <a:pt x="1044" y="738"/>
                    </a:lnTo>
                    <a:lnTo>
                      <a:pt x="1062" y="738"/>
                    </a:lnTo>
                    <a:lnTo>
                      <a:pt x="1062" y="726"/>
                    </a:lnTo>
                    <a:lnTo>
                      <a:pt x="1068" y="720"/>
                    </a:lnTo>
                    <a:lnTo>
                      <a:pt x="1068" y="714"/>
                    </a:lnTo>
                    <a:lnTo>
                      <a:pt x="1092" y="714"/>
                    </a:lnTo>
                    <a:lnTo>
                      <a:pt x="1092" y="678"/>
                    </a:lnTo>
                    <a:lnTo>
                      <a:pt x="1098" y="672"/>
                    </a:lnTo>
                    <a:lnTo>
                      <a:pt x="1098" y="660"/>
                    </a:lnTo>
                    <a:lnTo>
                      <a:pt x="1110" y="654"/>
                    </a:lnTo>
                    <a:lnTo>
                      <a:pt x="1116" y="654"/>
                    </a:lnTo>
                    <a:lnTo>
                      <a:pt x="1128" y="648"/>
                    </a:lnTo>
                    <a:lnTo>
                      <a:pt x="1158" y="648"/>
                    </a:lnTo>
                    <a:lnTo>
                      <a:pt x="1170" y="642"/>
                    </a:lnTo>
                    <a:lnTo>
                      <a:pt x="1206" y="642"/>
                    </a:lnTo>
                    <a:lnTo>
                      <a:pt x="1206" y="654"/>
                    </a:lnTo>
                    <a:lnTo>
                      <a:pt x="1242" y="660"/>
                    </a:lnTo>
                    <a:lnTo>
                      <a:pt x="1248" y="660"/>
                    </a:lnTo>
                    <a:lnTo>
                      <a:pt x="1260" y="672"/>
                    </a:lnTo>
                    <a:lnTo>
                      <a:pt x="1266" y="684"/>
                    </a:lnTo>
                    <a:lnTo>
                      <a:pt x="1266" y="702"/>
                    </a:lnTo>
                    <a:lnTo>
                      <a:pt x="1260" y="702"/>
                    </a:lnTo>
                    <a:lnTo>
                      <a:pt x="1260" y="696"/>
                    </a:lnTo>
                    <a:lnTo>
                      <a:pt x="1254" y="696"/>
                    </a:lnTo>
                    <a:lnTo>
                      <a:pt x="1254" y="708"/>
                    </a:lnTo>
                    <a:lnTo>
                      <a:pt x="1278" y="708"/>
                    </a:lnTo>
                    <a:lnTo>
                      <a:pt x="1284" y="696"/>
                    </a:lnTo>
                    <a:lnTo>
                      <a:pt x="1284" y="690"/>
                    </a:lnTo>
                    <a:lnTo>
                      <a:pt x="1308" y="684"/>
                    </a:lnTo>
                    <a:lnTo>
                      <a:pt x="1314" y="672"/>
                    </a:lnTo>
                    <a:lnTo>
                      <a:pt x="1350" y="672"/>
                    </a:lnTo>
                    <a:lnTo>
                      <a:pt x="1362" y="660"/>
                    </a:lnTo>
                    <a:lnTo>
                      <a:pt x="1356" y="660"/>
                    </a:lnTo>
                    <a:close/>
                    <a:moveTo>
                      <a:pt x="564" y="726"/>
                    </a:moveTo>
                    <a:lnTo>
                      <a:pt x="540" y="738"/>
                    </a:lnTo>
                    <a:lnTo>
                      <a:pt x="546" y="756"/>
                    </a:lnTo>
                    <a:lnTo>
                      <a:pt x="576" y="756"/>
                    </a:lnTo>
                    <a:lnTo>
                      <a:pt x="570" y="738"/>
                    </a:lnTo>
                    <a:lnTo>
                      <a:pt x="564" y="726"/>
                    </a:lnTo>
                    <a:close/>
                    <a:moveTo>
                      <a:pt x="522" y="714"/>
                    </a:moveTo>
                    <a:lnTo>
                      <a:pt x="516" y="720"/>
                    </a:lnTo>
                    <a:lnTo>
                      <a:pt x="510" y="732"/>
                    </a:lnTo>
                    <a:lnTo>
                      <a:pt x="510" y="750"/>
                    </a:lnTo>
                    <a:lnTo>
                      <a:pt x="528" y="768"/>
                    </a:lnTo>
                    <a:lnTo>
                      <a:pt x="528" y="756"/>
                    </a:lnTo>
                    <a:lnTo>
                      <a:pt x="534" y="744"/>
                    </a:lnTo>
                    <a:lnTo>
                      <a:pt x="534" y="720"/>
                    </a:lnTo>
                    <a:lnTo>
                      <a:pt x="528" y="714"/>
                    </a:lnTo>
                    <a:lnTo>
                      <a:pt x="522" y="714"/>
                    </a:lnTo>
                    <a:close/>
                    <a:moveTo>
                      <a:pt x="606" y="738"/>
                    </a:moveTo>
                    <a:lnTo>
                      <a:pt x="618" y="732"/>
                    </a:lnTo>
                    <a:lnTo>
                      <a:pt x="624" y="732"/>
                    </a:lnTo>
                    <a:lnTo>
                      <a:pt x="630" y="726"/>
                    </a:lnTo>
                    <a:lnTo>
                      <a:pt x="618" y="720"/>
                    </a:lnTo>
                    <a:lnTo>
                      <a:pt x="588" y="720"/>
                    </a:lnTo>
                    <a:lnTo>
                      <a:pt x="576" y="732"/>
                    </a:lnTo>
                    <a:lnTo>
                      <a:pt x="582" y="744"/>
                    </a:lnTo>
                    <a:lnTo>
                      <a:pt x="606" y="738"/>
                    </a:lnTo>
                    <a:close/>
                  </a:path>
                </a:pathLst>
              </a:custGeom>
              <a:solidFill>
                <a:srgbClr val="4966AC"/>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77" name="Netherlands" descr="© INSCALE GmbH, 05.05.2010&#10;http://www.presentationload.com/">
                <a:extLst>
                  <a:ext uri="{FF2B5EF4-FFF2-40B4-BE49-F238E27FC236}">
                    <a16:creationId xmlns:a16="http://schemas.microsoft.com/office/drawing/2014/main" id="{92F3C602-919B-47F8-A2A2-76DA6A638B22}"/>
                  </a:ext>
                </a:extLst>
              </p:cNvPr>
              <p:cNvSpPr>
                <a:spLocks/>
              </p:cNvSpPr>
              <p:nvPr/>
            </p:nvSpPr>
            <p:spPr bwMode="gray">
              <a:xfrm>
                <a:off x="4325456" y="2672323"/>
                <a:ext cx="106074" cy="91833"/>
              </a:xfrm>
              <a:custGeom>
                <a:avLst/>
                <a:gdLst>
                  <a:gd name="T0" fmla="*/ 0 w 270"/>
                  <a:gd name="T1" fmla="*/ 2147483647 h 210"/>
                  <a:gd name="T2" fmla="*/ 2147483647 w 270"/>
                  <a:gd name="T3" fmla="*/ 2147483647 h 210"/>
                  <a:gd name="T4" fmla="*/ 2147483647 w 270"/>
                  <a:gd name="T5" fmla="*/ 2147483647 h 210"/>
                  <a:gd name="T6" fmla="*/ 2147483647 w 270"/>
                  <a:gd name="T7" fmla="*/ 2147483647 h 210"/>
                  <a:gd name="T8" fmla="*/ 2147483647 w 270"/>
                  <a:gd name="T9" fmla="*/ 2147483647 h 210"/>
                  <a:gd name="T10" fmla="*/ 2147483647 w 270"/>
                  <a:gd name="T11" fmla="*/ 2147483647 h 210"/>
                  <a:gd name="T12" fmla="*/ 2147483647 w 270"/>
                  <a:gd name="T13" fmla="*/ 2147483647 h 210"/>
                  <a:gd name="T14" fmla="*/ 2147483647 w 270"/>
                  <a:gd name="T15" fmla="*/ 2147483647 h 210"/>
                  <a:gd name="T16" fmla="*/ 2147483647 w 270"/>
                  <a:gd name="T17" fmla="*/ 2147483647 h 210"/>
                  <a:gd name="T18" fmla="*/ 2147483647 w 270"/>
                  <a:gd name="T19" fmla="*/ 2147483647 h 210"/>
                  <a:gd name="T20" fmla="*/ 2147483647 w 270"/>
                  <a:gd name="T21" fmla="*/ 2147483647 h 210"/>
                  <a:gd name="T22" fmla="*/ 2147483647 w 270"/>
                  <a:gd name="T23" fmla="*/ 2147483647 h 210"/>
                  <a:gd name="T24" fmla="*/ 2147483647 w 270"/>
                  <a:gd name="T25" fmla="*/ 2147483647 h 210"/>
                  <a:gd name="T26" fmla="*/ 2147483647 w 270"/>
                  <a:gd name="T27" fmla="*/ 2147483647 h 210"/>
                  <a:gd name="T28" fmla="*/ 2147483647 w 270"/>
                  <a:gd name="T29" fmla="*/ 2147483647 h 210"/>
                  <a:gd name="T30" fmla="*/ 2147483647 w 270"/>
                  <a:gd name="T31" fmla="*/ 2147483647 h 210"/>
                  <a:gd name="T32" fmla="*/ 2147483647 w 270"/>
                  <a:gd name="T33" fmla="*/ 2147483647 h 210"/>
                  <a:gd name="T34" fmla="*/ 2147483647 w 270"/>
                  <a:gd name="T35" fmla="*/ 2147483647 h 210"/>
                  <a:gd name="T36" fmla="*/ 2147483647 w 270"/>
                  <a:gd name="T37" fmla="*/ 2147483647 h 210"/>
                  <a:gd name="T38" fmla="*/ 2147483647 w 270"/>
                  <a:gd name="T39" fmla="*/ 2147483647 h 210"/>
                  <a:gd name="T40" fmla="*/ 2147483647 w 270"/>
                  <a:gd name="T41" fmla="*/ 2147483647 h 210"/>
                  <a:gd name="T42" fmla="*/ 2147483647 w 270"/>
                  <a:gd name="T43" fmla="*/ 2147483647 h 210"/>
                  <a:gd name="T44" fmla="*/ 2147483647 w 270"/>
                  <a:gd name="T45" fmla="*/ 2147483647 h 210"/>
                  <a:gd name="T46" fmla="*/ 2147483647 w 270"/>
                  <a:gd name="T47" fmla="*/ 2147483647 h 210"/>
                  <a:gd name="T48" fmla="*/ 2147483647 w 270"/>
                  <a:gd name="T49" fmla="*/ 2147483647 h 210"/>
                  <a:gd name="T50" fmla="*/ 2147483647 w 270"/>
                  <a:gd name="T51" fmla="*/ 2147483647 h 210"/>
                  <a:gd name="T52" fmla="*/ 2147483647 w 270"/>
                  <a:gd name="T53" fmla="*/ 2147483647 h 210"/>
                  <a:gd name="T54" fmla="*/ 2147483647 w 270"/>
                  <a:gd name="T55" fmla="*/ 2147483647 h 210"/>
                  <a:gd name="T56" fmla="*/ 2147483647 w 270"/>
                  <a:gd name="T57" fmla="*/ 2147483647 h 210"/>
                  <a:gd name="T58" fmla="*/ 2147483647 w 270"/>
                  <a:gd name="T59" fmla="*/ 0 h 210"/>
                  <a:gd name="T60" fmla="*/ 2147483647 w 270"/>
                  <a:gd name="T61" fmla="*/ 2147483647 h 210"/>
                  <a:gd name="T62" fmla="*/ 2147483647 w 270"/>
                  <a:gd name="T63" fmla="*/ 2147483647 h 210"/>
                  <a:gd name="T64" fmla="*/ 2147483647 w 270"/>
                  <a:gd name="T65" fmla="*/ 2147483647 h 210"/>
                  <a:gd name="T66" fmla="*/ 2147483647 w 270"/>
                  <a:gd name="T67" fmla="*/ 2147483647 h 210"/>
                  <a:gd name="T68" fmla="*/ 2147483647 w 270"/>
                  <a:gd name="T69" fmla="*/ 2147483647 h 210"/>
                  <a:gd name="T70" fmla="*/ 2147483647 w 270"/>
                  <a:gd name="T71" fmla="*/ 2147483647 h 210"/>
                  <a:gd name="T72" fmla="*/ 2147483647 w 270"/>
                  <a:gd name="T73" fmla="*/ 2147483647 h 210"/>
                  <a:gd name="T74" fmla="*/ 2147483647 w 270"/>
                  <a:gd name="T75" fmla="*/ 2147483647 h 210"/>
                  <a:gd name="T76" fmla="*/ 2147483647 w 270"/>
                  <a:gd name="T77" fmla="*/ 2147483647 h 210"/>
                  <a:gd name="T78" fmla="*/ 2147483647 w 270"/>
                  <a:gd name="T79" fmla="*/ 2147483647 h 210"/>
                  <a:gd name="T80" fmla="*/ 2147483647 w 270"/>
                  <a:gd name="T81" fmla="*/ 2147483647 h 210"/>
                  <a:gd name="T82" fmla="*/ 2147483647 w 270"/>
                  <a:gd name="T83" fmla="*/ 2147483647 h 210"/>
                  <a:gd name="T84" fmla="*/ 2147483647 w 270"/>
                  <a:gd name="T85" fmla="*/ 2147483647 h 210"/>
                  <a:gd name="T86" fmla="*/ 2147483647 w 270"/>
                  <a:gd name="T87" fmla="*/ 2147483647 h 210"/>
                  <a:gd name="T88" fmla="*/ 2147483647 w 270"/>
                  <a:gd name="T89" fmla="*/ 2147483647 h 21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70"/>
                  <a:gd name="T136" fmla="*/ 0 h 210"/>
                  <a:gd name="T137" fmla="*/ 270 w 270"/>
                  <a:gd name="T138" fmla="*/ 210 h 210"/>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70" h="210">
                    <a:moveTo>
                      <a:pt x="18" y="156"/>
                    </a:moveTo>
                    <a:lnTo>
                      <a:pt x="0" y="174"/>
                    </a:lnTo>
                    <a:lnTo>
                      <a:pt x="12" y="162"/>
                    </a:lnTo>
                    <a:lnTo>
                      <a:pt x="24" y="162"/>
                    </a:lnTo>
                    <a:lnTo>
                      <a:pt x="30" y="168"/>
                    </a:lnTo>
                    <a:lnTo>
                      <a:pt x="54" y="168"/>
                    </a:lnTo>
                    <a:lnTo>
                      <a:pt x="60" y="174"/>
                    </a:lnTo>
                    <a:lnTo>
                      <a:pt x="66" y="162"/>
                    </a:lnTo>
                    <a:lnTo>
                      <a:pt x="84" y="168"/>
                    </a:lnTo>
                    <a:lnTo>
                      <a:pt x="84" y="156"/>
                    </a:lnTo>
                    <a:lnTo>
                      <a:pt x="96" y="162"/>
                    </a:lnTo>
                    <a:lnTo>
                      <a:pt x="96" y="156"/>
                    </a:lnTo>
                    <a:lnTo>
                      <a:pt x="132" y="156"/>
                    </a:lnTo>
                    <a:lnTo>
                      <a:pt x="132" y="168"/>
                    </a:lnTo>
                    <a:lnTo>
                      <a:pt x="138" y="174"/>
                    </a:lnTo>
                    <a:lnTo>
                      <a:pt x="150" y="174"/>
                    </a:lnTo>
                    <a:lnTo>
                      <a:pt x="162" y="168"/>
                    </a:lnTo>
                    <a:lnTo>
                      <a:pt x="168" y="168"/>
                    </a:lnTo>
                    <a:lnTo>
                      <a:pt x="174" y="174"/>
                    </a:lnTo>
                    <a:lnTo>
                      <a:pt x="174" y="192"/>
                    </a:lnTo>
                    <a:lnTo>
                      <a:pt x="168" y="198"/>
                    </a:lnTo>
                    <a:lnTo>
                      <a:pt x="168" y="210"/>
                    </a:lnTo>
                    <a:lnTo>
                      <a:pt x="180" y="210"/>
                    </a:lnTo>
                    <a:lnTo>
                      <a:pt x="180" y="198"/>
                    </a:lnTo>
                    <a:lnTo>
                      <a:pt x="186" y="192"/>
                    </a:lnTo>
                    <a:lnTo>
                      <a:pt x="186" y="180"/>
                    </a:lnTo>
                    <a:lnTo>
                      <a:pt x="180" y="174"/>
                    </a:lnTo>
                    <a:lnTo>
                      <a:pt x="186" y="168"/>
                    </a:lnTo>
                    <a:lnTo>
                      <a:pt x="198" y="162"/>
                    </a:lnTo>
                    <a:lnTo>
                      <a:pt x="198" y="156"/>
                    </a:lnTo>
                    <a:lnTo>
                      <a:pt x="192" y="150"/>
                    </a:lnTo>
                    <a:lnTo>
                      <a:pt x="192" y="144"/>
                    </a:lnTo>
                    <a:lnTo>
                      <a:pt x="186" y="120"/>
                    </a:lnTo>
                    <a:lnTo>
                      <a:pt x="192" y="120"/>
                    </a:lnTo>
                    <a:lnTo>
                      <a:pt x="198" y="126"/>
                    </a:lnTo>
                    <a:lnTo>
                      <a:pt x="222" y="126"/>
                    </a:lnTo>
                    <a:lnTo>
                      <a:pt x="222" y="120"/>
                    </a:lnTo>
                    <a:lnTo>
                      <a:pt x="228" y="114"/>
                    </a:lnTo>
                    <a:lnTo>
                      <a:pt x="234" y="114"/>
                    </a:lnTo>
                    <a:lnTo>
                      <a:pt x="240" y="102"/>
                    </a:lnTo>
                    <a:lnTo>
                      <a:pt x="246" y="96"/>
                    </a:lnTo>
                    <a:lnTo>
                      <a:pt x="252" y="96"/>
                    </a:lnTo>
                    <a:lnTo>
                      <a:pt x="252" y="90"/>
                    </a:lnTo>
                    <a:lnTo>
                      <a:pt x="240" y="78"/>
                    </a:lnTo>
                    <a:lnTo>
                      <a:pt x="234" y="78"/>
                    </a:lnTo>
                    <a:lnTo>
                      <a:pt x="228" y="72"/>
                    </a:lnTo>
                    <a:lnTo>
                      <a:pt x="228" y="66"/>
                    </a:lnTo>
                    <a:lnTo>
                      <a:pt x="234" y="66"/>
                    </a:lnTo>
                    <a:lnTo>
                      <a:pt x="246" y="60"/>
                    </a:lnTo>
                    <a:lnTo>
                      <a:pt x="258" y="60"/>
                    </a:lnTo>
                    <a:lnTo>
                      <a:pt x="252" y="54"/>
                    </a:lnTo>
                    <a:lnTo>
                      <a:pt x="252" y="36"/>
                    </a:lnTo>
                    <a:lnTo>
                      <a:pt x="258" y="36"/>
                    </a:lnTo>
                    <a:lnTo>
                      <a:pt x="270" y="30"/>
                    </a:lnTo>
                    <a:lnTo>
                      <a:pt x="264" y="18"/>
                    </a:lnTo>
                    <a:lnTo>
                      <a:pt x="270" y="12"/>
                    </a:lnTo>
                    <a:lnTo>
                      <a:pt x="264" y="12"/>
                    </a:lnTo>
                    <a:lnTo>
                      <a:pt x="252" y="6"/>
                    </a:lnTo>
                    <a:lnTo>
                      <a:pt x="246" y="6"/>
                    </a:lnTo>
                    <a:lnTo>
                      <a:pt x="234" y="0"/>
                    </a:lnTo>
                    <a:lnTo>
                      <a:pt x="180" y="0"/>
                    </a:lnTo>
                    <a:lnTo>
                      <a:pt x="168" y="12"/>
                    </a:lnTo>
                    <a:lnTo>
                      <a:pt x="156" y="18"/>
                    </a:lnTo>
                    <a:lnTo>
                      <a:pt x="156" y="30"/>
                    </a:lnTo>
                    <a:lnTo>
                      <a:pt x="162" y="36"/>
                    </a:lnTo>
                    <a:lnTo>
                      <a:pt x="162" y="54"/>
                    </a:lnTo>
                    <a:lnTo>
                      <a:pt x="168" y="60"/>
                    </a:lnTo>
                    <a:lnTo>
                      <a:pt x="174" y="60"/>
                    </a:lnTo>
                    <a:lnTo>
                      <a:pt x="180" y="66"/>
                    </a:lnTo>
                    <a:lnTo>
                      <a:pt x="180" y="78"/>
                    </a:lnTo>
                    <a:lnTo>
                      <a:pt x="168" y="84"/>
                    </a:lnTo>
                    <a:lnTo>
                      <a:pt x="162" y="90"/>
                    </a:lnTo>
                    <a:lnTo>
                      <a:pt x="144" y="90"/>
                    </a:lnTo>
                    <a:lnTo>
                      <a:pt x="138" y="84"/>
                    </a:lnTo>
                    <a:lnTo>
                      <a:pt x="138" y="66"/>
                    </a:lnTo>
                    <a:lnTo>
                      <a:pt x="150" y="54"/>
                    </a:lnTo>
                    <a:lnTo>
                      <a:pt x="150" y="36"/>
                    </a:lnTo>
                    <a:lnTo>
                      <a:pt x="144" y="30"/>
                    </a:lnTo>
                    <a:lnTo>
                      <a:pt x="144" y="24"/>
                    </a:lnTo>
                    <a:lnTo>
                      <a:pt x="132" y="36"/>
                    </a:lnTo>
                    <a:lnTo>
                      <a:pt x="120" y="42"/>
                    </a:lnTo>
                    <a:lnTo>
                      <a:pt x="114" y="48"/>
                    </a:lnTo>
                    <a:lnTo>
                      <a:pt x="102" y="54"/>
                    </a:lnTo>
                    <a:lnTo>
                      <a:pt x="96" y="66"/>
                    </a:lnTo>
                    <a:lnTo>
                      <a:pt x="96" y="84"/>
                    </a:lnTo>
                    <a:lnTo>
                      <a:pt x="90" y="90"/>
                    </a:lnTo>
                    <a:lnTo>
                      <a:pt x="90" y="102"/>
                    </a:lnTo>
                    <a:lnTo>
                      <a:pt x="60" y="132"/>
                    </a:lnTo>
                    <a:lnTo>
                      <a:pt x="72" y="144"/>
                    </a:lnTo>
                    <a:lnTo>
                      <a:pt x="42" y="144"/>
                    </a:lnTo>
                    <a:lnTo>
                      <a:pt x="18" y="156"/>
                    </a:lnTo>
                    <a:close/>
                  </a:path>
                </a:pathLst>
              </a:custGeom>
              <a:solidFill>
                <a:srgbClr val="4966AC"/>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78" name="Montenegro" descr="© INSCALE GmbH, 05.05.2010&#10;http://www.presentationload.com/">
                <a:extLst>
                  <a:ext uri="{FF2B5EF4-FFF2-40B4-BE49-F238E27FC236}">
                    <a16:creationId xmlns:a16="http://schemas.microsoft.com/office/drawing/2014/main" id="{7CCD3C05-099F-4F66-9727-694F13A3F30E}"/>
                  </a:ext>
                </a:extLst>
              </p:cNvPr>
              <p:cNvSpPr>
                <a:spLocks/>
              </p:cNvSpPr>
              <p:nvPr/>
            </p:nvSpPr>
            <p:spPr bwMode="gray">
              <a:xfrm>
                <a:off x="4710754" y="3010200"/>
                <a:ext cx="43678" cy="60644"/>
              </a:xfrm>
              <a:custGeom>
                <a:avLst/>
                <a:gdLst>
                  <a:gd name="T0" fmla="*/ 2147483647 w 114"/>
                  <a:gd name="T1" fmla="*/ 2147483647 h 138"/>
                  <a:gd name="T2" fmla="*/ 2147483647 w 114"/>
                  <a:gd name="T3" fmla="*/ 2147483647 h 138"/>
                  <a:gd name="T4" fmla="*/ 2147483647 w 114"/>
                  <a:gd name="T5" fmla="*/ 2147483647 h 138"/>
                  <a:gd name="T6" fmla="*/ 2147483647 w 114"/>
                  <a:gd name="T7" fmla="*/ 2147483647 h 138"/>
                  <a:gd name="T8" fmla="*/ 2147483647 w 114"/>
                  <a:gd name="T9" fmla="*/ 2147483647 h 138"/>
                  <a:gd name="T10" fmla="*/ 2147483647 w 114"/>
                  <a:gd name="T11" fmla="*/ 2147483647 h 138"/>
                  <a:gd name="T12" fmla="*/ 2147483647 w 114"/>
                  <a:gd name="T13" fmla="*/ 0 h 138"/>
                  <a:gd name="T14" fmla="*/ 2147483647 w 114"/>
                  <a:gd name="T15" fmla="*/ 0 h 138"/>
                  <a:gd name="T16" fmla="*/ 2147483647 w 114"/>
                  <a:gd name="T17" fmla="*/ 2147483647 h 138"/>
                  <a:gd name="T18" fmla="*/ 2147483647 w 114"/>
                  <a:gd name="T19" fmla="*/ 2147483647 h 138"/>
                  <a:gd name="T20" fmla="*/ 2147483647 w 114"/>
                  <a:gd name="T21" fmla="*/ 2147483647 h 138"/>
                  <a:gd name="T22" fmla="*/ 2147483647 w 114"/>
                  <a:gd name="T23" fmla="*/ 2147483647 h 138"/>
                  <a:gd name="T24" fmla="*/ 2147483647 w 114"/>
                  <a:gd name="T25" fmla="*/ 2147483647 h 138"/>
                  <a:gd name="T26" fmla="*/ 2147483647 w 114"/>
                  <a:gd name="T27" fmla="*/ 2147483647 h 138"/>
                  <a:gd name="T28" fmla="*/ 0 w 114"/>
                  <a:gd name="T29" fmla="*/ 2147483647 h 138"/>
                  <a:gd name="T30" fmla="*/ 0 w 114"/>
                  <a:gd name="T31" fmla="*/ 2147483647 h 138"/>
                  <a:gd name="T32" fmla="*/ 2147483647 w 114"/>
                  <a:gd name="T33" fmla="*/ 2147483647 h 138"/>
                  <a:gd name="T34" fmla="*/ 2147483647 w 114"/>
                  <a:gd name="T35" fmla="*/ 2147483647 h 138"/>
                  <a:gd name="T36" fmla="*/ 2147483647 w 114"/>
                  <a:gd name="T37" fmla="*/ 2147483647 h 138"/>
                  <a:gd name="T38" fmla="*/ 2147483647 w 114"/>
                  <a:gd name="T39" fmla="*/ 2147483647 h 138"/>
                  <a:gd name="T40" fmla="*/ 2147483647 w 114"/>
                  <a:gd name="T41" fmla="*/ 2147483647 h 138"/>
                  <a:gd name="T42" fmla="*/ 2147483647 w 114"/>
                  <a:gd name="T43" fmla="*/ 2147483647 h 138"/>
                  <a:gd name="T44" fmla="*/ 2147483647 w 114"/>
                  <a:gd name="T45" fmla="*/ 2147483647 h 138"/>
                  <a:gd name="T46" fmla="*/ 2147483647 w 114"/>
                  <a:gd name="T47" fmla="*/ 2147483647 h 138"/>
                  <a:gd name="T48" fmla="*/ 2147483647 w 114"/>
                  <a:gd name="T49" fmla="*/ 2147483647 h 138"/>
                  <a:gd name="T50" fmla="*/ 2147483647 w 114"/>
                  <a:gd name="T51" fmla="*/ 2147483647 h 138"/>
                  <a:gd name="T52" fmla="*/ 2147483647 w 114"/>
                  <a:gd name="T53" fmla="*/ 2147483647 h 138"/>
                  <a:gd name="T54" fmla="*/ 2147483647 w 114"/>
                  <a:gd name="T55" fmla="*/ 2147483647 h 138"/>
                  <a:gd name="T56" fmla="*/ 2147483647 w 114"/>
                  <a:gd name="T57" fmla="*/ 2147483647 h 138"/>
                  <a:gd name="T58" fmla="*/ 2147483647 w 114"/>
                  <a:gd name="T59" fmla="*/ 2147483647 h 138"/>
                  <a:gd name="T60" fmla="*/ 2147483647 w 114"/>
                  <a:gd name="T61" fmla="*/ 2147483647 h 138"/>
                  <a:gd name="T62" fmla="*/ 2147483647 w 114"/>
                  <a:gd name="T63" fmla="*/ 2147483647 h 138"/>
                  <a:gd name="T64" fmla="*/ 2147483647 w 114"/>
                  <a:gd name="T65" fmla="*/ 2147483647 h 138"/>
                  <a:gd name="T66" fmla="*/ 2147483647 w 114"/>
                  <a:gd name="T67" fmla="*/ 2147483647 h 138"/>
                  <a:gd name="T68" fmla="*/ 2147483647 w 114"/>
                  <a:gd name="T69" fmla="*/ 2147483647 h 138"/>
                  <a:gd name="T70" fmla="*/ 2147483647 w 114"/>
                  <a:gd name="T71" fmla="*/ 2147483647 h 13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14"/>
                  <a:gd name="T109" fmla="*/ 0 h 138"/>
                  <a:gd name="T110" fmla="*/ 114 w 114"/>
                  <a:gd name="T111" fmla="*/ 138 h 13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14" h="138">
                    <a:moveTo>
                      <a:pt x="114" y="42"/>
                    </a:moveTo>
                    <a:lnTo>
                      <a:pt x="108" y="48"/>
                    </a:lnTo>
                    <a:lnTo>
                      <a:pt x="96" y="30"/>
                    </a:lnTo>
                    <a:lnTo>
                      <a:pt x="84" y="18"/>
                    </a:lnTo>
                    <a:lnTo>
                      <a:pt x="66" y="6"/>
                    </a:lnTo>
                    <a:lnTo>
                      <a:pt x="60" y="6"/>
                    </a:lnTo>
                    <a:lnTo>
                      <a:pt x="48" y="0"/>
                    </a:lnTo>
                    <a:lnTo>
                      <a:pt x="42" y="0"/>
                    </a:lnTo>
                    <a:lnTo>
                      <a:pt x="42" y="24"/>
                    </a:lnTo>
                    <a:lnTo>
                      <a:pt x="24" y="24"/>
                    </a:lnTo>
                    <a:lnTo>
                      <a:pt x="18" y="30"/>
                    </a:lnTo>
                    <a:lnTo>
                      <a:pt x="18" y="36"/>
                    </a:lnTo>
                    <a:lnTo>
                      <a:pt x="12" y="48"/>
                    </a:lnTo>
                    <a:lnTo>
                      <a:pt x="6" y="48"/>
                    </a:lnTo>
                    <a:lnTo>
                      <a:pt x="0" y="54"/>
                    </a:lnTo>
                    <a:lnTo>
                      <a:pt x="0" y="60"/>
                    </a:lnTo>
                    <a:lnTo>
                      <a:pt x="6" y="66"/>
                    </a:lnTo>
                    <a:lnTo>
                      <a:pt x="12" y="66"/>
                    </a:lnTo>
                    <a:lnTo>
                      <a:pt x="24" y="72"/>
                    </a:lnTo>
                    <a:lnTo>
                      <a:pt x="6" y="102"/>
                    </a:lnTo>
                    <a:lnTo>
                      <a:pt x="18" y="102"/>
                    </a:lnTo>
                    <a:lnTo>
                      <a:pt x="24" y="96"/>
                    </a:lnTo>
                    <a:lnTo>
                      <a:pt x="36" y="96"/>
                    </a:lnTo>
                    <a:lnTo>
                      <a:pt x="36" y="114"/>
                    </a:lnTo>
                    <a:lnTo>
                      <a:pt x="60" y="138"/>
                    </a:lnTo>
                    <a:lnTo>
                      <a:pt x="72" y="126"/>
                    </a:lnTo>
                    <a:lnTo>
                      <a:pt x="66" y="108"/>
                    </a:lnTo>
                    <a:lnTo>
                      <a:pt x="60" y="114"/>
                    </a:lnTo>
                    <a:lnTo>
                      <a:pt x="42" y="102"/>
                    </a:lnTo>
                    <a:lnTo>
                      <a:pt x="66" y="102"/>
                    </a:lnTo>
                    <a:lnTo>
                      <a:pt x="78" y="96"/>
                    </a:lnTo>
                    <a:lnTo>
                      <a:pt x="78" y="78"/>
                    </a:lnTo>
                    <a:lnTo>
                      <a:pt x="108" y="90"/>
                    </a:lnTo>
                    <a:lnTo>
                      <a:pt x="114" y="84"/>
                    </a:lnTo>
                    <a:lnTo>
                      <a:pt x="114" y="90"/>
                    </a:lnTo>
                    <a:lnTo>
                      <a:pt x="114" y="42"/>
                    </a:lnTo>
                    <a:close/>
                  </a:path>
                </a:pathLst>
              </a:custGeom>
              <a:solidFill>
                <a:srgbClr val="4966AC"/>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79" name="Moldova" descr="© INSCALE GmbH, 05.05.2010&#10;http://www.presentationload.com/">
                <a:extLst>
                  <a:ext uri="{FF2B5EF4-FFF2-40B4-BE49-F238E27FC236}">
                    <a16:creationId xmlns:a16="http://schemas.microsoft.com/office/drawing/2014/main" id="{A5041990-587A-475D-B80F-B9A6E36FB164}"/>
                  </a:ext>
                </a:extLst>
              </p:cNvPr>
              <p:cNvSpPr>
                <a:spLocks/>
              </p:cNvSpPr>
              <p:nvPr/>
            </p:nvSpPr>
            <p:spPr bwMode="gray">
              <a:xfrm>
                <a:off x="4908863" y="2842128"/>
                <a:ext cx="85795" cy="103962"/>
              </a:xfrm>
              <a:custGeom>
                <a:avLst/>
                <a:gdLst>
                  <a:gd name="T0" fmla="*/ 2147483647 w 216"/>
                  <a:gd name="T1" fmla="*/ 2147483647 h 240"/>
                  <a:gd name="T2" fmla="*/ 2147483647 w 216"/>
                  <a:gd name="T3" fmla="*/ 2147483647 h 240"/>
                  <a:gd name="T4" fmla="*/ 2147483647 w 216"/>
                  <a:gd name="T5" fmla="*/ 2147483647 h 240"/>
                  <a:gd name="T6" fmla="*/ 2147483647 w 216"/>
                  <a:gd name="T7" fmla="*/ 2147483647 h 240"/>
                  <a:gd name="T8" fmla="*/ 2147483647 w 216"/>
                  <a:gd name="T9" fmla="*/ 2147483647 h 240"/>
                  <a:gd name="T10" fmla="*/ 2147483647 w 216"/>
                  <a:gd name="T11" fmla="*/ 2147483647 h 240"/>
                  <a:gd name="T12" fmla="*/ 2147483647 w 216"/>
                  <a:gd name="T13" fmla="*/ 2147483647 h 240"/>
                  <a:gd name="T14" fmla="*/ 2147483647 w 216"/>
                  <a:gd name="T15" fmla="*/ 2147483647 h 240"/>
                  <a:gd name="T16" fmla="*/ 2147483647 w 216"/>
                  <a:gd name="T17" fmla="*/ 2147483647 h 240"/>
                  <a:gd name="T18" fmla="*/ 2147483647 w 216"/>
                  <a:gd name="T19" fmla="*/ 2147483647 h 240"/>
                  <a:gd name="T20" fmla="*/ 2147483647 w 216"/>
                  <a:gd name="T21" fmla="*/ 2147483647 h 240"/>
                  <a:gd name="T22" fmla="*/ 2147483647 w 216"/>
                  <a:gd name="T23" fmla="*/ 2147483647 h 240"/>
                  <a:gd name="T24" fmla="*/ 2147483647 w 216"/>
                  <a:gd name="T25" fmla="*/ 2147483647 h 240"/>
                  <a:gd name="T26" fmla="*/ 2147483647 w 216"/>
                  <a:gd name="T27" fmla="*/ 2147483647 h 240"/>
                  <a:gd name="T28" fmla="*/ 2147483647 w 216"/>
                  <a:gd name="T29" fmla="*/ 2147483647 h 240"/>
                  <a:gd name="T30" fmla="*/ 2147483647 w 216"/>
                  <a:gd name="T31" fmla="*/ 2147483647 h 240"/>
                  <a:gd name="T32" fmla="*/ 2147483647 w 216"/>
                  <a:gd name="T33" fmla="*/ 2147483647 h 240"/>
                  <a:gd name="T34" fmla="*/ 2147483647 w 216"/>
                  <a:gd name="T35" fmla="*/ 2147483647 h 240"/>
                  <a:gd name="T36" fmla="*/ 2147483647 w 216"/>
                  <a:gd name="T37" fmla="*/ 2147483647 h 240"/>
                  <a:gd name="T38" fmla="*/ 2147483647 w 216"/>
                  <a:gd name="T39" fmla="*/ 2147483647 h 240"/>
                  <a:gd name="T40" fmla="*/ 2147483647 w 216"/>
                  <a:gd name="T41" fmla="*/ 2147483647 h 240"/>
                  <a:gd name="T42" fmla="*/ 2147483647 w 216"/>
                  <a:gd name="T43" fmla="*/ 2147483647 h 240"/>
                  <a:gd name="T44" fmla="*/ 2147483647 w 216"/>
                  <a:gd name="T45" fmla="*/ 2147483647 h 240"/>
                  <a:gd name="T46" fmla="*/ 2147483647 w 216"/>
                  <a:gd name="T47" fmla="*/ 2147483647 h 240"/>
                  <a:gd name="T48" fmla="*/ 2147483647 w 216"/>
                  <a:gd name="T49" fmla="*/ 2147483647 h 240"/>
                  <a:gd name="T50" fmla="*/ 2147483647 w 216"/>
                  <a:gd name="T51" fmla="*/ 2147483647 h 240"/>
                  <a:gd name="T52" fmla="*/ 2147483647 w 216"/>
                  <a:gd name="T53" fmla="*/ 2147483647 h 240"/>
                  <a:gd name="T54" fmla="*/ 2147483647 w 216"/>
                  <a:gd name="T55" fmla="*/ 2147483647 h 240"/>
                  <a:gd name="T56" fmla="*/ 2147483647 w 216"/>
                  <a:gd name="T57" fmla="*/ 2147483647 h 240"/>
                  <a:gd name="T58" fmla="*/ 2147483647 w 216"/>
                  <a:gd name="T59" fmla="*/ 2147483647 h 240"/>
                  <a:gd name="T60" fmla="*/ 2147483647 w 216"/>
                  <a:gd name="T61" fmla="*/ 0 h 240"/>
                  <a:gd name="T62" fmla="*/ 2147483647 w 216"/>
                  <a:gd name="T63" fmla="*/ 2147483647 h 240"/>
                  <a:gd name="T64" fmla="*/ 2147483647 w 216"/>
                  <a:gd name="T65" fmla="*/ 2147483647 h 240"/>
                  <a:gd name="T66" fmla="*/ 2147483647 w 216"/>
                  <a:gd name="T67" fmla="*/ 2147483647 h 24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16"/>
                  <a:gd name="T103" fmla="*/ 0 h 240"/>
                  <a:gd name="T104" fmla="*/ 216 w 216"/>
                  <a:gd name="T105" fmla="*/ 240 h 240"/>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16" h="240">
                    <a:moveTo>
                      <a:pt x="0" y="18"/>
                    </a:moveTo>
                    <a:lnTo>
                      <a:pt x="18" y="24"/>
                    </a:lnTo>
                    <a:lnTo>
                      <a:pt x="24" y="30"/>
                    </a:lnTo>
                    <a:lnTo>
                      <a:pt x="30" y="42"/>
                    </a:lnTo>
                    <a:lnTo>
                      <a:pt x="36" y="48"/>
                    </a:lnTo>
                    <a:lnTo>
                      <a:pt x="36" y="60"/>
                    </a:lnTo>
                    <a:lnTo>
                      <a:pt x="60" y="72"/>
                    </a:lnTo>
                    <a:lnTo>
                      <a:pt x="66" y="96"/>
                    </a:lnTo>
                    <a:lnTo>
                      <a:pt x="78" y="96"/>
                    </a:lnTo>
                    <a:lnTo>
                      <a:pt x="84" y="114"/>
                    </a:lnTo>
                    <a:lnTo>
                      <a:pt x="102" y="114"/>
                    </a:lnTo>
                    <a:lnTo>
                      <a:pt x="108" y="120"/>
                    </a:lnTo>
                    <a:lnTo>
                      <a:pt x="108" y="162"/>
                    </a:lnTo>
                    <a:lnTo>
                      <a:pt x="114" y="162"/>
                    </a:lnTo>
                    <a:lnTo>
                      <a:pt x="108" y="168"/>
                    </a:lnTo>
                    <a:lnTo>
                      <a:pt x="108" y="180"/>
                    </a:lnTo>
                    <a:lnTo>
                      <a:pt x="102" y="186"/>
                    </a:lnTo>
                    <a:lnTo>
                      <a:pt x="102" y="198"/>
                    </a:lnTo>
                    <a:lnTo>
                      <a:pt x="108" y="210"/>
                    </a:lnTo>
                    <a:lnTo>
                      <a:pt x="114" y="216"/>
                    </a:lnTo>
                    <a:lnTo>
                      <a:pt x="114" y="240"/>
                    </a:lnTo>
                    <a:lnTo>
                      <a:pt x="138" y="234"/>
                    </a:lnTo>
                    <a:lnTo>
                      <a:pt x="138" y="222"/>
                    </a:lnTo>
                    <a:lnTo>
                      <a:pt x="132" y="216"/>
                    </a:lnTo>
                    <a:lnTo>
                      <a:pt x="132" y="204"/>
                    </a:lnTo>
                    <a:lnTo>
                      <a:pt x="138" y="204"/>
                    </a:lnTo>
                    <a:lnTo>
                      <a:pt x="150" y="198"/>
                    </a:lnTo>
                    <a:lnTo>
                      <a:pt x="156" y="192"/>
                    </a:lnTo>
                    <a:lnTo>
                      <a:pt x="174" y="180"/>
                    </a:lnTo>
                    <a:lnTo>
                      <a:pt x="168" y="174"/>
                    </a:lnTo>
                    <a:lnTo>
                      <a:pt x="156" y="168"/>
                    </a:lnTo>
                    <a:lnTo>
                      <a:pt x="150" y="168"/>
                    </a:lnTo>
                    <a:lnTo>
                      <a:pt x="150" y="162"/>
                    </a:lnTo>
                    <a:lnTo>
                      <a:pt x="156" y="156"/>
                    </a:lnTo>
                    <a:lnTo>
                      <a:pt x="174" y="156"/>
                    </a:lnTo>
                    <a:lnTo>
                      <a:pt x="180" y="162"/>
                    </a:lnTo>
                    <a:lnTo>
                      <a:pt x="198" y="162"/>
                    </a:lnTo>
                    <a:lnTo>
                      <a:pt x="210" y="156"/>
                    </a:lnTo>
                    <a:lnTo>
                      <a:pt x="216" y="156"/>
                    </a:lnTo>
                    <a:lnTo>
                      <a:pt x="216" y="126"/>
                    </a:lnTo>
                    <a:lnTo>
                      <a:pt x="210" y="120"/>
                    </a:lnTo>
                    <a:lnTo>
                      <a:pt x="198" y="120"/>
                    </a:lnTo>
                    <a:lnTo>
                      <a:pt x="192" y="114"/>
                    </a:lnTo>
                    <a:lnTo>
                      <a:pt x="180" y="114"/>
                    </a:lnTo>
                    <a:lnTo>
                      <a:pt x="180" y="96"/>
                    </a:lnTo>
                    <a:lnTo>
                      <a:pt x="186" y="90"/>
                    </a:lnTo>
                    <a:lnTo>
                      <a:pt x="180" y="84"/>
                    </a:lnTo>
                    <a:lnTo>
                      <a:pt x="174" y="84"/>
                    </a:lnTo>
                    <a:lnTo>
                      <a:pt x="162" y="90"/>
                    </a:lnTo>
                    <a:lnTo>
                      <a:pt x="162" y="66"/>
                    </a:lnTo>
                    <a:lnTo>
                      <a:pt x="168" y="60"/>
                    </a:lnTo>
                    <a:lnTo>
                      <a:pt x="162" y="48"/>
                    </a:lnTo>
                    <a:lnTo>
                      <a:pt x="156" y="42"/>
                    </a:lnTo>
                    <a:lnTo>
                      <a:pt x="144" y="36"/>
                    </a:lnTo>
                    <a:lnTo>
                      <a:pt x="126" y="36"/>
                    </a:lnTo>
                    <a:lnTo>
                      <a:pt x="126" y="24"/>
                    </a:lnTo>
                    <a:lnTo>
                      <a:pt x="120" y="18"/>
                    </a:lnTo>
                    <a:lnTo>
                      <a:pt x="78" y="18"/>
                    </a:lnTo>
                    <a:lnTo>
                      <a:pt x="78" y="12"/>
                    </a:lnTo>
                    <a:lnTo>
                      <a:pt x="72" y="12"/>
                    </a:lnTo>
                    <a:lnTo>
                      <a:pt x="60" y="0"/>
                    </a:lnTo>
                    <a:lnTo>
                      <a:pt x="54" y="0"/>
                    </a:lnTo>
                    <a:lnTo>
                      <a:pt x="42" y="6"/>
                    </a:lnTo>
                    <a:lnTo>
                      <a:pt x="36" y="6"/>
                    </a:lnTo>
                    <a:lnTo>
                      <a:pt x="36" y="12"/>
                    </a:lnTo>
                    <a:lnTo>
                      <a:pt x="24" y="12"/>
                    </a:lnTo>
                    <a:lnTo>
                      <a:pt x="12" y="6"/>
                    </a:lnTo>
                    <a:lnTo>
                      <a:pt x="6" y="6"/>
                    </a:lnTo>
                    <a:lnTo>
                      <a:pt x="0" y="18"/>
                    </a:lnTo>
                    <a:close/>
                  </a:path>
                </a:pathLst>
              </a:custGeom>
              <a:solidFill>
                <a:srgbClr val="4966AC"/>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80" name="Malta" descr="© INSCALE GmbH, 05.05.2010&#10;http://www.presentationload.com/">
                <a:extLst>
                  <a:ext uri="{FF2B5EF4-FFF2-40B4-BE49-F238E27FC236}">
                    <a16:creationId xmlns:a16="http://schemas.microsoft.com/office/drawing/2014/main" id="{9D0F62C2-1501-498B-871F-66111C0B5D42}"/>
                  </a:ext>
                </a:extLst>
              </p:cNvPr>
              <p:cNvSpPr>
                <a:spLocks/>
              </p:cNvSpPr>
              <p:nvPr/>
            </p:nvSpPr>
            <p:spPr bwMode="gray">
              <a:xfrm>
                <a:off x="4604680" y="3271837"/>
                <a:ext cx="12479" cy="12129"/>
              </a:xfrm>
              <a:custGeom>
                <a:avLst/>
                <a:gdLst>
                  <a:gd name="T0" fmla="*/ 2147483647 w 30"/>
                  <a:gd name="T1" fmla="*/ 2147483647 h 30"/>
                  <a:gd name="T2" fmla="*/ 2147483647 w 30"/>
                  <a:gd name="T3" fmla="*/ 2147483647 h 30"/>
                  <a:gd name="T4" fmla="*/ 2147483647 w 30"/>
                  <a:gd name="T5" fmla="*/ 2147483647 h 30"/>
                  <a:gd name="T6" fmla="*/ 2147483647 w 30"/>
                  <a:gd name="T7" fmla="*/ 0 h 30"/>
                  <a:gd name="T8" fmla="*/ 2147483647 w 30"/>
                  <a:gd name="T9" fmla="*/ 0 h 30"/>
                  <a:gd name="T10" fmla="*/ 0 w 30"/>
                  <a:gd name="T11" fmla="*/ 2147483647 h 30"/>
                  <a:gd name="T12" fmla="*/ 0 w 30"/>
                  <a:gd name="T13" fmla="*/ 2147483647 h 30"/>
                  <a:gd name="T14" fmla="*/ 2147483647 w 30"/>
                  <a:gd name="T15" fmla="*/ 2147483647 h 30"/>
                  <a:gd name="T16" fmla="*/ 2147483647 w 30"/>
                  <a:gd name="T17" fmla="*/ 2147483647 h 30"/>
                  <a:gd name="T18" fmla="*/ 2147483647 w 30"/>
                  <a:gd name="T19" fmla="*/ 2147483647 h 3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0"/>
                  <a:gd name="T31" fmla="*/ 0 h 30"/>
                  <a:gd name="T32" fmla="*/ 30 w 30"/>
                  <a:gd name="T33" fmla="*/ 30 h 3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0" h="30">
                    <a:moveTo>
                      <a:pt x="24" y="30"/>
                    </a:moveTo>
                    <a:lnTo>
                      <a:pt x="30" y="24"/>
                    </a:lnTo>
                    <a:lnTo>
                      <a:pt x="30" y="12"/>
                    </a:lnTo>
                    <a:lnTo>
                      <a:pt x="18" y="0"/>
                    </a:lnTo>
                    <a:lnTo>
                      <a:pt x="6" y="0"/>
                    </a:lnTo>
                    <a:lnTo>
                      <a:pt x="0" y="6"/>
                    </a:lnTo>
                    <a:lnTo>
                      <a:pt x="0" y="18"/>
                    </a:lnTo>
                    <a:lnTo>
                      <a:pt x="6" y="24"/>
                    </a:lnTo>
                    <a:lnTo>
                      <a:pt x="18" y="30"/>
                    </a:lnTo>
                    <a:lnTo>
                      <a:pt x="24" y="30"/>
                    </a:lnTo>
                    <a:close/>
                  </a:path>
                </a:pathLst>
              </a:custGeom>
              <a:solidFill>
                <a:srgbClr val="4966AC"/>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81" name="Macedonia" descr="© INSCALE GmbH, 05.05.2010&#10;http://www.presentationload.com/">
                <a:extLst>
                  <a:ext uri="{FF2B5EF4-FFF2-40B4-BE49-F238E27FC236}">
                    <a16:creationId xmlns:a16="http://schemas.microsoft.com/office/drawing/2014/main" id="{3E9CC373-5CF6-4D4E-AA60-DF5876C7FD87}"/>
                  </a:ext>
                </a:extLst>
              </p:cNvPr>
              <p:cNvSpPr>
                <a:spLocks/>
              </p:cNvSpPr>
              <p:nvPr/>
            </p:nvSpPr>
            <p:spPr bwMode="gray">
              <a:xfrm>
                <a:off x="4765351" y="3051784"/>
                <a:ext cx="65516" cy="57179"/>
              </a:xfrm>
              <a:custGeom>
                <a:avLst/>
                <a:gdLst>
                  <a:gd name="T0" fmla="*/ 2147483647 w 162"/>
                  <a:gd name="T1" fmla="*/ 2147483647 h 126"/>
                  <a:gd name="T2" fmla="*/ 2147483647 w 162"/>
                  <a:gd name="T3" fmla="*/ 2147483647 h 126"/>
                  <a:gd name="T4" fmla="*/ 2147483647 w 162"/>
                  <a:gd name="T5" fmla="*/ 2147483647 h 126"/>
                  <a:gd name="T6" fmla="*/ 2147483647 w 162"/>
                  <a:gd name="T7" fmla="*/ 2147483647 h 126"/>
                  <a:gd name="T8" fmla="*/ 2147483647 w 162"/>
                  <a:gd name="T9" fmla="*/ 0 h 126"/>
                  <a:gd name="T10" fmla="*/ 2147483647 w 162"/>
                  <a:gd name="T11" fmla="*/ 2147483647 h 126"/>
                  <a:gd name="T12" fmla="*/ 2147483647 w 162"/>
                  <a:gd name="T13" fmla="*/ 2147483647 h 126"/>
                  <a:gd name="T14" fmla="*/ 2147483647 w 162"/>
                  <a:gd name="T15" fmla="*/ 2147483647 h 126"/>
                  <a:gd name="T16" fmla="*/ 2147483647 w 162"/>
                  <a:gd name="T17" fmla="*/ 2147483647 h 126"/>
                  <a:gd name="T18" fmla="*/ 2147483647 w 162"/>
                  <a:gd name="T19" fmla="*/ 2147483647 h 126"/>
                  <a:gd name="T20" fmla="*/ 2147483647 w 162"/>
                  <a:gd name="T21" fmla="*/ 2147483647 h 126"/>
                  <a:gd name="T22" fmla="*/ 0 w 162"/>
                  <a:gd name="T23" fmla="*/ 2147483647 h 126"/>
                  <a:gd name="T24" fmla="*/ 0 w 162"/>
                  <a:gd name="T25" fmla="*/ 2147483647 h 126"/>
                  <a:gd name="T26" fmla="*/ 2147483647 w 162"/>
                  <a:gd name="T27" fmla="*/ 2147483647 h 126"/>
                  <a:gd name="T28" fmla="*/ 2147483647 w 162"/>
                  <a:gd name="T29" fmla="*/ 2147483647 h 126"/>
                  <a:gd name="T30" fmla="*/ 2147483647 w 162"/>
                  <a:gd name="T31" fmla="*/ 2147483647 h 126"/>
                  <a:gd name="T32" fmla="*/ 2147483647 w 162"/>
                  <a:gd name="T33" fmla="*/ 2147483647 h 126"/>
                  <a:gd name="T34" fmla="*/ 2147483647 w 162"/>
                  <a:gd name="T35" fmla="*/ 2147483647 h 126"/>
                  <a:gd name="T36" fmla="*/ 2147483647 w 162"/>
                  <a:gd name="T37" fmla="*/ 2147483647 h 126"/>
                  <a:gd name="T38" fmla="*/ 2147483647 w 162"/>
                  <a:gd name="T39" fmla="*/ 2147483647 h 126"/>
                  <a:gd name="T40" fmla="*/ 2147483647 w 162"/>
                  <a:gd name="T41" fmla="*/ 2147483647 h 126"/>
                  <a:gd name="T42" fmla="*/ 2147483647 w 162"/>
                  <a:gd name="T43" fmla="*/ 2147483647 h 126"/>
                  <a:gd name="T44" fmla="*/ 2147483647 w 162"/>
                  <a:gd name="T45" fmla="*/ 2147483647 h 126"/>
                  <a:gd name="T46" fmla="*/ 2147483647 w 162"/>
                  <a:gd name="T47" fmla="*/ 2147483647 h 126"/>
                  <a:gd name="T48" fmla="*/ 2147483647 w 162"/>
                  <a:gd name="T49" fmla="*/ 2147483647 h 126"/>
                  <a:gd name="T50" fmla="*/ 2147483647 w 162"/>
                  <a:gd name="T51" fmla="*/ 2147483647 h 126"/>
                  <a:gd name="T52" fmla="*/ 2147483647 w 162"/>
                  <a:gd name="T53" fmla="*/ 2147483647 h 126"/>
                  <a:gd name="T54" fmla="*/ 2147483647 w 162"/>
                  <a:gd name="T55" fmla="*/ 2147483647 h 126"/>
                  <a:gd name="T56" fmla="*/ 2147483647 w 162"/>
                  <a:gd name="T57" fmla="*/ 2147483647 h 126"/>
                  <a:gd name="T58" fmla="*/ 2147483647 w 162"/>
                  <a:gd name="T59" fmla="*/ 2147483647 h 126"/>
                  <a:gd name="T60" fmla="*/ 2147483647 w 162"/>
                  <a:gd name="T61" fmla="*/ 2147483647 h 126"/>
                  <a:gd name="T62" fmla="*/ 2147483647 w 162"/>
                  <a:gd name="T63" fmla="*/ 2147483647 h 126"/>
                  <a:gd name="T64" fmla="*/ 2147483647 w 162"/>
                  <a:gd name="T65" fmla="*/ 2147483647 h 12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62"/>
                  <a:gd name="T100" fmla="*/ 0 h 126"/>
                  <a:gd name="T101" fmla="*/ 162 w 162"/>
                  <a:gd name="T102" fmla="*/ 126 h 12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62" h="126">
                    <a:moveTo>
                      <a:pt x="150" y="42"/>
                    </a:moveTo>
                    <a:lnTo>
                      <a:pt x="132" y="30"/>
                    </a:lnTo>
                    <a:lnTo>
                      <a:pt x="132" y="18"/>
                    </a:lnTo>
                    <a:lnTo>
                      <a:pt x="126" y="18"/>
                    </a:lnTo>
                    <a:lnTo>
                      <a:pt x="114" y="0"/>
                    </a:lnTo>
                    <a:lnTo>
                      <a:pt x="72" y="6"/>
                    </a:lnTo>
                    <a:lnTo>
                      <a:pt x="66" y="12"/>
                    </a:lnTo>
                    <a:lnTo>
                      <a:pt x="48" y="12"/>
                    </a:lnTo>
                    <a:lnTo>
                      <a:pt x="48" y="24"/>
                    </a:lnTo>
                    <a:lnTo>
                      <a:pt x="24" y="24"/>
                    </a:lnTo>
                    <a:lnTo>
                      <a:pt x="18" y="36"/>
                    </a:lnTo>
                    <a:lnTo>
                      <a:pt x="0" y="42"/>
                    </a:lnTo>
                    <a:lnTo>
                      <a:pt x="0" y="66"/>
                    </a:lnTo>
                    <a:lnTo>
                      <a:pt x="6" y="78"/>
                    </a:lnTo>
                    <a:lnTo>
                      <a:pt x="6" y="102"/>
                    </a:lnTo>
                    <a:lnTo>
                      <a:pt x="12" y="108"/>
                    </a:lnTo>
                    <a:lnTo>
                      <a:pt x="18" y="108"/>
                    </a:lnTo>
                    <a:lnTo>
                      <a:pt x="18" y="126"/>
                    </a:lnTo>
                    <a:lnTo>
                      <a:pt x="42" y="120"/>
                    </a:lnTo>
                    <a:lnTo>
                      <a:pt x="42" y="126"/>
                    </a:lnTo>
                    <a:lnTo>
                      <a:pt x="54" y="120"/>
                    </a:lnTo>
                    <a:lnTo>
                      <a:pt x="60" y="120"/>
                    </a:lnTo>
                    <a:lnTo>
                      <a:pt x="66" y="126"/>
                    </a:lnTo>
                    <a:lnTo>
                      <a:pt x="90" y="126"/>
                    </a:lnTo>
                    <a:lnTo>
                      <a:pt x="96" y="114"/>
                    </a:lnTo>
                    <a:lnTo>
                      <a:pt x="96" y="108"/>
                    </a:lnTo>
                    <a:lnTo>
                      <a:pt x="120" y="108"/>
                    </a:lnTo>
                    <a:lnTo>
                      <a:pt x="132" y="102"/>
                    </a:lnTo>
                    <a:lnTo>
                      <a:pt x="156" y="78"/>
                    </a:lnTo>
                    <a:lnTo>
                      <a:pt x="162" y="66"/>
                    </a:lnTo>
                    <a:lnTo>
                      <a:pt x="162" y="60"/>
                    </a:lnTo>
                    <a:lnTo>
                      <a:pt x="156" y="48"/>
                    </a:lnTo>
                    <a:lnTo>
                      <a:pt x="150" y="42"/>
                    </a:lnTo>
                    <a:close/>
                  </a:path>
                </a:pathLst>
              </a:custGeom>
              <a:solidFill>
                <a:srgbClr val="4966AC"/>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82" name="Luxembourg" descr="© INSCALE GmbH, 05.05.2010&#10;http://www.presentationload.com/">
                <a:extLst>
                  <a:ext uri="{FF2B5EF4-FFF2-40B4-BE49-F238E27FC236}">
                    <a16:creationId xmlns:a16="http://schemas.microsoft.com/office/drawing/2014/main" id="{05961742-224E-4F78-AFEA-9CD72108911C}"/>
                  </a:ext>
                </a:extLst>
              </p:cNvPr>
              <p:cNvSpPr>
                <a:spLocks/>
              </p:cNvSpPr>
              <p:nvPr/>
            </p:nvSpPr>
            <p:spPr bwMode="gray">
              <a:xfrm>
                <a:off x="4389413" y="2784949"/>
                <a:ext cx="20279" cy="19060"/>
              </a:xfrm>
              <a:custGeom>
                <a:avLst/>
                <a:gdLst>
                  <a:gd name="T0" fmla="*/ 2147483647 w 54"/>
                  <a:gd name="T1" fmla="*/ 2147483647 h 42"/>
                  <a:gd name="T2" fmla="*/ 2147483647 w 54"/>
                  <a:gd name="T3" fmla="*/ 2147483647 h 42"/>
                  <a:gd name="T4" fmla="*/ 2147483647 w 54"/>
                  <a:gd name="T5" fmla="*/ 2147483647 h 42"/>
                  <a:gd name="T6" fmla="*/ 2147483647 w 54"/>
                  <a:gd name="T7" fmla="*/ 2147483647 h 42"/>
                  <a:gd name="T8" fmla="*/ 2147483647 w 54"/>
                  <a:gd name="T9" fmla="*/ 2147483647 h 42"/>
                  <a:gd name="T10" fmla="*/ 2147483647 w 54"/>
                  <a:gd name="T11" fmla="*/ 2147483647 h 42"/>
                  <a:gd name="T12" fmla="*/ 2147483647 w 54"/>
                  <a:gd name="T13" fmla="*/ 2147483647 h 42"/>
                  <a:gd name="T14" fmla="*/ 2147483647 w 54"/>
                  <a:gd name="T15" fmla="*/ 2147483647 h 42"/>
                  <a:gd name="T16" fmla="*/ 2147483647 w 54"/>
                  <a:gd name="T17" fmla="*/ 0 h 42"/>
                  <a:gd name="T18" fmla="*/ 2147483647 w 54"/>
                  <a:gd name="T19" fmla="*/ 0 h 42"/>
                  <a:gd name="T20" fmla="*/ 2147483647 w 54"/>
                  <a:gd name="T21" fmla="*/ 2147483647 h 42"/>
                  <a:gd name="T22" fmla="*/ 2147483647 w 54"/>
                  <a:gd name="T23" fmla="*/ 2147483647 h 42"/>
                  <a:gd name="T24" fmla="*/ 0 w 54"/>
                  <a:gd name="T25" fmla="*/ 2147483647 h 42"/>
                  <a:gd name="T26" fmla="*/ 0 w 54"/>
                  <a:gd name="T27" fmla="*/ 2147483647 h 42"/>
                  <a:gd name="T28" fmla="*/ 2147483647 w 54"/>
                  <a:gd name="T29" fmla="*/ 2147483647 h 42"/>
                  <a:gd name="T30" fmla="*/ 2147483647 w 54"/>
                  <a:gd name="T31" fmla="*/ 2147483647 h 4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4"/>
                  <a:gd name="T49" fmla="*/ 0 h 42"/>
                  <a:gd name="T50" fmla="*/ 54 w 54"/>
                  <a:gd name="T51" fmla="*/ 42 h 4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4" h="42">
                    <a:moveTo>
                      <a:pt x="18" y="42"/>
                    </a:moveTo>
                    <a:lnTo>
                      <a:pt x="30" y="36"/>
                    </a:lnTo>
                    <a:lnTo>
                      <a:pt x="48" y="42"/>
                    </a:lnTo>
                    <a:lnTo>
                      <a:pt x="54" y="36"/>
                    </a:lnTo>
                    <a:lnTo>
                      <a:pt x="54" y="24"/>
                    </a:lnTo>
                    <a:lnTo>
                      <a:pt x="42" y="18"/>
                    </a:lnTo>
                    <a:lnTo>
                      <a:pt x="36" y="18"/>
                    </a:lnTo>
                    <a:lnTo>
                      <a:pt x="30" y="12"/>
                    </a:lnTo>
                    <a:lnTo>
                      <a:pt x="30" y="0"/>
                    </a:lnTo>
                    <a:lnTo>
                      <a:pt x="24" y="0"/>
                    </a:lnTo>
                    <a:lnTo>
                      <a:pt x="18" y="6"/>
                    </a:lnTo>
                    <a:lnTo>
                      <a:pt x="6" y="12"/>
                    </a:lnTo>
                    <a:lnTo>
                      <a:pt x="0" y="12"/>
                    </a:lnTo>
                    <a:lnTo>
                      <a:pt x="0" y="18"/>
                    </a:lnTo>
                    <a:lnTo>
                      <a:pt x="12" y="30"/>
                    </a:lnTo>
                    <a:lnTo>
                      <a:pt x="18" y="42"/>
                    </a:lnTo>
                    <a:close/>
                  </a:path>
                </a:pathLst>
              </a:custGeom>
              <a:solidFill>
                <a:srgbClr val="4966AC"/>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83" name="Lithuania" descr="© INSCALE GmbH, 05.05.2010&#10;http://www.presentationload.com/">
                <a:extLst>
                  <a:ext uri="{FF2B5EF4-FFF2-40B4-BE49-F238E27FC236}">
                    <a16:creationId xmlns:a16="http://schemas.microsoft.com/office/drawing/2014/main" id="{E9F6466E-8A57-493C-99B1-9B2886DC832B}"/>
                  </a:ext>
                </a:extLst>
              </p:cNvPr>
              <p:cNvSpPr>
                <a:spLocks/>
              </p:cNvSpPr>
              <p:nvPr/>
            </p:nvSpPr>
            <p:spPr bwMode="gray">
              <a:xfrm>
                <a:off x="4754432" y="2570094"/>
                <a:ext cx="135712" cy="86635"/>
              </a:xfrm>
              <a:custGeom>
                <a:avLst/>
                <a:gdLst>
                  <a:gd name="T0" fmla="*/ 2147483647 w 342"/>
                  <a:gd name="T1" fmla="*/ 2147483647 h 198"/>
                  <a:gd name="T2" fmla="*/ 2147483647 w 342"/>
                  <a:gd name="T3" fmla="*/ 2147483647 h 198"/>
                  <a:gd name="T4" fmla="*/ 2147483647 w 342"/>
                  <a:gd name="T5" fmla="*/ 2147483647 h 198"/>
                  <a:gd name="T6" fmla="*/ 2147483647 w 342"/>
                  <a:gd name="T7" fmla="*/ 2147483647 h 198"/>
                  <a:gd name="T8" fmla="*/ 2147483647 w 342"/>
                  <a:gd name="T9" fmla="*/ 2147483647 h 198"/>
                  <a:gd name="T10" fmla="*/ 2147483647 w 342"/>
                  <a:gd name="T11" fmla="*/ 2147483647 h 198"/>
                  <a:gd name="T12" fmla="*/ 2147483647 w 342"/>
                  <a:gd name="T13" fmla="*/ 2147483647 h 198"/>
                  <a:gd name="T14" fmla="*/ 2147483647 w 342"/>
                  <a:gd name="T15" fmla="*/ 2147483647 h 198"/>
                  <a:gd name="T16" fmla="*/ 2147483647 w 342"/>
                  <a:gd name="T17" fmla="*/ 2147483647 h 198"/>
                  <a:gd name="T18" fmla="*/ 2147483647 w 342"/>
                  <a:gd name="T19" fmla="*/ 2147483647 h 198"/>
                  <a:gd name="T20" fmla="*/ 2147483647 w 342"/>
                  <a:gd name="T21" fmla="*/ 2147483647 h 198"/>
                  <a:gd name="T22" fmla="*/ 2147483647 w 342"/>
                  <a:gd name="T23" fmla="*/ 2147483647 h 198"/>
                  <a:gd name="T24" fmla="*/ 2147483647 w 342"/>
                  <a:gd name="T25" fmla="*/ 0 h 198"/>
                  <a:gd name="T26" fmla="*/ 2147483647 w 342"/>
                  <a:gd name="T27" fmla="*/ 2147483647 h 198"/>
                  <a:gd name="T28" fmla="*/ 0 w 342"/>
                  <a:gd name="T29" fmla="*/ 2147483647 h 198"/>
                  <a:gd name="T30" fmla="*/ 2147483647 w 342"/>
                  <a:gd name="T31" fmla="*/ 2147483647 h 198"/>
                  <a:gd name="T32" fmla="*/ 2147483647 w 342"/>
                  <a:gd name="T33" fmla="*/ 2147483647 h 198"/>
                  <a:gd name="T34" fmla="*/ 2147483647 w 342"/>
                  <a:gd name="T35" fmla="*/ 2147483647 h 198"/>
                  <a:gd name="T36" fmla="*/ 2147483647 w 342"/>
                  <a:gd name="T37" fmla="*/ 2147483647 h 198"/>
                  <a:gd name="T38" fmla="*/ 2147483647 w 342"/>
                  <a:gd name="T39" fmla="*/ 2147483647 h 198"/>
                  <a:gd name="T40" fmla="*/ 2147483647 w 342"/>
                  <a:gd name="T41" fmla="*/ 2147483647 h 198"/>
                  <a:gd name="T42" fmla="*/ 2147483647 w 342"/>
                  <a:gd name="T43" fmla="*/ 2147483647 h 198"/>
                  <a:gd name="T44" fmla="*/ 2147483647 w 342"/>
                  <a:gd name="T45" fmla="*/ 2147483647 h 198"/>
                  <a:gd name="T46" fmla="*/ 2147483647 w 342"/>
                  <a:gd name="T47" fmla="*/ 2147483647 h 198"/>
                  <a:gd name="T48" fmla="*/ 2147483647 w 342"/>
                  <a:gd name="T49" fmla="*/ 2147483647 h 198"/>
                  <a:gd name="T50" fmla="*/ 2147483647 w 342"/>
                  <a:gd name="T51" fmla="*/ 2147483647 h 198"/>
                  <a:gd name="T52" fmla="*/ 2147483647 w 342"/>
                  <a:gd name="T53" fmla="*/ 2147483647 h 198"/>
                  <a:gd name="T54" fmla="*/ 2147483647 w 342"/>
                  <a:gd name="T55" fmla="*/ 2147483647 h 198"/>
                  <a:gd name="T56" fmla="*/ 2147483647 w 342"/>
                  <a:gd name="T57" fmla="*/ 2147483647 h 198"/>
                  <a:gd name="T58" fmla="*/ 2147483647 w 342"/>
                  <a:gd name="T59" fmla="*/ 2147483647 h 198"/>
                  <a:gd name="T60" fmla="*/ 2147483647 w 342"/>
                  <a:gd name="T61" fmla="*/ 2147483647 h 198"/>
                  <a:gd name="T62" fmla="*/ 2147483647 w 342"/>
                  <a:gd name="T63" fmla="*/ 2147483647 h 198"/>
                  <a:gd name="T64" fmla="*/ 2147483647 w 342"/>
                  <a:gd name="T65" fmla="*/ 2147483647 h 198"/>
                  <a:gd name="T66" fmla="*/ 2147483647 w 342"/>
                  <a:gd name="T67" fmla="*/ 2147483647 h 198"/>
                  <a:gd name="T68" fmla="*/ 2147483647 w 342"/>
                  <a:gd name="T69" fmla="*/ 2147483647 h 198"/>
                  <a:gd name="T70" fmla="*/ 2147483647 w 342"/>
                  <a:gd name="T71" fmla="*/ 2147483647 h 198"/>
                  <a:gd name="T72" fmla="*/ 2147483647 w 342"/>
                  <a:gd name="T73" fmla="*/ 2147483647 h 198"/>
                  <a:gd name="T74" fmla="*/ 2147483647 w 342"/>
                  <a:gd name="T75" fmla="*/ 2147483647 h 198"/>
                  <a:gd name="T76" fmla="*/ 2147483647 w 342"/>
                  <a:gd name="T77" fmla="*/ 2147483647 h 198"/>
                  <a:gd name="T78" fmla="*/ 2147483647 w 342"/>
                  <a:gd name="T79" fmla="*/ 2147483647 h 198"/>
                  <a:gd name="T80" fmla="*/ 2147483647 w 342"/>
                  <a:gd name="T81" fmla="*/ 2147483647 h 198"/>
                  <a:gd name="T82" fmla="*/ 2147483647 w 342"/>
                  <a:gd name="T83" fmla="*/ 2147483647 h 198"/>
                  <a:gd name="T84" fmla="*/ 2147483647 w 342"/>
                  <a:gd name="T85" fmla="*/ 2147483647 h 19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42"/>
                  <a:gd name="T130" fmla="*/ 0 h 198"/>
                  <a:gd name="T131" fmla="*/ 342 w 342"/>
                  <a:gd name="T132" fmla="*/ 198 h 198"/>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42" h="198">
                    <a:moveTo>
                      <a:pt x="330" y="60"/>
                    </a:moveTo>
                    <a:lnTo>
                      <a:pt x="312" y="54"/>
                    </a:lnTo>
                    <a:lnTo>
                      <a:pt x="294" y="42"/>
                    </a:lnTo>
                    <a:lnTo>
                      <a:pt x="282" y="30"/>
                    </a:lnTo>
                    <a:lnTo>
                      <a:pt x="276" y="30"/>
                    </a:lnTo>
                    <a:lnTo>
                      <a:pt x="264" y="24"/>
                    </a:lnTo>
                    <a:lnTo>
                      <a:pt x="234" y="24"/>
                    </a:lnTo>
                    <a:lnTo>
                      <a:pt x="228" y="12"/>
                    </a:lnTo>
                    <a:lnTo>
                      <a:pt x="222" y="6"/>
                    </a:lnTo>
                    <a:lnTo>
                      <a:pt x="210" y="6"/>
                    </a:lnTo>
                    <a:lnTo>
                      <a:pt x="198" y="18"/>
                    </a:lnTo>
                    <a:lnTo>
                      <a:pt x="180" y="18"/>
                    </a:lnTo>
                    <a:lnTo>
                      <a:pt x="174" y="12"/>
                    </a:lnTo>
                    <a:lnTo>
                      <a:pt x="162" y="12"/>
                    </a:lnTo>
                    <a:lnTo>
                      <a:pt x="156" y="18"/>
                    </a:lnTo>
                    <a:lnTo>
                      <a:pt x="150" y="18"/>
                    </a:lnTo>
                    <a:lnTo>
                      <a:pt x="144" y="12"/>
                    </a:lnTo>
                    <a:lnTo>
                      <a:pt x="138" y="12"/>
                    </a:lnTo>
                    <a:lnTo>
                      <a:pt x="126" y="6"/>
                    </a:lnTo>
                    <a:lnTo>
                      <a:pt x="120" y="6"/>
                    </a:lnTo>
                    <a:lnTo>
                      <a:pt x="114" y="12"/>
                    </a:lnTo>
                    <a:lnTo>
                      <a:pt x="108" y="12"/>
                    </a:lnTo>
                    <a:lnTo>
                      <a:pt x="102" y="6"/>
                    </a:lnTo>
                    <a:lnTo>
                      <a:pt x="96" y="6"/>
                    </a:lnTo>
                    <a:lnTo>
                      <a:pt x="90" y="0"/>
                    </a:lnTo>
                    <a:lnTo>
                      <a:pt x="72" y="0"/>
                    </a:lnTo>
                    <a:lnTo>
                      <a:pt x="60" y="12"/>
                    </a:lnTo>
                    <a:lnTo>
                      <a:pt x="18" y="12"/>
                    </a:lnTo>
                    <a:lnTo>
                      <a:pt x="6" y="18"/>
                    </a:lnTo>
                    <a:lnTo>
                      <a:pt x="0" y="18"/>
                    </a:lnTo>
                    <a:lnTo>
                      <a:pt x="0" y="60"/>
                    </a:lnTo>
                    <a:lnTo>
                      <a:pt x="12" y="84"/>
                    </a:lnTo>
                    <a:lnTo>
                      <a:pt x="18" y="90"/>
                    </a:lnTo>
                    <a:lnTo>
                      <a:pt x="18" y="96"/>
                    </a:lnTo>
                    <a:lnTo>
                      <a:pt x="30" y="96"/>
                    </a:lnTo>
                    <a:lnTo>
                      <a:pt x="30" y="102"/>
                    </a:lnTo>
                    <a:lnTo>
                      <a:pt x="42" y="102"/>
                    </a:lnTo>
                    <a:lnTo>
                      <a:pt x="48" y="108"/>
                    </a:lnTo>
                    <a:lnTo>
                      <a:pt x="72" y="108"/>
                    </a:lnTo>
                    <a:lnTo>
                      <a:pt x="84" y="102"/>
                    </a:lnTo>
                    <a:lnTo>
                      <a:pt x="102" y="102"/>
                    </a:lnTo>
                    <a:lnTo>
                      <a:pt x="108" y="114"/>
                    </a:lnTo>
                    <a:lnTo>
                      <a:pt x="108" y="132"/>
                    </a:lnTo>
                    <a:lnTo>
                      <a:pt x="96" y="144"/>
                    </a:lnTo>
                    <a:lnTo>
                      <a:pt x="102" y="162"/>
                    </a:lnTo>
                    <a:lnTo>
                      <a:pt x="120" y="162"/>
                    </a:lnTo>
                    <a:lnTo>
                      <a:pt x="138" y="168"/>
                    </a:lnTo>
                    <a:lnTo>
                      <a:pt x="144" y="168"/>
                    </a:lnTo>
                    <a:lnTo>
                      <a:pt x="156" y="174"/>
                    </a:lnTo>
                    <a:lnTo>
                      <a:pt x="156" y="198"/>
                    </a:lnTo>
                    <a:lnTo>
                      <a:pt x="162" y="198"/>
                    </a:lnTo>
                    <a:lnTo>
                      <a:pt x="168" y="192"/>
                    </a:lnTo>
                    <a:lnTo>
                      <a:pt x="180" y="192"/>
                    </a:lnTo>
                    <a:lnTo>
                      <a:pt x="192" y="186"/>
                    </a:lnTo>
                    <a:lnTo>
                      <a:pt x="198" y="186"/>
                    </a:lnTo>
                    <a:lnTo>
                      <a:pt x="204" y="192"/>
                    </a:lnTo>
                    <a:lnTo>
                      <a:pt x="204" y="198"/>
                    </a:lnTo>
                    <a:lnTo>
                      <a:pt x="234" y="198"/>
                    </a:lnTo>
                    <a:lnTo>
                      <a:pt x="234" y="180"/>
                    </a:lnTo>
                    <a:lnTo>
                      <a:pt x="246" y="192"/>
                    </a:lnTo>
                    <a:lnTo>
                      <a:pt x="252" y="180"/>
                    </a:lnTo>
                    <a:lnTo>
                      <a:pt x="258" y="174"/>
                    </a:lnTo>
                    <a:lnTo>
                      <a:pt x="270" y="168"/>
                    </a:lnTo>
                    <a:lnTo>
                      <a:pt x="288" y="168"/>
                    </a:lnTo>
                    <a:lnTo>
                      <a:pt x="288" y="174"/>
                    </a:lnTo>
                    <a:lnTo>
                      <a:pt x="282" y="180"/>
                    </a:lnTo>
                    <a:lnTo>
                      <a:pt x="294" y="180"/>
                    </a:lnTo>
                    <a:lnTo>
                      <a:pt x="294" y="174"/>
                    </a:lnTo>
                    <a:lnTo>
                      <a:pt x="288" y="168"/>
                    </a:lnTo>
                    <a:lnTo>
                      <a:pt x="288" y="156"/>
                    </a:lnTo>
                    <a:lnTo>
                      <a:pt x="282" y="150"/>
                    </a:lnTo>
                    <a:lnTo>
                      <a:pt x="282" y="144"/>
                    </a:lnTo>
                    <a:lnTo>
                      <a:pt x="294" y="144"/>
                    </a:lnTo>
                    <a:lnTo>
                      <a:pt x="294" y="138"/>
                    </a:lnTo>
                    <a:lnTo>
                      <a:pt x="288" y="126"/>
                    </a:lnTo>
                    <a:lnTo>
                      <a:pt x="288" y="120"/>
                    </a:lnTo>
                    <a:lnTo>
                      <a:pt x="294" y="114"/>
                    </a:lnTo>
                    <a:lnTo>
                      <a:pt x="312" y="114"/>
                    </a:lnTo>
                    <a:lnTo>
                      <a:pt x="306" y="96"/>
                    </a:lnTo>
                    <a:lnTo>
                      <a:pt x="312" y="96"/>
                    </a:lnTo>
                    <a:lnTo>
                      <a:pt x="318" y="102"/>
                    </a:lnTo>
                    <a:lnTo>
                      <a:pt x="336" y="102"/>
                    </a:lnTo>
                    <a:lnTo>
                      <a:pt x="342" y="96"/>
                    </a:lnTo>
                    <a:lnTo>
                      <a:pt x="324" y="78"/>
                    </a:lnTo>
                    <a:lnTo>
                      <a:pt x="324" y="72"/>
                    </a:lnTo>
                    <a:lnTo>
                      <a:pt x="330" y="66"/>
                    </a:lnTo>
                    <a:lnTo>
                      <a:pt x="330" y="60"/>
                    </a:lnTo>
                    <a:close/>
                  </a:path>
                </a:pathLst>
              </a:custGeom>
              <a:solidFill>
                <a:srgbClr val="4966AC"/>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84" name="Liechtenstein" descr="© INSCALE GmbH, 05.05.2010&#10;http://www.presentationload.com/">
                <a:extLst>
                  <a:ext uri="{FF2B5EF4-FFF2-40B4-BE49-F238E27FC236}">
                    <a16:creationId xmlns:a16="http://schemas.microsoft.com/office/drawing/2014/main" id="{510F5549-CDDC-4D6E-99FB-D72DE5ABB67C}"/>
                  </a:ext>
                </a:extLst>
              </p:cNvPr>
              <p:cNvSpPr>
                <a:spLocks/>
              </p:cNvSpPr>
              <p:nvPr/>
            </p:nvSpPr>
            <p:spPr bwMode="gray">
              <a:xfrm>
                <a:off x="4479887" y="2881980"/>
                <a:ext cx="6240" cy="10396"/>
              </a:xfrm>
              <a:custGeom>
                <a:avLst/>
                <a:gdLst>
                  <a:gd name="T0" fmla="*/ 2147483647 w 18"/>
                  <a:gd name="T1" fmla="*/ 0 h 24"/>
                  <a:gd name="T2" fmla="*/ 2147483647 w 18"/>
                  <a:gd name="T3" fmla="*/ 2147483647 h 24"/>
                  <a:gd name="T4" fmla="*/ 0 w 18"/>
                  <a:gd name="T5" fmla="*/ 2147483647 h 24"/>
                  <a:gd name="T6" fmla="*/ 0 w 18"/>
                  <a:gd name="T7" fmla="*/ 2147483647 h 24"/>
                  <a:gd name="T8" fmla="*/ 2147483647 w 18"/>
                  <a:gd name="T9" fmla="*/ 2147483647 h 24"/>
                  <a:gd name="T10" fmla="*/ 2147483647 w 18"/>
                  <a:gd name="T11" fmla="*/ 0 h 24"/>
                  <a:gd name="T12" fmla="*/ 2147483647 w 18"/>
                  <a:gd name="T13" fmla="*/ 0 h 24"/>
                  <a:gd name="T14" fmla="*/ 0 60000 65536"/>
                  <a:gd name="T15" fmla="*/ 0 60000 65536"/>
                  <a:gd name="T16" fmla="*/ 0 60000 65536"/>
                  <a:gd name="T17" fmla="*/ 0 60000 65536"/>
                  <a:gd name="T18" fmla="*/ 0 60000 65536"/>
                  <a:gd name="T19" fmla="*/ 0 60000 65536"/>
                  <a:gd name="T20" fmla="*/ 0 60000 65536"/>
                  <a:gd name="T21" fmla="*/ 0 w 18"/>
                  <a:gd name="T22" fmla="*/ 0 h 24"/>
                  <a:gd name="T23" fmla="*/ 18 w 18"/>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 h="24">
                    <a:moveTo>
                      <a:pt x="12" y="0"/>
                    </a:moveTo>
                    <a:lnTo>
                      <a:pt x="6" y="6"/>
                    </a:lnTo>
                    <a:lnTo>
                      <a:pt x="0" y="18"/>
                    </a:lnTo>
                    <a:lnTo>
                      <a:pt x="0" y="24"/>
                    </a:lnTo>
                    <a:lnTo>
                      <a:pt x="18" y="24"/>
                    </a:lnTo>
                    <a:lnTo>
                      <a:pt x="18" y="0"/>
                    </a:lnTo>
                    <a:lnTo>
                      <a:pt x="12" y="0"/>
                    </a:lnTo>
                    <a:close/>
                  </a:path>
                </a:pathLst>
              </a:custGeom>
              <a:solidFill>
                <a:srgbClr val="4966AC"/>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85" name="Lebanon" descr="© INSCALE GmbH, 05.05.2010&#10;http://www.presentationload.com/">
                <a:extLst>
                  <a:ext uri="{FF2B5EF4-FFF2-40B4-BE49-F238E27FC236}">
                    <a16:creationId xmlns:a16="http://schemas.microsoft.com/office/drawing/2014/main" id="{CECEA4EB-890C-478F-BE8C-E308C7ADD8D5}"/>
                  </a:ext>
                </a:extLst>
              </p:cNvPr>
              <p:cNvSpPr>
                <a:spLocks/>
              </p:cNvSpPr>
              <p:nvPr/>
            </p:nvSpPr>
            <p:spPr bwMode="gray">
              <a:xfrm>
                <a:off x="5160009" y="3327284"/>
                <a:ext cx="43678" cy="67575"/>
              </a:xfrm>
              <a:custGeom>
                <a:avLst/>
                <a:gdLst>
                  <a:gd name="T0" fmla="*/ 2147483647 w 108"/>
                  <a:gd name="T1" fmla="*/ 2147483647 h 156"/>
                  <a:gd name="T2" fmla="*/ 2147483647 w 108"/>
                  <a:gd name="T3" fmla="*/ 2147483647 h 156"/>
                  <a:gd name="T4" fmla="*/ 2147483647 w 108"/>
                  <a:gd name="T5" fmla="*/ 2147483647 h 156"/>
                  <a:gd name="T6" fmla="*/ 2147483647 w 108"/>
                  <a:gd name="T7" fmla="*/ 2147483647 h 156"/>
                  <a:gd name="T8" fmla="*/ 2147483647 w 108"/>
                  <a:gd name="T9" fmla="*/ 2147483647 h 156"/>
                  <a:gd name="T10" fmla="*/ 2147483647 w 108"/>
                  <a:gd name="T11" fmla="*/ 2147483647 h 156"/>
                  <a:gd name="T12" fmla="*/ 2147483647 w 108"/>
                  <a:gd name="T13" fmla="*/ 2147483647 h 156"/>
                  <a:gd name="T14" fmla="*/ 2147483647 w 108"/>
                  <a:gd name="T15" fmla="*/ 2147483647 h 156"/>
                  <a:gd name="T16" fmla="*/ 2147483647 w 108"/>
                  <a:gd name="T17" fmla="*/ 2147483647 h 156"/>
                  <a:gd name="T18" fmla="*/ 2147483647 w 108"/>
                  <a:gd name="T19" fmla="*/ 2147483647 h 156"/>
                  <a:gd name="T20" fmla="*/ 2147483647 w 108"/>
                  <a:gd name="T21" fmla="*/ 0 h 156"/>
                  <a:gd name="T22" fmla="*/ 2147483647 w 108"/>
                  <a:gd name="T23" fmla="*/ 0 h 156"/>
                  <a:gd name="T24" fmla="*/ 2147483647 w 108"/>
                  <a:gd name="T25" fmla="*/ 0 h 156"/>
                  <a:gd name="T26" fmla="*/ 2147483647 w 108"/>
                  <a:gd name="T27" fmla="*/ 2147483647 h 156"/>
                  <a:gd name="T28" fmla="*/ 2147483647 w 108"/>
                  <a:gd name="T29" fmla="*/ 2147483647 h 156"/>
                  <a:gd name="T30" fmla="*/ 2147483647 w 108"/>
                  <a:gd name="T31" fmla="*/ 2147483647 h 156"/>
                  <a:gd name="T32" fmla="*/ 2147483647 w 108"/>
                  <a:gd name="T33" fmla="*/ 2147483647 h 156"/>
                  <a:gd name="T34" fmla="*/ 2147483647 w 108"/>
                  <a:gd name="T35" fmla="*/ 2147483647 h 156"/>
                  <a:gd name="T36" fmla="*/ 2147483647 w 108"/>
                  <a:gd name="T37" fmla="*/ 2147483647 h 156"/>
                  <a:gd name="T38" fmla="*/ 2147483647 w 108"/>
                  <a:gd name="T39" fmla="*/ 2147483647 h 156"/>
                  <a:gd name="T40" fmla="*/ 2147483647 w 108"/>
                  <a:gd name="T41" fmla="*/ 2147483647 h 156"/>
                  <a:gd name="T42" fmla="*/ 0 w 108"/>
                  <a:gd name="T43" fmla="*/ 2147483647 h 156"/>
                  <a:gd name="T44" fmla="*/ 0 w 108"/>
                  <a:gd name="T45" fmla="*/ 2147483647 h 156"/>
                  <a:gd name="T46" fmla="*/ 2147483647 w 108"/>
                  <a:gd name="T47" fmla="*/ 2147483647 h 156"/>
                  <a:gd name="T48" fmla="*/ 2147483647 w 108"/>
                  <a:gd name="T49" fmla="*/ 2147483647 h 156"/>
                  <a:gd name="T50" fmla="*/ 2147483647 w 108"/>
                  <a:gd name="T51" fmla="*/ 2147483647 h 156"/>
                  <a:gd name="T52" fmla="*/ 2147483647 w 108"/>
                  <a:gd name="T53" fmla="*/ 2147483647 h 156"/>
                  <a:gd name="T54" fmla="*/ 2147483647 w 108"/>
                  <a:gd name="T55" fmla="*/ 2147483647 h 156"/>
                  <a:gd name="T56" fmla="*/ 2147483647 w 108"/>
                  <a:gd name="T57" fmla="*/ 2147483647 h 156"/>
                  <a:gd name="T58" fmla="*/ 2147483647 w 108"/>
                  <a:gd name="T59" fmla="*/ 2147483647 h 156"/>
                  <a:gd name="T60" fmla="*/ 2147483647 w 108"/>
                  <a:gd name="T61" fmla="*/ 2147483647 h 15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08"/>
                  <a:gd name="T94" fmla="*/ 0 h 156"/>
                  <a:gd name="T95" fmla="*/ 108 w 108"/>
                  <a:gd name="T96" fmla="*/ 156 h 15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08" h="156">
                    <a:moveTo>
                      <a:pt x="72" y="96"/>
                    </a:moveTo>
                    <a:lnTo>
                      <a:pt x="72" y="72"/>
                    </a:lnTo>
                    <a:lnTo>
                      <a:pt x="78" y="66"/>
                    </a:lnTo>
                    <a:lnTo>
                      <a:pt x="84" y="66"/>
                    </a:lnTo>
                    <a:lnTo>
                      <a:pt x="96" y="60"/>
                    </a:lnTo>
                    <a:lnTo>
                      <a:pt x="102" y="60"/>
                    </a:lnTo>
                    <a:lnTo>
                      <a:pt x="108" y="48"/>
                    </a:lnTo>
                    <a:lnTo>
                      <a:pt x="108" y="30"/>
                    </a:lnTo>
                    <a:lnTo>
                      <a:pt x="102" y="18"/>
                    </a:lnTo>
                    <a:lnTo>
                      <a:pt x="96" y="12"/>
                    </a:lnTo>
                    <a:lnTo>
                      <a:pt x="102" y="0"/>
                    </a:lnTo>
                    <a:lnTo>
                      <a:pt x="54" y="0"/>
                    </a:lnTo>
                    <a:lnTo>
                      <a:pt x="60" y="0"/>
                    </a:lnTo>
                    <a:lnTo>
                      <a:pt x="60" y="6"/>
                    </a:lnTo>
                    <a:lnTo>
                      <a:pt x="54" y="6"/>
                    </a:lnTo>
                    <a:lnTo>
                      <a:pt x="48" y="18"/>
                    </a:lnTo>
                    <a:lnTo>
                      <a:pt x="36" y="24"/>
                    </a:lnTo>
                    <a:lnTo>
                      <a:pt x="30" y="30"/>
                    </a:lnTo>
                    <a:lnTo>
                      <a:pt x="18" y="66"/>
                    </a:lnTo>
                    <a:lnTo>
                      <a:pt x="12" y="78"/>
                    </a:lnTo>
                    <a:lnTo>
                      <a:pt x="12" y="90"/>
                    </a:lnTo>
                    <a:lnTo>
                      <a:pt x="0" y="114"/>
                    </a:lnTo>
                    <a:lnTo>
                      <a:pt x="0" y="156"/>
                    </a:lnTo>
                    <a:lnTo>
                      <a:pt x="12" y="150"/>
                    </a:lnTo>
                    <a:lnTo>
                      <a:pt x="24" y="126"/>
                    </a:lnTo>
                    <a:lnTo>
                      <a:pt x="30" y="132"/>
                    </a:lnTo>
                    <a:lnTo>
                      <a:pt x="36" y="132"/>
                    </a:lnTo>
                    <a:lnTo>
                      <a:pt x="42" y="126"/>
                    </a:lnTo>
                    <a:lnTo>
                      <a:pt x="48" y="114"/>
                    </a:lnTo>
                    <a:lnTo>
                      <a:pt x="48" y="102"/>
                    </a:lnTo>
                    <a:lnTo>
                      <a:pt x="72" y="96"/>
                    </a:lnTo>
                    <a:close/>
                  </a:path>
                </a:pathLst>
              </a:custGeom>
              <a:solidFill>
                <a:srgbClr val="4966AC"/>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86" name="Latvia" descr="© INSCALE GmbH, 05.05.2010&#10;http://www.presentationload.com/">
                <a:extLst>
                  <a:ext uri="{FF2B5EF4-FFF2-40B4-BE49-F238E27FC236}">
                    <a16:creationId xmlns:a16="http://schemas.microsoft.com/office/drawing/2014/main" id="{B85CCD82-832F-4D1E-8CA9-B2FBA9B92327}"/>
                  </a:ext>
                </a:extLst>
              </p:cNvPr>
              <p:cNvSpPr>
                <a:spLocks/>
              </p:cNvSpPr>
              <p:nvPr/>
            </p:nvSpPr>
            <p:spPr bwMode="gray">
              <a:xfrm>
                <a:off x="4751312" y="2518113"/>
                <a:ext cx="168470" cy="77971"/>
              </a:xfrm>
              <a:custGeom>
                <a:avLst/>
                <a:gdLst>
                  <a:gd name="T0" fmla="*/ 2147483647 w 426"/>
                  <a:gd name="T1" fmla="*/ 2147483647 h 180"/>
                  <a:gd name="T2" fmla="*/ 2147483647 w 426"/>
                  <a:gd name="T3" fmla="*/ 2147483647 h 180"/>
                  <a:gd name="T4" fmla="*/ 2147483647 w 426"/>
                  <a:gd name="T5" fmla="*/ 2147483647 h 180"/>
                  <a:gd name="T6" fmla="*/ 2147483647 w 426"/>
                  <a:gd name="T7" fmla="*/ 2147483647 h 180"/>
                  <a:gd name="T8" fmla="*/ 2147483647 w 426"/>
                  <a:gd name="T9" fmla="*/ 2147483647 h 180"/>
                  <a:gd name="T10" fmla="*/ 2147483647 w 426"/>
                  <a:gd name="T11" fmla="*/ 2147483647 h 180"/>
                  <a:gd name="T12" fmla="*/ 2147483647 w 426"/>
                  <a:gd name="T13" fmla="*/ 2147483647 h 180"/>
                  <a:gd name="T14" fmla="*/ 2147483647 w 426"/>
                  <a:gd name="T15" fmla="*/ 2147483647 h 180"/>
                  <a:gd name="T16" fmla="*/ 2147483647 w 426"/>
                  <a:gd name="T17" fmla="*/ 2147483647 h 180"/>
                  <a:gd name="T18" fmla="*/ 2147483647 w 426"/>
                  <a:gd name="T19" fmla="*/ 2147483647 h 180"/>
                  <a:gd name="T20" fmla="*/ 2147483647 w 426"/>
                  <a:gd name="T21" fmla="*/ 2147483647 h 180"/>
                  <a:gd name="T22" fmla="*/ 2147483647 w 426"/>
                  <a:gd name="T23" fmla="*/ 2147483647 h 180"/>
                  <a:gd name="T24" fmla="*/ 2147483647 w 426"/>
                  <a:gd name="T25" fmla="*/ 2147483647 h 180"/>
                  <a:gd name="T26" fmla="*/ 2147483647 w 426"/>
                  <a:gd name="T27" fmla="*/ 2147483647 h 180"/>
                  <a:gd name="T28" fmla="*/ 2147483647 w 426"/>
                  <a:gd name="T29" fmla="*/ 2147483647 h 180"/>
                  <a:gd name="T30" fmla="*/ 2147483647 w 426"/>
                  <a:gd name="T31" fmla="*/ 2147483647 h 180"/>
                  <a:gd name="T32" fmla="*/ 2147483647 w 426"/>
                  <a:gd name="T33" fmla="*/ 2147483647 h 180"/>
                  <a:gd name="T34" fmla="*/ 2147483647 w 426"/>
                  <a:gd name="T35" fmla="*/ 2147483647 h 180"/>
                  <a:gd name="T36" fmla="*/ 2147483647 w 426"/>
                  <a:gd name="T37" fmla="*/ 2147483647 h 180"/>
                  <a:gd name="T38" fmla="*/ 2147483647 w 426"/>
                  <a:gd name="T39" fmla="*/ 2147483647 h 180"/>
                  <a:gd name="T40" fmla="*/ 2147483647 w 426"/>
                  <a:gd name="T41" fmla="*/ 2147483647 h 180"/>
                  <a:gd name="T42" fmla="*/ 2147483647 w 426"/>
                  <a:gd name="T43" fmla="*/ 2147483647 h 180"/>
                  <a:gd name="T44" fmla="*/ 2147483647 w 426"/>
                  <a:gd name="T45" fmla="*/ 2147483647 h 180"/>
                  <a:gd name="T46" fmla="*/ 2147483647 w 426"/>
                  <a:gd name="T47" fmla="*/ 2147483647 h 180"/>
                  <a:gd name="T48" fmla="*/ 2147483647 w 426"/>
                  <a:gd name="T49" fmla="*/ 2147483647 h 180"/>
                  <a:gd name="T50" fmla="*/ 2147483647 w 426"/>
                  <a:gd name="T51" fmla="*/ 2147483647 h 180"/>
                  <a:gd name="T52" fmla="*/ 2147483647 w 426"/>
                  <a:gd name="T53" fmla="*/ 2147483647 h 180"/>
                  <a:gd name="T54" fmla="*/ 2147483647 w 426"/>
                  <a:gd name="T55" fmla="*/ 2147483647 h 180"/>
                  <a:gd name="T56" fmla="*/ 2147483647 w 426"/>
                  <a:gd name="T57" fmla="*/ 2147483647 h 180"/>
                  <a:gd name="T58" fmla="*/ 2147483647 w 426"/>
                  <a:gd name="T59" fmla="*/ 2147483647 h 180"/>
                  <a:gd name="T60" fmla="*/ 2147483647 w 426"/>
                  <a:gd name="T61" fmla="*/ 0 h 180"/>
                  <a:gd name="T62" fmla="*/ 2147483647 w 426"/>
                  <a:gd name="T63" fmla="*/ 2147483647 h 180"/>
                  <a:gd name="T64" fmla="*/ 2147483647 w 426"/>
                  <a:gd name="T65" fmla="*/ 2147483647 h 180"/>
                  <a:gd name="T66" fmla="*/ 2147483647 w 426"/>
                  <a:gd name="T67" fmla="*/ 2147483647 h 180"/>
                  <a:gd name="T68" fmla="*/ 2147483647 w 426"/>
                  <a:gd name="T69" fmla="*/ 2147483647 h 180"/>
                  <a:gd name="T70" fmla="*/ 2147483647 w 426"/>
                  <a:gd name="T71" fmla="*/ 2147483647 h 180"/>
                  <a:gd name="T72" fmla="*/ 2147483647 w 426"/>
                  <a:gd name="T73" fmla="*/ 2147483647 h 180"/>
                  <a:gd name="T74" fmla="*/ 2147483647 w 426"/>
                  <a:gd name="T75" fmla="*/ 2147483647 h 180"/>
                  <a:gd name="T76" fmla="*/ 2147483647 w 426"/>
                  <a:gd name="T77" fmla="*/ 2147483647 h 180"/>
                  <a:gd name="T78" fmla="*/ 2147483647 w 426"/>
                  <a:gd name="T79" fmla="*/ 2147483647 h 180"/>
                  <a:gd name="T80" fmla="*/ 2147483647 w 426"/>
                  <a:gd name="T81" fmla="*/ 2147483647 h 180"/>
                  <a:gd name="T82" fmla="*/ 2147483647 w 426"/>
                  <a:gd name="T83" fmla="*/ 2147483647 h 180"/>
                  <a:gd name="T84" fmla="*/ 0 w 426"/>
                  <a:gd name="T85" fmla="*/ 2147483647 h 180"/>
                  <a:gd name="T86" fmla="*/ 2147483647 w 426"/>
                  <a:gd name="T87" fmla="*/ 2147483647 h 18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26"/>
                  <a:gd name="T133" fmla="*/ 0 h 180"/>
                  <a:gd name="T134" fmla="*/ 426 w 426"/>
                  <a:gd name="T135" fmla="*/ 180 h 18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26" h="180">
                    <a:moveTo>
                      <a:pt x="6" y="144"/>
                    </a:moveTo>
                    <a:lnTo>
                      <a:pt x="6" y="138"/>
                    </a:lnTo>
                    <a:lnTo>
                      <a:pt x="12" y="138"/>
                    </a:lnTo>
                    <a:lnTo>
                      <a:pt x="24" y="132"/>
                    </a:lnTo>
                    <a:lnTo>
                      <a:pt x="66" y="132"/>
                    </a:lnTo>
                    <a:lnTo>
                      <a:pt x="78" y="120"/>
                    </a:lnTo>
                    <a:lnTo>
                      <a:pt x="96" y="120"/>
                    </a:lnTo>
                    <a:lnTo>
                      <a:pt x="102" y="126"/>
                    </a:lnTo>
                    <a:lnTo>
                      <a:pt x="108" y="126"/>
                    </a:lnTo>
                    <a:lnTo>
                      <a:pt x="114" y="132"/>
                    </a:lnTo>
                    <a:lnTo>
                      <a:pt x="120" y="132"/>
                    </a:lnTo>
                    <a:lnTo>
                      <a:pt x="126" y="126"/>
                    </a:lnTo>
                    <a:lnTo>
                      <a:pt x="132" y="126"/>
                    </a:lnTo>
                    <a:lnTo>
                      <a:pt x="144" y="132"/>
                    </a:lnTo>
                    <a:lnTo>
                      <a:pt x="150" y="132"/>
                    </a:lnTo>
                    <a:lnTo>
                      <a:pt x="156" y="138"/>
                    </a:lnTo>
                    <a:lnTo>
                      <a:pt x="162" y="138"/>
                    </a:lnTo>
                    <a:lnTo>
                      <a:pt x="168" y="132"/>
                    </a:lnTo>
                    <a:lnTo>
                      <a:pt x="180" y="132"/>
                    </a:lnTo>
                    <a:lnTo>
                      <a:pt x="186" y="138"/>
                    </a:lnTo>
                    <a:lnTo>
                      <a:pt x="204" y="138"/>
                    </a:lnTo>
                    <a:lnTo>
                      <a:pt x="216" y="126"/>
                    </a:lnTo>
                    <a:lnTo>
                      <a:pt x="228" y="126"/>
                    </a:lnTo>
                    <a:lnTo>
                      <a:pt x="234" y="132"/>
                    </a:lnTo>
                    <a:lnTo>
                      <a:pt x="240" y="144"/>
                    </a:lnTo>
                    <a:lnTo>
                      <a:pt x="270" y="144"/>
                    </a:lnTo>
                    <a:lnTo>
                      <a:pt x="282" y="150"/>
                    </a:lnTo>
                    <a:lnTo>
                      <a:pt x="288" y="150"/>
                    </a:lnTo>
                    <a:lnTo>
                      <a:pt x="300" y="162"/>
                    </a:lnTo>
                    <a:lnTo>
                      <a:pt x="318" y="174"/>
                    </a:lnTo>
                    <a:lnTo>
                      <a:pt x="336" y="180"/>
                    </a:lnTo>
                    <a:lnTo>
                      <a:pt x="360" y="168"/>
                    </a:lnTo>
                    <a:lnTo>
                      <a:pt x="378" y="168"/>
                    </a:lnTo>
                    <a:lnTo>
                      <a:pt x="384" y="174"/>
                    </a:lnTo>
                    <a:lnTo>
                      <a:pt x="390" y="168"/>
                    </a:lnTo>
                    <a:lnTo>
                      <a:pt x="396" y="168"/>
                    </a:lnTo>
                    <a:lnTo>
                      <a:pt x="402" y="162"/>
                    </a:lnTo>
                    <a:lnTo>
                      <a:pt x="408" y="150"/>
                    </a:lnTo>
                    <a:lnTo>
                      <a:pt x="414" y="144"/>
                    </a:lnTo>
                    <a:lnTo>
                      <a:pt x="420" y="150"/>
                    </a:lnTo>
                    <a:lnTo>
                      <a:pt x="426" y="150"/>
                    </a:lnTo>
                    <a:lnTo>
                      <a:pt x="426" y="126"/>
                    </a:lnTo>
                    <a:lnTo>
                      <a:pt x="414" y="114"/>
                    </a:lnTo>
                    <a:lnTo>
                      <a:pt x="408" y="102"/>
                    </a:lnTo>
                    <a:lnTo>
                      <a:pt x="402" y="96"/>
                    </a:lnTo>
                    <a:lnTo>
                      <a:pt x="378" y="90"/>
                    </a:lnTo>
                    <a:lnTo>
                      <a:pt x="384" y="72"/>
                    </a:lnTo>
                    <a:lnTo>
                      <a:pt x="402" y="72"/>
                    </a:lnTo>
                    <a:lnTo>
                      <a:pt x="402" y="66"/>
                    </a:lnTo>
                    <a:lnTo>
                      <a:pt x="396" y="60"/>
                    </a:lnTo>
                    <a:lnTo>
                      <a:pt x="384" y="54"/>
                    </a:lnTo>
                    <a:lnTo>
                      <a:pt x="372" y="42"/>
                    </a:lnTo>
                    <a:lnTo>
                      <a:pt x="354" y="42"/>
                    </a:lnTo>
                    <a:lnTo>
                      <a:pt x="348" y="36"/>
                    </a:lnTo>
                    <a:lnTo>
                      <a:pt x="330" y="36"/>
                    </a:lnTo>
                    <a:lnTo>
                      <a:pt x="324" y="42"/>
                    </a:lnTo>
                    <a:lnTo>
                      <a:pt x="306" y="42"/>
                    </a:lnTo>
                    <a:lnTo>
                      <a:pt x="288" y="24"/>
                    </a:lnTo>
                    <a:lnTo>
                      <a:pt x="276" y="18"/>
                    </a:lnTo>
                    <a:lnTo>
                      <a:pt x="270" y="12"/>
                    </a:lnTo>
                    <a:lnTo>
                      <a:pt x="246" y="0"/>
                    </a:lnTo>
                    <a:lnTo>
                      <a:pt x="216" y="0"/>
                    </a:lnTo>
                    <a:lnTo>
                      <a:pt x="186" y="12"/>
                    </a:lnTo>
                    <a:lnTo>
                      <a:pt x="174" y="12"/>
                    </a:lnTo>
                    <a:lnTo>
                      <a:pt x="180" y="24"/>
                    </a:lnTo>
                    <a:lnTo>
                      <a:pt x="180" y="30"/>
                    </a:lnTo>
                    <a:lnTo>
                      <a:pt x="186" y="42"/>
                    </a:lnTo>
                    <a:lnTo>
                      <a:pt x="186" y="60"/>
                    </a:lnTo>
                    <a:lnTo>
                      <a:pt x="192" y="66"/>
                    </a:lnTo>
                    <a:lnTo>
                      <a:pt x="186" y="78"/>
                    </a:lnTo>
                    <a:lnTo>
                      <a:pt x="156" y="78"/>
                    </a:lnTo>
                    <a:lnTo>
                      <a:pt x="138" y="72"/>
                    </a:lnTo>
                    <a:lnTo>
                      <a:pt x="126" y="72"/>
                    </a:lnTo>
                    <a:lnTo>
                      <a:pt x="114" y="54"/>
                    </a:lnTo>
                    <a:lnTo>
                      <a:pt x="84" y="24"/>
                    </a:lnTo>
                    <a:lnTo>
                      <a:pt x="72" y="24"/>
                    </a:lnTo>
                    <a:lnTo>
                      <a:pt x="60" y="30"/>
                    </a:lnTo>
                    <a:lnTo>
                      <a:pt x="48" y="30"/>
                    </a:lnTo>
                    <a:lnTo>
                      <a:pt x="36" y="36"/>
                    </a:lnTo>
                    <a:lnTo>
                      <a:pt x="30" y="42"/>
                    </a:lnTo>
                    <a:lnTo>
                      <a:pt x="24" y="54"/>
                    </a:lnTo>
                    <a:lnTo>
                      <a:pt x="24" y="66"/>
                    </a:lnTo>
                    <a:lnTo>
                      <a:pt x="18" y="78"/>
                    </a:lnTo>
                    <a:lnTo>
                      <a:pt x="6" y="84"/>
                    </a:lnTo>
                    <a:lnTo>
                      <a:pt x="0" y="96"/>
                    </a:lnTo>
                    <a:lnTo>
                      <a:pt x="0" y="120"/>
                    </a:lnTo>
                    <a:lnTo>
                      <a:pt x="6" y="132"/>
                    </a:lnTo>
                    <a:lnTo>
                      <a:pt x="6" y="150"/>
                    </a:lnTo>
                    <a:lnTo>
                      <a:pt x="6" y="144"/>
                    </a:lnTo>
                    <a:close/>
                  </a:path>
                </a:pathLst>
              </a:custGeom>
              <a:solidFill>
                <a:srgbClr val="4966AC"/>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87" name="Kyrgyzstan" descr="© INSCALE GmbH, 05.05.2010&#10;http://www.presentationload.com/">
                <a:extLst>
                  <a:ext uri="{FF2B5EF4-FFF2-40B4-BE49-F238E27FC236}">
                    <a16:creationId xmlns:a16="http://schemas.microsoft.com/office/drawing/2014/main" id="{C24C15D5-B59E-44ED-BBC2-C31261CB1C7F}"/>
                  </a:ext>
                </a:extLst>
              </p:cNvPr>
              <p:cNvSpPr>
                <a:spLocks/>
              </p:cNvSpPr>
              <p:nvPr/>
            </p:nvSpPr>
            <p:spPr bwMode="gray">
              <a:xfrm>
                <a:off x="6035119" y="3025794"/>
                <a:ext cx="265185" cy="136883"/>
              </a:xfrm>
              <a:custGeom>
                <a:avLst/>
                <a:gdLst>
                  <a:gd name="T0" fmla="*/ 2147483647 w 672"/>
                  <a:gd name="T1" fmla="*/ 2147483647 h 312"/>
                  <a:gd name="T2" fmla="*/ 2147483647 w 672"/>
                  <a:gd name="T3" fmla="*/ 2147483647 h 312"/>
                  <a:gd name="T4" fmla="*/ 2147483647 w 672"/>
                  <a:gd name="T5" fmla="*/ 2147483647 h 312"/>
                  <a:gd name="T6" fmla="*/ 2147483647 w 672"/>
                  <a:gd name="T7" fmla="*/ 2147483647 h 312"/>
                  <a:gd name="T8" fmla="*/ 2147483647 w 672"/>
                  <a:gd name="T9" fmla="*/ 2147483647 h 312"/>
                  <a:gd name="T10" fmla="*/ 2147483647 w 672"/>
                  <a:gd name="T11" fmla="*/ 2147483647 h 312"/>
                  <a:gd name="T12" fmla="*/ 2147483647 w 672"/>
                  <a:gd name="T13" fmla="*/ 2147483647 h 312"/>
                  <a:gd name="T14" fmla="*/ 2147483647 w 672"/>
                  <a:gd name="T15" fmla="*/ 2147483647 h 312"/>
                  <a:gd name="T16" fmla="*/ 2147483647 w 672"/>
                  <a:gd name="T17" fmla="*/ 2147483647 h 312"/>
                  <a:gd name="T18" fmla="*/ 2147483647 w 672"/>
                  <a:gd name="T19" fmla="*/ 2147483647 h 312"/>
                  <a:gd name="T20" fmla="*/ 2147483647 w 672"/>
                  <a:gd name="T21" fmla="*/ 2147483647 h 312"/>
                  <a:gd name="T22" fmla="*/ 2147483647 w 672"/>
                  <a:gd name="T23" fmla="*/ 2147483647 h 312"/>
                  <a:gd name="T24" fmla="*/ 0 w 672"/>
                  <a:gd name="T25" fmla="*/ 2147483647 h 312"/>
                  <a:gd name="T26" fmla="*/ 2147483647 w 672"/>
                  <a:gd name="T27" fmla="*/ 2147483647 h 312"/>
                  <a:gd name="T28" fmla="*/ 2147483647 w 672"/>
                  <a:gd name="T29" fmla="*/ 2147483647 h 312"/>
                  <a:gd name="T30" fmla="*/ 2147483647 w 672"/>
                  <a:gd name="T31" fmla="*/ 2147483647 h 312"/>
                  <a:gd name="T32" fmla="*/ 2147483647 w 672"/>
                  <a:gd name="T33" fmla="*/ 2147483647 h 312"/>
                  <a:gd name="T34" fmla="*/ 2147483647 w 672"/>
                  <a:gd name="T35" fmla="*/ 2147483647 h 312"/>
                  <a:gd name="T36" fmla="*/ 2147483647 w 672"/>
                  <a:gd name="T37" fmla="*/ 2147483647 h 312"/>
                  <a:gd name="T38" fmla="*/ 2147483647 w 672"/>
                  <a:gd name="T39" fmla="*/ 2147483647 h 312"/>
                  <a:gd name="T40" fmla="*/ 2147483647 w 672"/>
                  <a:gd name="T41" fmla="*/ 2147483647 h 312"/>
                  <a:gd name="T42" fmla="*/ 2147483647 w 672"/>
                  <a:gd name="T43" fmla="*/ 2147483647 h 312"/>
                  <a:gd name="T44" fmla="*/ 2147483647 w 672"/>
                  <a:gd name="T45" fmla="*/ 2147483647 h 312"/>
                  <a:gd name="T46" fmla="*/ 2147483647 w 672"/>
                  <a:gd name="T47" fmla="*/ 2147483647 h 312"/>
                  <a:gd name="T48" fmla="*/ 2147483647 w 672"/>
                  <a:gd name="T49" fmla="*/ 2147483647 h 312"/>
                  <a:gd name="T50" fmla="*/ 2147483647 w 672"/>
                  <a:gd name="T51" fmla="*/ 2147483647 h 312"/>
                  <a:gd name="T52" fmla="*/ 2147483647 w 672"/>
                  <a:gd name="T53" fmla="*/ 2147483647 h 312"/>
                  <a:gd name="T54" fmla="*/ 2147483647 w 672"/>
                  <a:gd name="T55" fmla="*/ 2147483647 h 312"/>
                  <a:gd name="T56" fmla="*/ 2147483647 w 672"/>
                  <a:gd name="T57" fmla="*/ 2147483647 h 312"/>
                  <a:gd name="T58" fmla="*/ 2147483647 w 672"/>
                  <a:gd name="T59" fmla="*/ 2147483647 h 312"/>
                  <a:gd name="T60" fmla="*/ 2147483647 w 672"/>
                  <a:gd name="T61" fmla="*/ 2147483647 h 312"/>
                  <a:gd name="T62" fmla="*/ 2147483647 w 672"/>
                  <a:gd name="T63" fmla="*/ 2147483647 h 312"/>
                  <a:gd name="T64" fmla="*/ 2147483647 w 672"/>
                  <a:gd name="T65" fmla="*/ 2147483647 h 312"/>
                  <a:gd name="T66" fmla="*/ 2147483647 w 672"/>
                  <a:gd name="T67" fmla="*/ 2147483647 h 312"/>
                  <a:gd name="T68" fmla="*/ 2147483647 w 672"/>
                  <a:gd name="T69" fmla="*/ 2147483647 h 312"/>
                  <a:gd name="T70" fmla="*/ 2147483647 w 672"/>
                  <a:gd name="T71" fmla="*/ 2147483647 h 312"/>
                  <a:gd name="T72" fmla="*/ 2147483647 w 672"/>
                  <a:gd name="T73" fmla="*/ 2147483647 h 312"/>
                  <a:gd name="T74" fmla="*/ 2147483647 w 672"/>
                  <a:gd name="T75" fmla="*/ 2147483647 h 312"/>
                  <a:gd name="T76" fmla="*/ 2147483647 w 672"/>
                  <a:gd name="T77" fmla="*/ 0 h 312"/>
                  <a:gd name="T78" fmla="*/ 2147483647 w 672"/>
                  <a:gd name="T79" fmla="*/ 2147483647 h 312"/>
                  <a:gd name="T80" fmla="*/ 2147483647 w 672"/>
                  <a:gd name="T81" fmla="*/ 2147483647 h 312"/>
                  <a:gd name="T82" fmla="*/ 2147483647 w 672"/>
                  <a:gd name="T83" fmla="*/ 2147483647 h 312"/>
                  <a:gd name="T84" fmla="*/ 2147483647 w 672"/>
                  <a:gd name="T85" fmla="*/ 2147483647 h 312"/>
                  <a:gd name="T86" fmla="*/ 2147483647 w 672"/>
                  <a:gd name="T87" fmla="*/ 2147483647 h 312"/>
                  <a:gd name="T88" fmla="*/ 2147483647 w 672"/>
                  <a:gd name="T89" fmla="*/ 2147483647 h 31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672"/>
                  <a:gd name="T136" fmla="*/ 0 h 312"/>
                  <a:gd name="T137" fmla="*/ 672 w 672"/>
                  <a:gd name="T138" fmla="*/ 312 h 312"/>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672" h="312">
                    <a:moveTo>
                      <a:pt x="36" y="132"/>
                    </a:moveTo>
                    <a:lnTo>
                      <a:pt x="66" y="144"/>
                    </a:lnTo>
                    <a:lnTo>
                      <a:pt x="78" y="156"/>
                    </a:lnTo>
                    <a:lnTo>
                      <a:pt x="114" y="156"/>
                    </a:lnTo>
                    <a:lnTo>
                      <a:pt x="114" y="144"/>
                    </a:lnTo>
                    <a:lnTo>
                      <a:pt x="126" y="144"/>
                    </a:lnTo>
                    <a:lnTo>
                      <a:pt x="126" y="132"/>
                    </a:lnTo>
                    <a:lnTo>
                      <a:pt x="144" y="156"/>
                    </a:lnTo>
                    <a:lnTo>
                      <a:pt x="162" y="156"/>
                    </a:lnTo>
                    <a:lnTo>
                      <a:pt x="168" y="174"/>
                    </a:lnTo>
                    <a:lnTo>
                      <a:pt x="192" y="174"/>
                    </a:lnTo>
                    <a:lnTo>
                      <a:pt x="198" y="186"/>
                    </a:lnTo>
                    <a:lnTo>
                      <a:pt x="204" y="186"/>
                    </a:lnTo>
                    <a:lnTo>
                      <a:pt x="216" y="180"/>
                    </a:lnTo>
                    <a:lnTo>
                      <a:pt x="228" y="180"/>
                    </a:lnTo>
                    <a:lnTo>
                      <a:pt x="228" y="192"/>
                    </a:lnTo>
                    <a:lnTo>
                      <a:pt x="216" y="204"/>
                    </a:lnTo>
                    <a:lnTo>
                      <a:pt x="204" y="210"/>
                    </a:lnTo>
                    <a:lnTo>
                      <a:pt x="192" y="210"/>
                    </a:lnTo>
                    <a:lnTo>
                      <a:pt x="192" y="216"/>
                    </a:lnTo>
                    <a:lnTo>
                      <a:pt x="174" y="222"/>
                    </a:lnTo>
                    <a:lnTo>
                      <a:pt x="156" y="240"/>
                    </a:lnTo>
                    <a:lnTo>
                      <a:pt x="150" y="240"/>
                    </a:lnTo>
                    <a:lnTo>
                      <a:pt x="144" y="234"/>
                    </a:lnTo>
                    <a:lnTo>
                      <a:pt x="138" y="234"/>
                    </a:lnTo>
                    <a:lnTo>
                      <a:pt x="132" y="228"/>
                    </a:lnTo>
                    <a:lnTo>
                      <a:pt x="114" y="228"/>
                    </a:lnTo>
                    <a:lnTo>
                      <a:pt x="102" y="234"/>
                    </a:lnTo>
                    <a:lnTo>
                      <a:pt x="96" y="234"/>
                    </a:lnTo>
                    <a:lnTo>
                      <a:pt x="96" y="246"/>
                    </a:lnTo>
                    <a:lnTo>
                      <a:pt x="90" y="252"/>
                    </a:lnTo>
                    <a:lnTo>
                      <a:pt x="84" y="252"/>
                    </a:lnTo>
                    <a:lnTo>
                      <a:pt x="72" y="246"/>
                    </a:lnTo>
                    <a:lnTo>
                      <a:pt x="36" y="234"/>
                    </a:lnTo>
                    <a:lnTo>
                      <a:pt x="24" y="234"/>
                    </a:lnTo>
                    <a:lnTo>
                      <a:pt x="18" y="240"/>
                    </a:lnTo>
                    <a:lnTo>
                      <a:pt x="18" y="252"/>
                    </a:lnTo>
                    <a:lnTo>
                      <a:pt x="12" y="258"/>
                    </a:lnTo>
                    <a:lnTo>
                      <a:pt x="0" y="264"/>
                    </a:lnTo>
                    <a:lnTo>
                      <a:pt x="0" y="276"/>
                    </a:lnTo>
                    <a:lnTo>
                      <a:pt x="6" y="282"/>
                    </a:lnTo>
                    <a:lnTo>
                      <a:pt x="6" y="288"/>
                    </a:lnTo>
                    <a:lnTo>
                      <a:pt x="12" y="294"/>
                    </a:lnTo>
                    <a:lnTo>
                      <a:pt x="24" y="288"/>
                    </a:lnTo>
                    <a:lnTo>
                      <a:pt x="36" y="288"/>
                    </a:lnTo>
                    <a:lnTo>
                      <a:pt x="42" y="282"/>
                    </a:lnTo>
                    <a:lnTo>
                      <a:pt x="60" y="282"/>
                    </a:lnTo>
                    <a:lnTo>
                      <a:pt x="72" y="288"/>
                    </a:lnTo>
                    <a:lnTo>
                      <a:pt x="96" y="288"/>
                    </a:lnTo>
                    <a:lnTo>
                      <a:pt x="108" y="300"/>
                    </a:lnTo>
                    <a:lnTo>
                      <a:pt x="126" y="300"/>
                    </a:lnTo>
                    <a:lnTo>
                      <a:pt x="132" y="294"/>
                    </a:lnTo>
                    <a:lnTo>
                      <a:pt x="144" y="288"/>
                    </a:lnTo>
                    <a:lnTo>
                      <a:pt x="150" y="282"/>
                    </a:lnTo>
                    <a:lnTo>
                      <a:pt x="180" y="312"/>
                    </a:lnTo>
                    <a:lnTo>
                      <a:pt x="192" y="306"/>
                    </a:lnTo>
                    <a:lnTo>
                      <a:pt x="198" y="306"/>
                    </a:lnTo>
                    <a:lnTo>
                      <a:pt x="198" y="312"/>
                    </a:lnTo>
                    <a:lnTo>
                      <a:pt x="210" y="312"/>
                    </a:lnTo>
                    <a:lnTo>
                      <a:pt x="222" y="306"/>
                    </a:lnTo>
                    <a:lnTo>
                      <a:pt x="228" y="300"/>
                    </a:lnTo>
                    <a:lnTo>
                      <a:pt x="270" y="300"/>
                    </a:lnTo>
                    <a:lnTo>
                      <a:pt x="282" y="288"/>
                    </a:lnTo>
                    <a:lnTo>
                      <a:pt x="300" y="294"/>
                    </a:lnTo>
                    <a:lnTo>
                      <a:pt x="318" y="294"/>
                    </a:lnTo>
                    <a:lnTo>
                      <a:pt x="318" y="282"/>
                    </a:lnTo>
                    <a:lnTo>
                      <a:pt x="312" y="270"/>
                    </a:lnTo>
                    <a:lnTo>
                      <a:pt x="300" y="264"/>
                    </a:lnTo>
                    <a:lnTo>
                      <a:pt x="300" y="258"/>
                    </a:lnTo>
                    <a:lnTo>
                      <a:pt x="306" y="252"/>
                    </a:lnTo>
                    <a:lnTo>
                      <a:pt x="318" y="246"/>
                    </a:lnTo>
                    <a:lnTo>
                      <a:pt x="330" y="246"/>
                    </a:lnTo>
                    <a:lnTo>
                      <a:pt x="336" y="240"/>
                    </a:lnTo>
                    <a:lnTo>
                      <a:pt x="348" y="234"/>
                    </a:lnTo>
                    <a:lnTo>
                      <a:pt x="348" y="216"/>
                    </a:lnTo>
                    <a:lnTo>
                      <a:pt x="372" y="216"/>
                    </a:lnTo>
                    <a:lnTo>
                      <a:pt x="384" y="204"/>
                    </a:lnTo>
                    <a:lnTo>
                      <a:pt x="396" y="204"/>
                    </a:lnTo>
                    <a:lnTo>
                      <a:pt x="402" y="210"/>
                    </a:lnTo>
                    <a:lnTo>
                      <a:pt x="408" y="222"/>
                    </a:lnTo>
                    <a:lnTo>
                      <a:pt x="414" y="228"/>
                    </a:lnTo>
                    <a:lnTo>
                      <a:pt x="426" y="222"/>
                    </a:lnTo>
                    <a:lnTo>
                      <a:pt x="456" y="228"/>
                    </a:lnTo>
                    <a:lnTo>
                      <a:pt x="462" y="222"/>
                    </a:lnTo>
                    <a:lnTo>
                      <a:pt x="462" y="198"/>
                    </a:lnTo>
                    <a:lnTo>
                      <a:pt x="468" y="186"/>
                    </a:lnTo>
                    <a:lnTo>
                      <a:pt x="486" y="168"/>
                    </a:lnTo>
                    <a:lnTo>
                      <a:pt x="516" y="168"/>
                    </a:lnTo>
                    <a:lnTo>
                      <a:pt x="534" y="174"/>
                    </a:lnTo>
                    <a:lnTo>
                      <a:pt x="552" y="174"/>
                    </a:lnTo>
                    <a:lnTo>
                      <a:pt x="558" y="168"/>
                    </a:lnTo>
                    <a:lnTo>
                      <a:pt x="564" y="156"/>
                    </a:lnTo>
                    <a:lnTo>
                      <a:pt x="564" y="138"/>
                    </a:lnTo>
                    <a:lnTo>
                      <a:pt x="570" y="132"/>
                    </a:lnTo>
                    <a:lnTo>
                      <a:pt x="582" y="126"/>
                    </a:lnTo>
                    <a:lnTo>
                      <a:pt x="594" y="114"/>
                    </a:lnTo>
                    <a:lnTo>
                      <a:pt x="642" y="96"/>
                    </a:lnTo>
                    <a:lnTo>
                      <a:pt x="666" y="96"/>
                    </a:lnTo>
                    <a:lnTo>
                      <a:pt x="672" y="90"/>
                    </a:lnTo>
                    <a:lnTo>
                      <a:pt x="672" y="78"/>
                    </a:lnTo>
                    <a:lnTo>
                      <a:pt x="660" y="66"/>
                    </a:lnTo>
                    <a:lnTo>
                      <a:pt x="642" y="60"/>
                    </a:lnTo>
                    <a:lnTo>
                      <a:pt x="600" y="60"/>
                    </a:lnTo>
                    <a:lnTo>
                      <a:pt x="576" y="30"/>
                    </a:lnTo>
                    <a:lnTo>
                      <a:pt x="558" y="30"/>
                    </a:lnTo>
                    <a:lnTo>
                      <a:pt x="546" y="18"/>
                    </a:lnTo>
                    <a:lnTo>
                      <a:pt x="498" y="24"/>
                    </a:lnTo>
                    <a:lnTo>
                      <a:pt x="486" y="24"/>
                    </a:lnTo>
                    <a:lnTo>
                      <a:pt x="474" y="18"/>
                    </a:lnTo>
                    <a:lnTo>
                      <a:pt x="354" y="18"/>
                    </a:lnTo>
                    <a:lnTo>
                      <a:pt x="336" y="24"/>
                    </a:lnTo>
                    <a:lnTo>
                      <a:pt x="318" y="24"/>
                    </a:lnTo>
                    <a:lnTo>
                      <a:pt x="306" y="18"/>
                    </a:lnTo>
                    <a:lnTo>
                      <a:pt x="282" y="18"/>
                    </a:lnTo>
                    <a:lnTo>
                      <a:pt x="276" y="6"/>
                    </a:lnTo>
                    <a:lnTo>
                      <a:pt x="264" y="0"/>
                    </a:lnTo>
                    <a:lnTo>
                      <a:pt x="222" y="0"/>
                    </a:lnTo>
                    <a:lnTo>
                      <a:pt x="216" y="6"/>
                    </a:lnTo>
                    <a:lnTo>
                      <a:pt x="216" y="36"/>
                    </a:lnTo>
                    <a:lnTo>
                      <a:pt x="222" y="48"/>
                    </a:lnTo>
                    <a:lnTo>
                      <a:pt x="222" y="60"/>
                    </a:lnTo>
                    <a:lnTo>
                      <a:pt x="204" y="54"/>
                    </a:lnTo>
                    <a:lnTo>
                      <a:pt x="174" y="54"/>
                    </a:lnTo>
                    <a:lnTo>
                      <a:pt x="138" y="36"/>
                    </a:lnTo>
                    <a:lnTo>
                      <a:pt x="120" y="30"/>
                    </a:lnTo>
                    <a:lnTo>
                      <a:pt x="108" y="24"/>
                    </a:lnTo>
                    <a:lnTo>
                      <a:pt x="78" y="24"/>
                    </a:lnTo>
                    <a:lnTo>
                      <a:pt x="60" y="42"/>
                    </a:lnTo>
                    <a:lnTo>
                      <a:pt x="54" y="54"/>
                    </a:lnTo>
                    <a:lnTo>
                      <a:pt x="54" y="72"/>
                    </a:lnTo>
                    <a:lnTo>
                      <a:pt x="72" y="72"/>
                    </a:lnTo>
                    <a:lnTo>
                      <a:pt x="78" y="78"/>
                    </a:lnTo>
                    <a:lnTo>
                      <a:pt x="84" y="78"/>
                    </a:lnTo>
                    <a:lnTo>
                      <a:pt x="84" y="84"/>
                    </a:lnTo>
                    <a:lnTo>
                      <a:pt x="36" y="132"/>
                    </a:lnTo>
                    <a:close/>
                  </a:path>
                </a:pathLst>
              </a:custGeom>
              <a:solidFill>
                <a:srgbClr val="9D90A0">
                  <a:lumMod val="40000"/>
                  <a:lumOff val="60000"/>
                </a:srgbClr>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88" name="Kazakhstan" descr="© INSCALE GmbH, 05.05.2010&#10;http://www.presentationload.com/">
                <a:extLst>
                  <a:ext uri="{FF2B5EF4-FFF2-40B4-BE49-F238E27FC236}">
                    <a16:creationId xmlns:a16="http://schemas.microsoft.com/office/drawing/2014/main" id="{E841706E-2EB2-4A84-A9A5-4B91A147E93F}"/>
                  </a:ext>
                </a:extLst>
              </p:cNvPr>
              <p:cNvSpPr>
                <a:spLocks noEditPoints="1"/>
              </p:cNvSpPr>
              <p:nvPr/>
            </p:nvSpPr>
            <p:spPr bwMode="gray">
              <a:xfrm>
                <a:off x="5400235" y="2606481"/>
                <a:ext cx="993663" cy="512879"/>
              </a:xfrm>
              <a:custGeom>
                <a:avLst/>
                <a:gdLst>
                  <a:gd name="T0" fmla="*/ 2147483647 w 2514"/>
                  <a:gd name="T1" fmla="*/ 2147483647 h 1164"/>
                  <a:gd name="T2" fmla="*/ 2147483647 w 2514"/>
                  <a:gd name="T3" fmla="*/ 2147483647 h 1164"/>
                  <a:gd name="T4" fmla="*/ 2147483647 w 2514"/>
                  <a:gd name="T5" fmla="*/ 2147483647 h 1164"/>
                  <a:gd name="T6" fmla="*/ 2147483647 w 2514"/>
                  <a:gd name="T7" fmla="*/ 2147483647 h 1164"/>
                  <a:gd name="T8" fmla="*/ 2147483647 w 2514"/>
                  <a:gd name="T9" fmla="*/ 2147483647 h 1164"/>
                  <a:gd name="T10" fmla="*/ 2147483647 w 2514"/>
                  <a:gd name="T11" fmla="*/ 2147483647 h 1164"/>
                  <a:gd name="T12" fmla="*/ 2147483647 w 2514"/>
                  <a:gd name="T13" fmla="*/ 2147483647 h 1164"/>
                  <a:gd name="T14" fmla="*/ 2147483647 w 2514"/>
                  <a:gd name="T15" fmla="*/ 2147483647 h 1164"/>
                  <a:gd name="T16" fmla="*/ 2147483647 w 2514"/>
                  <a:gd name="T17" fmla="*/ 2147483647 h 1164"/>
                  <a:gd name="T18" fmla="*/ 2147483647 w 2514"/>
                  <a:gd name="T19" fmla="*/ 2147483647 h 1164"/>
                  <a:gd name="T20" fmla="*/ 2147483647 w 2514"/>
                  <a:gd name="T21" fmla="*/ 2147483647 h 1164"/>
                  <a:gd name="T22" fmla="*/ 2147483647 w 2514"/>
                  <a:gd name="T23" fmla="*/ 2147483647 h 1164"/>
                  <a:gd name="T24" fmla="*/ 2147483647 w 2514"/>
                  <a:gd name="T25" fmla="*/ 2147483647 h 1164"/>
                  <a:gd name="T26" fmla="*/ 2147483647 w 2514"/>
                  <a:gd name="T27" fmla="*/ 2147483647 h 1164"/>
                  <a:gd name="T28" fmla="*/ 2147483647 w 2514"/>
                  <a:gd name="T29" fmla="*/ 2147483647 h 1164"/>
                  <a:gd name="T30" fmla="*/ 2147483647 w 2514"/>
                  <a:gd name="T31" fmla="*/ 2147483647 h 1164"/>
                  <a:gd name="T32" fmla="*/ 2147483647 w 2514"/>
                  <a:gd name="T33" fmla="*/ 2147483647 h 1164"/>
                  <a:gd name="T34" fmla="*/ 2147483647 w 2514"/>
                  <a:gd name="T35" fmla="*/ 2147483647 h 1164"/>
                  <a:gd name="T36" fmla="*/ 2147483647 w 2514"/>
                  <a:gd name="T37" fmla="*/ 2147483647 h 1164"/>
                  <a:gd name="T38" fmla="*/ 2147483647 w 2514"/>
                  <a:gd name="T39" fmla="*/ 2147483647 h 1164"/>
                  <a:gd name="T40" fmla="*/ 2147483647 w 2514"/>
                  <a:gd name="T41" fmla="*/ 2147483647 h 1164"/>
                  <a:gd name="T42" fmla="*/ 2147483647 w 2514"/>
                  <a:gd name="T43" fmla="*/ 2147483647 h 1164"/>
                  <a:gd name="T44" fmla="*/ 2147483647 w 2514"/>
                  <a:gd name="T45" fmla="*/ 2147483647 h 1164"/>
                  <a:gd name="T46" fmla="*/ 2147483647 w 2514"/>
                  <a:gd name="T47" fmla="*/ 2147483647 h 1164"/>
                  <a:gd name="T48" fmla="*/ 2147483647 w 2514"/>
                  <a:gd name="T49" fmla="*/ 2147483647 h 1164"/>
                  <a:gd name="T50" fmla="*/ 2147483647 w 2514"/>
                  <a:gd name="T51" fmla="*/ 2147483647 h 1164"/>
                  <a:gd name="T52" fmla="*/ 2147483647 w 2514"/>
                  <a:gd name="T53" fmla="*/ 2147483647 h 1164"/>
                  <a:gd name="T54" fmla="*/ 2147483647 w 2514"/>
                  <a:gd name="T55" fmla="*/ 2147483647 h 1164"/>
                  <a:gd name="T56" fmla="*/ 2147483647 w 2514"/>
                  <a:gd name="T57" fmla="*/ 2147483647 h 1164"/>
                  <a:gd name="T58" fmla="*/ 2147483647 w 2514"/>
                  <a:gd name="T59" fmla="*/ 2147483647 h 1164"/>
                  <a:gd name="T60" fmla="*/ 2147483647 w 2514"/>
                  <a:gd name="T61" fmla="*/ 2147483647 h 1164"/>
                  <a:gd name="T62" fmla="*/ 2147483647 w 2514"/>
                  <a:gd name="T63" fmla="*/ 2147483647 h 1164"/>
                  <a:gd name="T64" fmla="*/ 2147483647 w 2514"/>
                  <a:gd name="T65" fmla="*/ 2147483647 h 1164"/>
                  <a:gd name="T66" fmla="*/ 2147483647 w 2514"/>
                  <a:gd name="T67" fmla="*/ 2147483647 h 1164"/>
                  <a:gd name="T68" fmla="*/ 2147483647 w 2514"/>
                  <a:gd name="T69" fmla="*/ 2147483647 h 1164"/>
                  <a:gd name="T70" fmla="*/ 2147483647 w 2514"/>
                  <a:gd name="T71" fmla="*/ 2147483647 h 1164"/>
                  <a:gd name="T72" fmla="*/ 2147483647 w 2514"/>
                  <a:gd name="T73" fmla="*/ 2147483647 h 1164"/>
                  <a:gd name="T74" fmla="*/ 2147483647 w 2514"/>
                  <a:gd name="T75" fmla="*/ 2147483647 h 1164"/>
                  <a:gd name="T76" fmla="*/ 2147483647 w 2514"/>
                  <a:gd name="T77" fmla="*/ 2147483647 h 1164"/>
                  <a:gd name="T78" fmla="*/ 2147483647 w 2514"/>
                  <a:gd name="T79" fmla="*/ 2147483647 h 1164"/>
                  <a:gd name="T80" fmla="*/ 2147483647 w 2514"/>
                  <a:gd name="T81" fmla="*/ 2147483647 h 1164"/>
                  <a:gd name="T82" fmla="*/ 2147483647 w 2514"/>
                  <a:gd name="T83" fmla="*/ 2147483647 h 1164"/>
                  <a:gd name="T84" fmla="*/ 2147483647 w 2514"/>
                  <a:gd name="T85" fmla="*/ 2147483647 h 1164"/>
                  <a:gd name="T86" fmla="*/ 2147483647 w 2514"/>
                  <a:gd name="T87" fmla="*/ 2147483647 h 1164"/>
                  <a:gd name="T88" fmla="*/ 2147483647 w 2514"/>
                  <a:gd name="T89" fmla="*/ 2147483647 h 1164"/>
                  <a:gd name="T90" fmla="*/ 2147483647 w 2514"/>
                  <a:gd name="T91" fmla="*/ 2147483647 h 1164"/>
                  <a:gd name="T92" fmla="*/ 2147483647 w 2514"/>
                  <a:gd name="T93" fmla="*/ 2147483647 h 1164"/>
                  <a:gd name="T94" fmla="*/ 2147483647 w 2514"/>
                  <a:gd name="T95" fmla="*/ 2147483647 h 1164"/>
                  <a:gd name="T96" fmla="*/ 2147483647 w 2514"/>
                  <a:gd name="T97" fmla="*/ 2147483647 h 1164"/>
                  <a:gd name="T98" fmla="*/ 2147483647 w 2514"/>
                  <a:gd name="T99" fmla="*/ 2147483647 h 1164"/>
                  <a:gd name="T100" fmla="*/ 2147483647 w 2514"/>
                  <a:gd name="T101" fmla="*/ 2147483647 h 1164"/>
                  <a:gd name="T102" fmla="*/ 2147483647 w 2514"/>
                  <a:gd name="T103" fmla="*/ 2147483647 h 1164"/>
                  <a:gd name="T104" fmla="*/ 2147483647 w 2514"/>
                  <a:gd name="T105" fmla="*/ 2147483647 h 1164"/>
                  <a:gd name="T106" fmla="*/ 2147483647 w 2514"/>
                  <a:gd name="T107" fmla="*/ 2147483647 h 1164"/>
                  <a:gd name="T108" fmla="*/ 2147483647 w 2514"/>
                  <a:gd name="T109" fmla="*/ 2147483647 h 1164"/>
                  <a:gd name="T110" fmla="*/ 2147483647 w 2514"/>
                  <a:gd name="T111" fmla="*/ 2147483647 h 1164"/>
                  <a:gd name="T112" fmla="*/ 2147483647 w 2514"/>
                  <a:gd name="T113" fmla="*/ 2147483647 h 1164"/>
                  <a:gd name="T114" fmla="*/ 2147483647 w 2514"/>
                  <a:gd name="T115" fmla="*/ 2147483647 h 1164"/>
                  <a:gd name="T116" fmla="*/ 2147483647 w 2514"/>
                  <a:gd name="T117" fmla="*/ 2147483647 h 1164"/>
                  <a:gd name="T118" fmla="*/ 2147483647 w 2514"/>
                  <a:gd name="T119" fmla="*/ 2147483647 h 1164"/>
                  <a:gd name="T120" fmla="*/ 2147483647 w 2514"/>
                  <a:gd name="T121" fmla="*/ 2147483647 h 1164"/>
                  <a:gd name="T122" fmla="*/ 2147483647 w 2514"/>
                  <a:gd name="T123" fmla="*/ 2147483647 h 116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514"/>
                  <a:gd name="T187" fmla="*/ 0 h 1164"/>
                  <a:gd name="T188" fmla="*/ 2514 w 2514"/>
                  <a:gd name="T189" fmla="*/ 1164 h 116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514" h="1164">
                    <a:moveTo>
                      <a:pt x="852" y="756"/>
                    </a:moveTo>
                    <a:lnTo>
                      <a:pt x="840" y="744"/>
                    </a:lnTo>
                    <a:lnTo>
                      <a:pt x="822" y="768"/>
                    </a:lnTo>
                    <a:lnTo>
                      <a:pt x="816" y="780"/>
                    </a:lnTo>
                    <a:lnTo>
                      <a:pt x="870" y="804"/>
                    </a:lnTo>
                    <a:lnTo>
                      <a:pt x="870" y="786"/>
                    </a:lnTo>
                    <a:lnTo>
                      <a:pt x="864" y="780"/>
                    </a:lnTo>
                    <a:lnTo>
                      <a:pt x="858" y="768"/>
                    </a:lnTo>
                    <a:lnTo>
                      <a:pt x="858" y="762"/>
                    </a:lnTo>
                    <a:lnTo>
                      <a:pt x="852" y="756"/>
                    </a:lnTo>
                    <a:close/>
                    <a:moveTo>
                      <a:pt x="2484" y="492"/>
                    </a:moveTo>
                    <a:lnTo>
                      <a:pt x="2484" y="486"/>
                    </a:lnTo>
                    <a:lnTo>
                      <a:pt x="2514" y="486"/>
                    </a:lnTo>
                    <a:lnTo>
                      <a:pt x="2478" y="444"/>
                    </a:lnTo>
                    <a:lnTo>
                      <a:pt x="2454" y="420"/>
                    </a:lnTo>
                    <a:lnTo>
                      <a:pt x="2442" y="456"/>
                    </a:lnTo>
                    <a:lnTo>
                      <a:pt x="2370" y="450"/>
                    </a:lnTo>
                    <a:lnTo>
                      <a:pt x="2370" y="444"/>
                    </a:lnTo>
                    <a:lnTo>
                      <a:pt x="2364" y="438"/>
                    </a:lnTo>
                    <a:lnTo>
                      <a:pt x="2358" y="426"/>
                    </a:lnTo>
                    <a:lnTo>
                      <a:pt x="2352" y="420"/>
                    </a:lnTo>
                    <a:lnTo>
                      <a:pt x="2346" y="408"/>
                    </a:lnTo>
                    <a:lnTo>
                      <a:pt x="2346" y="402"/>
                    </a:lnTo>
                    <a:lnTo>
                      <a:pt x="2340" y="402"/>
                    </a:lnTo>
                    <a:lnTo>
                      <a:pt x="2328" y="396"/>
                    </a:lnTo>
                    <a:lnTo>
                      <a:pt x="2316" y="396"/>
                    </a:lnTo>
                    <a:lnTo>
                      <a:pt x="2304" y="390"/>
                    </a:lnTo>
                    <a:lnTo>
                      <a:pt x="2292" y="390"/>
                    </a:lnTo>
                    <a:lnTo>
                      <a:pt x="2286" y="378"/>
                    </a:lnTo>
                    <a:lnTo>
                      <a:pt x="2274" y="372"/>
                    </a:lnTo>
                    <a:lnTo>
                      <a:pt x="2250" y="348"/>
                    </a:lnTo>
                    <a:lnTo>
                      <a:pt x="2226" y="336"/>
                    </a:lnTo>
                    <a:lnTo>
                      <a:pt x="2208" y="336"/>
                    </a:lnTo>
                    <a:lnTo>
                      <a:pt x="2196" y="342"/>
                    </a:lnTo>
                    <a:lnTo>
                      <a:pt x="2178" y="348"/>
                    </a:lnTo>
                    <a:lnTo>
                      <a:pt x="2166" y="354"/>
                    </a:lnTo>
                    <a:lnTo>
                      <a:pt x="2160" y="366"/>
                    </a:lnTo>
                    <a:lnTo>
                      <a:pt x="2136" y="366"/>
                    </a:lnTo>
                    <a:lnTo>
                      <a:pt x="2124" y="360"/>
                    </a:lnTo>
                    <a:lnTo>
                      <a:pt x="2118" y="348"/>
                    </a:lnTo>
                    <a:lnTo>
                      <a:pt x="2106" y="342"/>
                    </a:lnTo>
                    <a:lnTo>
                      <a:pt x="2076" y="342"/>
                    </a:lnTo>
                    <a:lnTo>
                      <a:pt x="2076" y="336"/>
                    </a:lnTo>
                    <a:lnTo>
                      <a:pt x="2070" y="330"/>
                    </a:lnTo>
                    <a:lnTo>
                      <a:pt x="2070" y="318"/>
                    </a:lnTo>
                    <a:lnTo>
                      <a:pt x="2064" y="312"/>
                    </a:lnTo>
                    <a:lnTo>
                      <a:pt x="2052" y="312"/>
                    </a:lnTo>
                    <a:lnTo>
                      <a:pt x="2052" y="318"/>
                    </a:lnTo>
                    <a:lnTo>
                      <a:pt x="2046" y="324"/>
                    </a:lnTo>
                    <a:lnTo>
                      <a:pt x="2046" y="336"/>
                    </a:lnTo>
                    <a:lnTo>
                      <a:pt x="2034" y="348"/>
                    </a:lnTo>
                    <a:lnTo>
                      <a:pt x="2022" y="354"/>
                    </a:lnTo>
                    <a:lnTo>
                      <a:pt x="2010" y="354"/>
                    </a:lnTo>
                    <a:lnTo>
                      <a:pt x="1998" y="348"/>
                    </a:lnTo>
                    <a:lnTo>
                      <a:pt x="1986" y="336"/>
                    </a:lnTo>
                    <a:lnTo>
                      <a:pt x="1974" y="318"/>
                    </a:lnTo>
                    <a:lnTo>
                      <a:pt x="1938" y="282"/>
                    </a:lnTo>
                    <a:lnTo>
                      <a:pt x="1920" y="258"/>
                    </a:lnTo>
                    <a:lnTo>
                      <a:pt x="1848" y="198"/>
                    </a:lnTo>
                    <a:lnTo>
                      <a:pt x="1818" y="168"/>
                    </a:lnTo>
                    <a:lnTo>
                      <a:pt x="1800" y="156"/>
                    </a:lnTo>
                    <a:lnTo>
                      <a:pt x="1788" y="150"/>
                    </a:lnTo>
                    <a:lnTo>
                      <a:pt x="1758" y="132"/>
                    </a:lnTo>
                    <a:lnTo>
                      <a:pt x="1728" y="120"/>
                    </a:lnTo>
                    <a:lnTo>
                      <a:pt x="1692" y="102"/>
                    </a:lnTo>
                    <a:lnTo>
                      <a:pt x="1698" y="102"/>
                    </a:lnTo>
                    <a:lnTo>
                      <a:pt x="1710" y="90"/>
                    </a:lnTo>
                    <a:lnTo>
                      <a:pt x="1710" y="72"/>
                    </a:lnTo>
                    <a:lnTo>
                      <a:pt x="1704" y="66"/>
                    </a:lnTo>
                    <a:lnTo>
                      <a:pt x="1698" y="66"/>
                    </a:lnTo>
                    <a:lnTo>
                      <a:pt x="1680" y="84"/>
                    </a:lnTo>
                    <a:lnTo>
                      <a:pt x="1644" y="96"/>
                    </a:lnTo>
                    <a:lnTo>
                      <a:pt x="1632" y="114"/>
                    </a:lnTo>
                    <a:lnTo>
                      <a:pt x="1620" y="114"/>
                    </a:lnTo>
                    <a:lnTo>
                      <a:pt x="1608" y="120"/>
                    </a:lnTo>
                    <a:lnTo>
                      <a:pt x="1602" y="126"/>
                    </a:lnTo>
                    <a:lnTo>
                      <a:pt x="1602" y="144"/>
                    </a:lnTo>
                    <a:lnTo>
                      <a:pt x="1590" y="156"/>
                    </a:lnTo>
                    <a:lnTo>
                      <a:pt x="1578" y="150"/>
                    </a:lnTo>
                    <a:lnTo>
                      <a:pt x="1572" y="144"/>
                    </a:lnTo>
                    <a:lnTo>
                      <a:pt x="1560" y="138"/>
                    </a:lnTo>
                    <a:lnTo>
                      <a:pt x="1554" y="132"/>
                    </a:lnTo>
                    <a:lnTo>
                      <a:pt x="1548" y="132"/>
                    </a:lnTo>
                    <a:lnTo>
                      <a:pt x="1542" y="138"/>
                    </a:lnTo>
                    <a:lnTo>
                      <a:pt x="1536" y="138"/>
                    </a:lnTo>
                    <a:lnTo>
                      <a:pt x="1530" y="144"/>
                    </a:lnTo>
                    <a:lnTo>
                      <a:pt x="1524" y="144"/>
                    </a:lnTo>
                    <a:lnTo>
                      <a:pt x="1524" y="138"/>
                    </a:lnTo>
                    <a:lnTo>
                      <a:pt x="1530" y="132"/>
                    </a:lnTo>
                    <a:lnTo>
                      <a:pt x="1530" y="108"/>
                    </a:lnTo>
                    <a:lnTo>
                      <a:pt x="1518" y="102"/>
                    </a:lnTo>
                    <a:lnTo>
                      <a:pt x="1512" y="102"/>
                    </a:lnTo>
                    <a:lnTo>
                      <a:pt x="1506" y="108"/>
                    </a:lnTo>
                    <a:lnTo>
                      <a:pt x="1482" y="96"/>
                    </a:lnTo>
                    <a:lnTo>
                      <a:pt x="1458" y="108"/>
                    </a:lnTo>
                    <a:lnTo>
                      <a:pt x="1434" y="72"/>
                    </a:lnTo>
                    <a:lnTo>
                      <a:pt x="1422" y="90"/>
                    </a:lnTo>
                    <a:lnTo>
                      <a:pt x="1404" y="90"/>
                    </a:lnTo>
                    <a:lnTo>
                      <a:pt x="1392" y="96"/>
                    </a:lnTo>
                    <a:lnTo>
                      <a:pt x="1374" y="96"/>
                    </a:lnTo>
                    <a:lnTo>
                      <a:pt x="1368" y="90"/>
                    </a:lnTo>
                    <a:lnTo>
                      <a:pt x="1368" y="48"/>
                    </a:lnTo>
                    <a:lnTo>
                      <a:pt x="1362" y="42"/>
                    </a:lnTo>
                    <a:lnTo>
                      <a:pt x="1350" y="42"/>
                    </a:lnTo>
                    <a:lnTo>
                      <a:pt x="1344" y="36"/>
                    </a:lnTo>
                    <a:lnTo>
                      <a:pt x="1338" y="24"/>
                    </a:lnTo>
                    <a:lnTo>
                      <a:pt x="1320" y="6"/>
                    </a:lnTo>
                    <a:lnTo>
                      <a:pt x="1314" y="6"/>
                    </a:lnTo>
                    <a:lnTo>
                      <a:pt x="1302" y="18"/>
                    </a:lnTo>
                    <a:lnTo>
                      <a:pt x="1290" y="18"/>
                    </a:lnTo>
                    <a:lnTo>
                      <a:pt x="1278" y="6"/>
                    </a:lnTo>
                    <a:lnTo>
                      <a:pt x="1260" y="6"/>
                    </a:lnTo>
                    <a:lnTo>
                      <a:pt x="1242" y="0"/>
                    </a:lnTo>
                    <a:lnTo>
                      <a:pt x="1218" y="0"/>
                    </a:lnTo>
                    <a:lnTo>
                      <a:pt x="1200" y="6"/>
                    </a:lnTo>
                    <a:lnTo>
                      <a:pt x="1188" y="12"/>
                    </a:lnTo>
                    <a:lnTo>
                      <a:pt x="1176" y="24"/>
                    </a:lnTo>
                    <a:lnTo>
                      <a:pt x="1176" y="36"/>
                    </a:lnTo>
                    <a:lnTo>
                      <a:pt x="1164" y="36"/>
                    </a:lnTo>
                    <a:lnTo>
                      <a:pt x="1110" y="54"/>
                    </a:lnTo>
                    <a:lnTo>
                      <a:pt x="1020" y="54"/>
                    </a:lnTo>
                    <a:lnTo>
                      <a:pt x="1014" y="60"/>
                    </a:lnTo>
                    <a:lnTo>
                      <a:pt x="1014" y="78"/>
                    </a:lnTo>
                    <a:lnTo>
                      <a:pt x="948" y="78"/>
                    </a:lnTo>
                    <a:lnTo>
                      <a:pt x="942" y="96"/>
                    </a:lnTo>
                    <a:lnTo>
                      <a:pt x="888" y="96"/>
                    </a:lnTo>
                    <a:lnTo>
                      <a:pt x="828" y="102"/>
                    </a:lnTo>
                    <a:lnTo>
                      <a:pt x="792" y="114"/>
                    </a:lnTo>
                    <a:lnTo>
                      <a:pt x="780" y="126"/>
                    </a:lnTo>
                    <a:lnTo>
                      <a:pt x="780" y="132"/>
                    </a:lnTo>
                    <a:lnTo>
                      <a:pt x="786" y="138"/>
                    </a:lnTo>
                    <a:lnTo>
                      <a:pt x="786" y="144"/>
                    </a:lnTo>
                    <a:lnTo>
                      <a:pt x="810" y="144"/>
                    </a:lnTo>
                    <a:lnTo>
                      <a:pt x="798" y="162"/>
                    </a:lnTo>
                    <a:lnTo>
                      <a:pt x="810" y="162"/>
                    </a:lnTo>
                    <a:lnTo>
                      <a:pt x="834" y="174"/>
                    </a:lnTo>
                    <a:lnTo>
                      <a:pt x="846" y="174"/>
                    </a:lnTo>
                    <a:lnTo>
                      <a:pt x="858" y="186"/>
                    </a:lnTo>
                    <a:lnTo>
                      <a:pt x="804" y="186"/>
                    </a:lnTo>
                    <a:lnTo>
                      <a:pt x="792" y="198"/>
                    </a:lnTo>
                    <a:lnTo>
                      <a:pt x="798" y="204"/>
                    </a:lnTo>
                    <a:lnTo>
                      <a:pt x="804" y="216"/>
                    </a:lnTo>
                    <a:lnTo>
                      <a:pt x="810" y="222"/>
                    </a:lnTo>
                    <a:lnTo>
                      <a:pt x="810" y="234"/>
                    </a:lnTo>
                    <a:lnTo>
                      <a:pt x="798" y="246"/>
                    </a:lnTo>
                    <a:lnTo>
                      <a:pt x="786" y="246"/>
                    </a:lnTo>
                    <a:lnTo>
                      <a:pt x="774" y="252"/>
                    </a:lnTo>
                    <a:lnTo>
                      <a:pt x="762" y="252"/>
                    </a:lnTo>
                    <a:lnTo>
                      <a:pt x="792" y="282"/>
                    </a:lnTo>
                    <a:lnTo>
                      <a:pt x="816" y="282"/>
                    </a:lnTo>
                    <a:lnTo>
                      <a:pt x="834" y="288"/>
                    </a:lnTo>
                    <a:lnTo>
                      <a:pt x="846" y="294"/>
                    </a:lnTo>
                    <a:lnTo>
                      <a:pt x="870" y="318"/>
                    </a:lnTo>
                    <a:lnTo>
                      <a:pt x="876" y="336"/>
                    </a:lnTo>
                    <a:lnTo>
                      <a:pt x="876" y="348"/>
                    </a:lnTo>
                    <a:lnTo>
                      <a:pt x="870" y="360"/>
                    </a:lnTo>
                    <a:lnTo>
                      <a:pt x="864" y="366"/>
                    </a:lnTo>
                    <a:lnTo>
                      <a:pt x="828" y="366"/>
                    </a:lnTo>
                    <a:lnTo>
                      <a:pt x="816" y="360"/>
                    </a:lnTo>
                    <a:lnTo>
                      <a:pt x="810" y="354"/>
                    </a:lnTo>
                    <a:lnTo>
                      <a:pt x="798" y="354"/>
                    </a:lnTo>
                    <a:lnTo>
                      <a:pt x="792" y="348"/>
                    </a:lnTo>
                    <a:lnTo>
                      <a:pt x="780" y="372"/>
                    </a:lnTo>
                    <a:lnTo>
                      <a:pt x="768" y="372"/>
                    </a:lnTo>
                    <a:lnTo>
                      <a:pt x="756" y="366"/>
                    </a:lnTo>
                    <a:lnTo>
                      <a:pt x="732" y="366"/>
                    </a:lnTo>
                    <a:lnTo>
                      <a:pt x="708" y="354"/>
                    </a:lnTo>
                    <a:lnTo>
                      <a:pt x="702" y="342"/>
                    </a:lnTo>
                    <a:lnTo>
                      <a:pt x="690" y="336"/>
                    </a:lnTo>
                    <a:lnTo>
                      <a:pt x="684" y="330"/>
                    </a:lnTo>
                    <a:lnTo>
                      <a:pt x="672" y="330"/>
                    </a:lnTo>
                    <a:lnTo>
                      <a:pt x="666" y="336"/>
                    </a:lnTo>
                    <a:lnTo>
                      <a:pt x="654" y="342"/>
                    </a:lnTo>
                    <a:lnTo>
                      <a:pt x="636" y="348"/>
                    </a:lnTo>
                    <a:lnTo>
                      <a:pt x="624" y="348"/>
                    </a:lnTo>
                    <a:lnTo>
                      <a:pt x="588" y="330"/>
                    </a:lnTo>
                    <a:lnTo>
                      <a:pt x="582" y="330"/>
                    </a:lnTo>
                    <a:lnTo>
                      <a:pt x="570" y="336"/>
                    </a:lnTo>
                    <a:lnTo>
                      <a:pt x="558" y="348"/>
                    </a:lnTo>
                    <a:lnTo>
                      <a:pt x="546" y="354"/>
                    </a:lnTo>
                    <a:lnTo>
                      <a:pt x="540" y="366"/>
                    </a:lnTo>
                    <a:lnTo>
                      <a:pt x="534" y="372"/>
                    </a:lnTo>
                    <a:lnTo>
                      <a:pt x="462" y="336"/>
                    </a:lnTo>
                    <a:lnTo>
                      <a:pt x="450" y="336"/>
                    </a:lnTo>
                    <a:lnTo>
                      <a:pt x="450" y="342"/>
                    </a:lnTo>
                    <a:lnTo>
                      <a:pt x="462" y="354"/>
                    </a:lnTo>
                    <a:lnTo>
                      <a:pt x="462" y="372"/>
                    </a:lnTo>
                    <a:lnTo>
                      <a:pt x="450" y="372"/>
                    </a:lnTo>
                    <a:lnTo>
                      <a:pt x="438" y="360"/>
                    </a:lnTo>
                    <a:lnTo>
                      <a:pt x="438" y="354"/>
                    </a:lnTo>
                    <a:lnTo>
                      <a:pt x="426" y="324"/>
                    </a:lnTo>
                    <a:lnTo>
                      <a:pt x="390" y="324"/>
                    </a:lnTo>
                    <a:lnTo>
                      <a:pt x="384" y="312"/>
                    </a:lnTo>
                    <a:lnTo>
                      <a:pt x="384" y="306"/>
                    </a:lnTo>
                    <a:lnTo>
                      <a:pt x="378" y="300"/>
                    </a:lnTo>
                    <a:lnTo>
                      <a:pt x="318" y="300"/>
                    </a:lnTo>
                    <a:lnTo>
                      <a:pt x="312" y="288"/>
                    </a:lnTo>
                    <a:lnTo>
                      <a:pt x="306" y="282"/>
                    </a:lnTo>
                    <a:lnTo>
                      <a:pt x="288" y="282"/>
                    </a:lnTo>
                    <a:lnTo>
                      <a:pt x="276" y="288"/>
                    </a:lnTo>
                    <a:lnTo>
                      <a:pt x="264" y="300"/>
                    </a:lnTo>
                    <a:lnTo>
                      <a:pt x="234" y="300"/>
                    </a:lnTo>
                    <a:lnTo>
                      <a:pt x="228" y="294"/>
                    </a:lnTo>
                    <a:lnTo>
                      <a:pt x="228" y="288"/>
                    </a:lnTo>
                    <a:lnTo>
                      <a:pt x="222" y="288"/>
                    </a:lnTo>
                    <a:lnTo>
                      <a:pt x="210" y="282"/>
                    </a:lnTo>
                    <a:lnTo>
                      <a:pt x="180" y="282"/>
                    </a:lnTo>
                    <a:lnTo>
                      <a:pt x="180" y="288"/>
                    </a:lnTo>
                    <a:lnTo>
                      <a:pt x="186" y="294"/>
                    </a:lnTo>
                    <a:lnTo>
                      <a:pt x="186" y="312"/>
                    </a:lnTo>
                    <a:lnTo>
                      <a:pt x="174" y="324"/>
                    </a:lnTo>
                    <a:lnTo>
                      <a:pt x="162" y="330"/>
                    </a:lnTo>
                    <a:lnTo>
                      <a:pt x="150" y="330"/>
                    </a:lnTo>
                    <a:lnTo>
                      <a:pt x="138" y="336"/>
                    </a:lnTo>
                    <a:lnTo>
                      <a:pt x="132" y="336"/>
                    </a:lnTo>
                    <a:lnTo>
                      <a:pt x="132" y="360"/>
                    </a:lnTo>
                    <a:lnTo>
                      <a:pt x="102" y="372"/>
                    </a:lnTo>
                    <a:lnTo>
                      <a:pt x="114" y="384"/>
                    </a:lnTo>
                    <a:lnTo>
                      <a:pt x="120" y="396"/>
                    </a:lnTo>
                    <a:lnTo>
                      <a:pt x="114" y="402"/>
                    </a:lnTo>
                    <a:lnTo>
                      <a:pt x="108" y="414"/>
                    </a:lnTo>
                    <a:lnTo>
                      <a:pt x="102" y="420"/>
                    </a:lnTo>
                    <a:lnTo>
                      <a:pt x="90" y="420"/>
                    </a:lnTo>
                    <a:lnTo>
                      <a:pt x="78" y="414"/>
                    </a:lnTo>
                    <a:lnTo>
                      <a:pt x="72" y="402"/>
                    </a:lnTo>
                    <a:lnTo>
                      <a:pt x="60" y="396"/>
                    </a:lnTo>
                    <a:lnTo>
                      <a:pt x="48" y="384"/>
                    </a:lnTo>
                    <a:lnTo>
                      <a:pt x="36" y="378"/>
                    </a:lnTo>
                    <a:lnTo>
                      <a:pt x="24" y="378"/>
                    </a:lnTo>
                    <a:lnTo>
                      <a:pt x="18" y="384"/>
                    </a:lnTo>
                    <a:lnTo>
                      <a:pt x="18" y="396"/>
                    </a:lnTo>
                    <a:lnTo>
                      <a:pt x="24" y="402"/>
                    </a:lnTo>
                    <a:lnTo>
                      <a:pt x="24" y="426"/>
                    </a:lnTo>
                    <a:lnTo>
                      <a:pt x="0" y="426"/>
                    </a:lnTo>
                    <a:lnTo>
                      <a:pt x="6" y="462"/>
                    </a:lnTo>
                    <a:lnTo>
                      <a:pt x="12" y="468"/>
                    </a:lnTo>
                    <a:lnTo>
                      <a:pt x="12" y="492"/>
                    </a:lnTo>
                    <a:lnTo>
                      <a:pt x="0" y="516"/>
                    </a:lnTo>
                    <a:lnTo>
                      <a:pt x="0" y="546"/>
                    </a:lnTo>
                    <a:lnTo>
                      <a:pt x="6" y="546"/>
                    </a:lnTo>
                    <a:lnTo>
                      <a:pt x="12" y="552"/>
                    </a:lnTo>
                    <a:lnTo>
                      <a:pt x="36" y="552"/>
                    </a:lnTo>
                    <a:lnTo>
                      <a:pt x="42" y="558"/>
                    </a:lnTo>
                    <a:lnTo>
                      <a:pt x="42" y="588"/>
                    </a:lnTo>
                    <a:lnTo>
                      <a:pt x="48" y="594"/>
                    </a:lnTo>
                    <a:lnTo>
                      <a:pt x="90" y="594"/>
                    </a:lnTo>
                    <a:lnTo>
                      <a:pt x="102" y="588"/>
                    </a:lnTo>
                    <a:lnTo>
                      <a:pt x="114" y="588"/>
                    </a:lnTo>
                    <a:lnTo>
                      <a:pt x="162" y="636"/>
                    </a:lnTo>
                    <a:lnTo>
                      <a:pt x="168" y="648"/>
                    </a:lnTo>
                    <a:lnTo>
                      <a:pt x="180" y="660"/>
                    </a:lnTo>
                    <a:lnTo>
                      <a:pt x="180" y="672"/>
                    </a:lnTo>
                    <a:lnTo>
                      <a:pt x="144" y="672"/>
                    </a:lnTo>
                    <a:lnTo>
                      <a:pt x="144" y="678"/>
                    </a:lnTo>
                    <a:lnTo>
                      <a:pt x="156" y="690"/>
                    </a:lnTo>
                    <a:lnTo>
                      <a:pt x="174" y="696"/>
                    </a:lnTo>
                    <a:lnTo>
                      <a:pt x="186" y="696"/>
                    </a:lnTo>
                    <a:lnTo>
                      <a:pt x="192" y="702"/>
                    </a:lnTo>
                    <a:lnTo>
                      <a:pt x="198" y="702"/>
                    </a:lnTo>
                    <a:lnTo>
                      <a:pt x="204" y="690"/>
                    </a:lnTo>
                    <a:lnTo>
                      <a:pt x="222" y="690"/>
                    </a:lnTo>
                    <a:lnTo>
                      <a:pt x="228" y="684"/>
                    </a:lnTo>
                    <a:lnTo>
                      <a:pt x="246" y="672"/>
                    </a:lnTo>
                    <a:lnTo>
                      <a:pt x="306" y="648"/>
                    </a:lnTo>
                    <a:lnTo>
                      <a:pt x="324" y="642"/>
                    </a:lnTo>
                    <a:lnTo>
                      <a:pt x="336" y="648"/>
                    </a:lnTo>
                    <a:lnTo>
                      <a:pt x="342" y="654"/>
                    </a:lnTo>
                    <a:lnTo>
                      <a:pt x="360" y="666"/>
                    </a:lnTo>
                    <a:lnTo>
                      <a:pt x="366" y="672"/>
                    </a:lnTo>
                    <a:lnTo>
                      <a:pt x="384" y="672"/>
                    </a:lnTo>
                    <a:lnTo>
                      <a:pt x="390" y="666"/>
                    </a:lnTo>
                    <a:lnTo>
                      <a:pt x="402" y="666"/>
                    </a:lnTo>
                    <a:lnTo>
                      <a:pt x="408" y="660"/>
                    </a:lnTo>
                    <a:lnTo>
                      <a:pt x="414" y="666"/>
                    </a:lnTo>
                    <a:lnTo>
                      <a:pt x="426" y="672"/>
                    </a:lnTo>
                    <a:lnTo>
                      <a:pt x="450" y="696"/>
                    </a:lnTo>
                    <a:lnTo>
                      <a:pt x="450" y="726"/>
                    </a:lnTo>
                    <a:lnTo>
                      <a:pt x="444" y="732"/>
                    </a:lnTo>
                    <a:lnTo>
                      <a:pt x="444" y="738"/>
                    </a:lnTo>
                    <a:lnTo>
                      <a:pt x="438" y="744"/>
                    </a:lnTo>
                    <a:lnTo>
                      <a:pt x="438" y="750"/>
                    </a:lnTo>
                    <a:lnTo>
                      <a:pt x="444" y="756"/>
                    </a:lnTo>
                    <a:lnTo>
                      <a:pt x="450" y="768"/>
                    </a:lnTo>
                    <a:lnTo>
                      <a:pt x="462" y="774"/>
                    </a:lnTo>
                    <a:lnTo>
                      <a:pt x="474" y="786"/>
                    </a:lnTo>
                    <a:lnTo>
                      <a:pt x="486" y="786"/>
                    </a:lnTo>
                    <a:lnTo>
                      <a:pt x="504" y="768"/>
                    </a:lnTo>
                    <a:lnTo>
                      <a:pt x="516" y="762"/>
                    </a:lnTo>
                    <a:lnTo>
                      <a:pt x="528" y="762"/>
                    </a:lnTo>
                    <a:lnTo>
                      <a:pt x="528" y="792"/>
                    </a:lnTo>
                    <a:lnTo>
                      <a:pt x="546" y="810"/>
                    </a:lnTo>
                    <a:lnTo>
                      <a:pt x="510" y="816"/>
                    </a:lnTo>
                    <a:lnTo>
                      <a:pt x="510" y="828"/>
                    </a:lnTo>
                    <a:lnTo>
                      <a:pt x="504" y="834"/>
                    </a:lnTo>
                    <a:lnTo>
                      <a:pt x="498" y="834"/>
                    </a:lnTo>
                    <a:lnTo>
                      <a:pt x="486" y="822"/>
                    </a:lnTo>
                    <a:lnTo>
                      <a:pt x="486" y="816"/>
                    </a:lnTo>
                    <a:lnTo>
                      <a:pt x="498" y="804"/>
                    </a:lnTo>
                    <a:lnTo>
                      <a:pt x="504" y="804"/>
                    </a:lnTo>
                    <a:lnTo>
                      <a:pt x="510" y="798"/>
                    </a:lnTo>
                    <a:lnTo>
                      <a:pt x="480" y="798"/>
                    </a:lnTo>
                    <a:lnTo>
                      <a:pt x="462" y="792"/>
                    </a:lnTo>
                    <a:lnTo>
                      <a:pt x="450" y="792"/>
                    </a:lnTo>
                    <a:lnTo>
                      <a:pt x="432" y="786"/>
                    </a:lnTo>
                    <a:lnTo>
                      <a:pt x="408" y="786"/>
                    </a:lnTo>
                    <a:lnTo>
                      <a:pt x="390" y="780"/>
                    </a:lnTo>
                    <a:lnTo>
                      <a:pt x="372" y="780"/>
                    </a:lnTo>
                    <a:lnTo>
                      <a:pt x="360" y="774"/>
                    </a:lnTo>
                    <a:lnTo>
                      <a:pt x="348" y="774"/>
                    </a:lnTo>
                    <a:lnTo>
                      <a:pt x="360" y="804"/>
                    </a:lnTo>
                    <a:lnTo>
                      <a:pt x="342" y="804"/>
                    </a:lnTo>
                    <a:lnTo>
                      <a:pt x="330" y="816"/>
                    </a:lnTo>
                    <a:lnTo>
                      <a:pt x="330" y="822"/>
                    </a:lnTo>
                    <a:lnTo>
                      <a:pt x="336" y="828"/>
                    </a:lnTo>
                    <a:lnTo>
                      <a:pt x="348" y="834"/>
                    </a:lnTo>
                    <a:lnTo>
                      <a:pt x="354" y="840"/>
                    </a:lnTo>
                    <a:lnTo>
                      <a:pt x="366" y="840"/>
                    </a:lnTo>
                    <a:lnTo>
                      <a:pt x="372" y="846"/>
                    </a:lnTo>
                    <a:lnTo>
                      <a:pt x="372" y="852"/>
                    </a:lnTo>
                    <a:lnTo>
                      <a:pt x="360" y="852"/>
                    </a:lnTo>
                    <a:lnTo>
                      <a:pt x="348" y="846"/>
                    </a:lnTo>
                    <a:lnTo>
                      <a:pt x="336" y="846"/>
                    </a:lnTo>
                    <a:lnTo>
                      <a:pt x="324" y="840"/>
                    </a:lnTo>
                    <a:lnTo>
                      <a:pt x="306" y="834"/>
                    </a:lnTo>
                    <a:lnTo>
                      <a:pt x="300" y="834"/>
                    </a:lnTo>
                    <a:lnTo>
                      <a:pt x="294" y="840"/>
                    </a:lnTo>
                    <a:lnTo>
                      <a:pt x="294" y="846"/>
                    </a:lnTo>
                    <a:lnTo>
                      <a:pt x="306" y="858"/>
                    </a:lnTo>
                    <a:lnTo>
                      <a:pt x="318" y="864"/>
                    </a:lnTo>
                    <a:lnTo>
                      <a:pt x="324" y="870"/>
                    </a:lnTo>
                    <a:lnTo>
                      <a:pt x="336" y="870"/>
                    </a:lnTo>
                    <a:lnTo>
                      <a:pt x="336" y="882"/>
                    </a:lnTo>
                    <a:lnTo>
                      <a:pt x="342" y="894"/>
                    </a:lnTo>
                    <a:lnTo>
                      <a:pt x="366" y="918"/>
                    </a:lnTo>
                    <a:lnTo>
                      <a:pt x="372" y="930"/>
                    </a:lnTo>
                    <a:lnTo>
                      <a:pt x="372" y="954"/>
                    </a:lnTo>
                    <a:lnTo>
                      <a:pt x="408" y="960"/>
                    </a:lnTo>
                    <a:lnTo>
                      <a:pt x="414" y="978"/>
                    </a:lnTo>
                    <a:lnTo>
                      <a:pt x="444" y="978"/>
                    </a:lnTo>
                    <a:lnTo>
                      <a:pt x="480" y="996"/>
                    </a:lnTo>
                    <a:lnTo>
                      <a:pt x="486" y="1002"/>
                    </a:lnTo>
                    <a:lnTo>
                      <a:pt x="486" y="1014"/>
                    </a:lnTo>
                    <a:lnTo>
                      <a:pt x="480" y="1020"/>
                    </a:lnTo>
                    <a:lnTo>
                      <a:pt x="468" y="1026"/>
                    </a:lnTo>
                    <a:lnTo>
                      <a:pt x="462" y="1038"/>
                    </a:lnTo>
                    <a:lnTo>
                      <a:pt x="462" y="1056"/>
                    </a:lnTo>
                    <a:lnTo>
                      <a:pt x="468" y="1062"/>
                    </a:lnTo>
                    <a:lnTo>
                      <a:pt x="492" y="1062"/>
                    </a:lnTo>
                    <a:lnTo>
                      <a:pt x="498" y="1056"/>
                    </a:lnTo>
                    <a:lnTo>
                      <a:pt x="504" y="1038"/>
                    </a:lnTo>
                    <a:lnTo>
                      <a:pt x="510" y="1026"/>
                    </a:lnTo>
                    <a:lnTo>
                      <a:pt x="516" y="1020"/>
                    </a:lnTo>
                    <a:lnTo>
                      <a:pt x="528" y="1020"/>
                    </a:lnTo>
                    <a:lnTo>
                      <a:pt x="546" y="1026"/>
                    </a:lnTo>
                    <a:lnTo>
                      <a:pt x="546" y="1020"/>
                    </a:lnTo>
                    <a:lnTo>
                      <a:pt x="552" y="1014"/>
                    </a:lnTo>
                    <a:lnTo>
                      <a:pt x="570" y="1014"/>
                    </a:lnTo>
                    <a:lnTo>
                      <a:pt x="594" y="1026"/>
                    </a:lnTo>
                    <a:lnTo>
                      <a:pt x="606" y="1026"/>
                    </a:lnTo>
                    <a:lnTo>
                      <a:pt x="618" y="1038"/>
                    </a:lnTo>
                    <a:lnTo>
                      <a:pt x="630" y="1044"/>
                    </a:lnTo>
                    <a:lnTo>
                      <a:pt x="636" y="1056"/>
                    </a:lnTo>
                    <a:lnTo>
                      <a:pt x="642" y="1062"/>
                    </a:lnTo>
                    <a:lnTo>
                      <a:pt x="648" y="1074"/>
                    </a:lnTo>
                    <a:lnTo>
                      <a:pt x="672" y="1098"/>
                    </a:lnTo>
                    <a:lnTo>
                      <a:pt x="684" y="1104"/>
                    </a:lnTo>
                    <a:lnTo>
                      <a:pt x="690" y="1110"/>
                    </a:lnTo>
                    <a:lnTo>
                      <a:pt x="696" y="1104"/>
                    </a:lnTo>
                    <a:lnTo>
                      <a:pt x="696" y="1098"/>
                    </a:lnTo>
                    <a:lnTo>
                      <a:pt x="702" y="1092"/>
                    </a:lnTo>
                    <a:lnTo>
                      <a:pt x="654" y="810"/>
                    </a:lnTo>
                    <a:lnTo>
                      <a:pt x="798" y="768"/>
                    </a:lnTo>
                    <a:lnTo>
                      <a:pt x="804" y="774"/>
                    </a:lnTo>
                    <a:lnTo>
                      <a:pt x="804" y="762"/>
                    </a:lnTo>
                    <a:lnTo>
                      <a:pt x="810" y="756"/>
                    </a:lnTo>
                    <a:lnTo>
                      <a:pt x="810" y="750"/>
                    </a:lnTo>
                    <a:lnTo>
                      <a:pt x="816" y="738"/>
                    </a:lnTo>
                    <a:lnTo>
                      <a:pt x="816" y="732"/>
                    </a:lnTo>
                    <a:lnTo>
                      <a:pt x="822" y="726"/>
                    </a:lnTo>
                    <a:lnTo>
                      <a:pt x="846" y="726"/>
                    </a:lnTo>
                    <a:lnTo>
                      <a:pt x="852" y="750"/>
                    </a:lnTo>
                    <a:lnTo>
                      <a:pt x="864" y="744"/>
                    </a:lnTo>
                    <a:lnTo>
                      <a:pt x="870" y="744"/>
                    </a:lnTo>
                    <a:lnTo>
                      <a:pt x="876" y="738"/>
                    </a:lnTo>
                    <a:lnTo>
                      <a:pt x="876" y="732"/>
                    </a:lnTo>
                    <a:lnTo>
                      <a:pt x="852" y="708"/>
                    </a:lnTo>
                    <a:lnTo>
                      <a:pt x="870" y="708"/>
                    </a:lnTo>
                    <a:lnTo>
                      <a:pt x="882" y="720"/>
                    </a:lnTo>
                    <a:lnTo>
                      <a:pt x="936" y="720"/>
                    </a:lnTo>
                    <a:lnTo>
                      <a:pt x="924" y="708"/>
                    </a:lnTo>
                    <a:lnTo>
                      <a:pt x="918" y="708"/>
                    </a:lnTo>
                    <a:lnTo>
                      <a:pt x="906" y="696"/>
                    </a:lnTo>
                    <a:lnTo>
                      <a:pt x="882" y="696"/>
                    </a:lnTo>
                    <a:lnTo>
                      <a:pt x="876" y="690"/>
                    </a:lnTo>
                    <a:lnTo>
                      <a:pt x="876" y="684"/>
                    </a:lnTo>
                    <a:lnTo>
                      <a:pt x="882" y="678"/>
                    </a:lnTo>
                    <a:lnTo>
                      <a:pt x="906" y="678"/>
                    </a:lnTo>
                    <a:lnTo>
                      <a:pt x="924" y="666"/>
                    </a:lnTo>
                    <a:lnTo>
                      <a:pt x="930" y="672"/>
                    </a:lnTo>
                    <a:lnTo>
                      <a:pt x="936" y="684"/>
                    </a:lnTo>
                    <a:lnTo>
                      <a:pt x="942" y="690"/>
                    </a:lnTo>
                    <a:lnTo>
                      <a:pt x="948" y="690"/>
                    </a:lnTo>
                    <a:lnTo>
                      <a:pt x="954" y="684"/>
                    </a:lnTo>
                    <a:lnTo>
                      <a:pt x="960" y="690"/>
                    </a:lnTo>
                    <a:lnTo>
                      <a:pt x="966" y="702"/>
                    </a:lnTo>
                    <a:lnTo>
                      <a:pt x="966" y="708"/>
                    </a:lnTo>
                    <a:lnTo>
                      <a:pt x="960" y="714"/>
                    </a:lnTo>
                    <a:lnTo>
                      <a:pt x="954" y="714"/>
                    </a:lnTo>
                    <a:lnTo>
                      <a:pt x="942" y="720"/>
                    </a:lnTo>
                    <a:lnTo>
                      <a:pt x="924" y="738"/>
                    </a:lnTo>
                    <a:lnTo>
                      <a:pt x="888" y="738"/>
                    </a:lnTo>
                    <a:lnTo>
                      <a:pt x="882" y="744"/>
                    </a:lnTo>
                    <a:lnTo>
                      <a:pt x="882" y="756"/>
                    </a:lnTo>
                    <a:lnTo>
                      <a:pt x="888" y="762"/>
                    </a:lnTo>
                    <a:lnTo>
                      <a:pt x="900" y="762"/>
                    </a:lnTo>
                    <a:lnTo>
                      <a:pt x="906" y="768"/>
                    </a:lnTo>
                    <a:lnTo>
                      <a:pt x="918" y="768"/>
                    </a:lnTo>
                    <a:lnTo>
                      <a:pt x="918" y="786"/>
                    </a:lnTo>
                    <a:lnTo>
                      <a:pt x="912" y="798"/>
                    </a:lnTo>
                    <a:lnTo>
                      <a:pt x="912" y="816"/>
                    </a:lnTo>
                    <a:lnTo>
                      <a:pt x="918" y="822"/>
                    </a:lnTo>
                    <a:lnTo>
                      <a:pt x="984" y="858"/>
                    </a:lnTo>
                    <a:lnTo>
                      <a:pt x="1062" y="930"/>
                    </a:lnTo>
                    <a:lnTo>
                      <a:pt x="1068" y="930"/>
                    </a:lnTo>
                    <a:lnTo>
                      <a:pt x="1074" y="924"/>
                    </a:lnTo>
                    <a:lnTo>
                      <a:pt x="1110" y="924"/>
                    </a:lnTo>
                    <a:lnTo>
                      <a:pt x="1128" y="918"/>
                    </a:lnTo>
                    <a:lnTo>
                      <a:pt x="1188" y="918"/>
                    </a:lnTo>
                    <a:lnTo>
                      <a:pt x="1206" y="924"/>
                    </a:lnTo>
                    <a:lnTo>
                      <a:pt x="1224" y="924"/>
                    </a:lnTo>
                    <a:lnTo>
                      <a:pt x="1230" y="918"/>
                    </a:lnTo>
                    <a:lnTo>
                      <a:pt x="1254" y="906"/>
                    </a:lnTo>
                    <a:lnTo>
                      <a:pt x="1266" y="906"/>
                    </a:lnTo>
                    <a:lnTo>
                      <a:pt x="1272" y="918"/>
                    </a:lnTo>
                    <a:lnTo>
                      <a:pt x="1290" y="936"/>
                    </a:lnTo>
                    <a:lnTo>
                      <a:pt x="1296" y="954"/>
                    </a:lnTo>
                    <a:lnTo>
                      <a:pt x="1308" y="960"/>
                    </a:lnTo>
                    <a:lnTo>
                      <a:pt x="1314" y="972"/>
                    </a:lnTo>
                    <a:lnTo>
                      <a:pt x="1344" y="972"/>
                    </a:lnTo>
                    <a:lnTo>
                      <a:pt x="1344" y="984"/>
                    </a:lnTo>
                    <a:lnTo>
                      <a:pt x="1350" y="1002"/>
                    </a:lnTo>
                    <a:lnTo>
                      <a:pt x="1350" y="1044"/>
                    </a:lnTo>
                    <a:lnTo>
                      <a:pt x="1356" y="1050"/>
                    </a:lnTo>
                    <a:lnTo>
                      <a:pt x="1362" y="1050"/>
                    </a:lnTo>
                    <a:lnTo>
                      <a:pt x="1368" y="1044"/>
                    </a:lnTo>
                    <a:lnTo>
                      <a:pt x="1380" y="1044"/>
                    </a:lnTo>
                    <a:lnTo>
                      <a:pt x="1386" y="1050"/>
                    </a:lnTo>
                    <a:lnTo>
                      <a:pt x="1416" y="1110"/>
                    </a:lnTo>
                    <a:lnTo>
                      <a:pt x="1494" y="1110"/>
                    </a:lnTo>
                    <a:lnTo>
                      <a:pt x="1512" y="1116"/>
                    </a:lnTo>
                    <a:lnTo>
                      <a:pt x="1512" y="1134"/>
                    </a:lnTo>
                    <a:lnTo>
                      <a:pt x="1506" y="1140"/>
                    </a:lnTo>
                    <a:lnTo>
                      <a:pt x="1506" y="1152"/>
                    </a:lnTo>
                    <a:lnTo>
                      <a:pt x="1512" y="1152"/>
                    </a:lnTo>
                    <a:lnTo>
                      <a:pt x="1524" y="1158"/>
                    </a:lnTo>
                    <a:lnTo>
                      <a:pt x="1536" y="1158"/>
                    </a:lnTo>
                    <a:lnTo>
                      <a:pt x="1542" y="1164"/>
                    </a:lnTo>
                    <a:lnTo>
                      <a:pt x="1542" y="1152"/>
                    </a:lnTo>
                    <a:lnTo>
                      <a:pt x="1536" y="1146"/>
                    </a:lnTo>
                    <a:lnTo>
                      <a:pt x="1536" y="1134"/>
                    </a:lnTo>
                    <a:lnTo>
                      <a:pt x="1548" y="1122"/>
                    </a:lnTo>
                    <a:lnTo>
                      <a:pt x="1560" y="1116"/>
                    </a:lnTo>
                    <a:lnTo>
                      <a:pt x="1566" y="1110"/>
                    </a:lnTo>
                    <a:lnTo>
                      <a:pt x="1572" y="1110"/>
                    </a:lnTo>
                    <a:lnTo>
                      <a:pt x="1572" y="1092"/>
                    </a:lnTo>
                    <a:lnTo>
                      <a:pt x="1584" y="1080"/>
                    </a:lnTo>
                    <a:lnTo>
                      <a:pt x="1596" y="1074"/>
                    </a:lnTo>
                    <a:lnTo>
                      <a:pt x="1608" y="1074"/>
                    </a:lnTo>
                    <a:lnTo>
                      <a:pt x="1614" y="1068"/>
                    </a:lnTo>
                    <a:lnTo>
                      <a:pt x="1620" y="1068"/>
                    </a:lnTo>
                    <a:lnTo>
                      <a:pt x="1632" y="1044"/>
                    </a:lnTo>
                    <a:lnTo>
                      <a:pt x="1656" y="1044"/>
                    </a:lnTo>
                    <a:lnTo>
                      <a:pt x="1686" y="1026"/>
                    </a:lnTo>
                    <a:lnTo>
                      <a:pt x="1662" y="1026"/>
                    </a:lnTo>
                    <a:lnTo>
                      <a:pt x="1662" y="1008"/>
                    </a:lnTo>
                    <a:lnTo>
                      <a:pt x="1668" y="996"/>
                    </a:lnTo>
                    <a:lnTo>
                      <a:pt x="1686" y="978"/>
                    </a:lnTo>
                    <a:lnTo>
                      <a:pt x="1716" y="978"/>
                    </a:lnTo>
                    <a:lnTo>
                      <a:pt x="1728" y="984"/>
                    </a:lnTo>
                    <a:lnTo>
                      <a:pt x="1746" y="990"/>
                    </a:lnTo>
                    <a:lnTo>
                      <a:pt x="1782" y="1008"/>
                    </a:lnTo>
                    <a:lnTo>
                      <a:pt x="1812" y="1008"/>
                    </a:lnTo>
                    <a:lnTo>
                      <a:pt x="1830" y="1014"/>
                    </a:lnTo>
                    <a:lnTo>
                      <a:pt x="1830" y="1002"/>
                    </a:lnTo>
                    <a:lnTo>
                      <a:pt x="1824" y="990"/>
                    </a:lnTo>
                    <a:lnTo>
                      <a:pt x="1824" y="960"/>
                    </a:lnTo>
                    <a:lnTo>
                      <a:pt x="1830" y="954"/>
                    </a:lnTo>
                    <a:lnTo>
                      <a:pt x="1872" y="954"/>
                    </a:lnTo>
                    <a:lnTo>
                      <a:pt x="1884" y="960"/>
                    </a:lnTo>
                    <a:lnTo>
                      <a:pt x="1890" y="972"/>
                    </a:lnTo>
                    <a:lnTo>
                      <a:pt x="1914" y="972"/>
                    </a:lnTo>
                    <a:lnTo>
                      <a:pt x="1926" y="978"/>
                    </a:lnTo>
                    <a:lnTo>
                      <a:pt x="1944" y="978"/>
                    </a:lnTo>
                    <a:lnTo>
                      <a:pt x="1962" y="972"/>
                    </a:lnTo>
                    <a:lnTo>
                      <a:pt x="2082" y="972"/>
                    </a:lnTo>
                    <a:lnTo>
                      <a:pt x="2094" y="978"/>
                    </a:lnTo>
                    <a:lnTo>
                      <a:pt x="2106" y="978"/>
                    </a:lnTo>
                    <a:lnTo>
                      <a:pt x="2154" y="972"/>
                    </a:lnTo>
                    <a:lnTo>
                      <a:pt x="2166" y="984"/>
                    </a:lnTo>
                    <a:lnTo>
                      <a:pt x="2184" y="984"/>
                    </a:lnTo>
                    <a:lnTo>
                      <a:pt x="2208" y="1014"/>
                    </a:lnTo>
                    <a:lnTo>
                      <a:pt x="2250" y="1014"/>
                    </a:lnTo>
                    <a:lnTo>
                      <a:pt x="2268" y="1020"/>
                    </a:lnTo>
                    <a:lnTo>
                      <a:pt x="2262" y="1014"/>
                    </a:lnTo>
                    <a:lnTo>
                      <a:pt x="2262" y="1002"/>
                    </a:lnTo>
                    <a:lnTo>
                      <a:pt x="2256" y="996"/>
                    </a:lnTo>
                    <a:lnTo>
                      <a:pt x="2256" y="984"/>
                    </a:lnTo>
                    <a:lnTo>
                      <a:pt x="2280" y="984"/>
                    </a:lnTo>
                    <a:lnTo>
                      <a:pt x="2262" y="966"/>
                    </a:lnTo>
                    <a:lnTo>
                      <a:pt x="2262" y="960"/>
                    </a:lnTo>
                    <a:lnTo>
                      <a:pt x="2268" y="954"/>
                    </a:lnTo>
                    <a:lnTo>
                      <a:pt x="2286" y="954"/>
                    </a:lnTo>
                    <a:lnTo>
                      <a:pt x="2286" y="942"/>
                    </a:lnTo>
                    <a:lnTo>
                      <a:pt x="2274" y="936"/>
                    </a:lnTo>
                    <a:lnTo>
                      <a:pt x="2268" y="924"/>
                    </a:lnTo>
                    <a:lnTo>
                      <a:pt x="2226" y="882"/>
                    </a:lnTo>
                    <a:lnTo>
                      <a:pt x="2214" y="858"/>
                    </a:lnTo>
                    <a:lnTo>
                      <a:pt x="2214" y="828"/>
                    </a:lnTo>
                    <a:lnTo>
                      <a:pt x="2196" y="828"/>
                    </a:lnTo>
                    <a:lnTo>
                      <a:pt x="2184" y="822"/>
                    </a:lnTo>
                    <a:lnTo>
                      <a:pt x="2178" y="816"/>
                    </a:lnTo>
                    <a:lnTo>
                      <a:pt x="2178" y="810"/>
                    </a:lnTo>
                    <a:lnTo>
                      <a:pt x="2184" y="804"/>
                    </a:lnTo>
                    <a:lnTo>
                      <a:pt x="2196" y="798"/>
                    </a:lnTo>
                    <a:lnTo>
                      <a:pt x="2208" y="798"/>
                    </a:lnTo>
                    <a:lnTo>
                      <a:pt x="2220" y="792"/>
                    </a:lnTo>
                    <a:lnTo>
                      <a:pt x="2232" y="792"/>
                    </a:lnTo>
                    <a:lnTo>
                      <a:pt x="2268" y="774"/>
                    </a:lnTo>
                    <a:lnTo>
                      <a:pt x="2280" y="774"/>
                    </a:lnTo>
                    <a:lnTo>
                      <a:pt x="2286" y="780"/>
                    </a:lnTo>
                    <a:lnTo>
                      <a:pt x="2292" y="792"/>
                    </a:lnTo>
                    <a:lnTo>
                      <a:pt x="2298" y="798"/>
                    </a:lnTo>
                    <a:lnTo>
                      <a:pt x="2316" y="786"/>
                    </a:lnTo>
                    <a:lnTo>
                      <a:pt x="2328" y="798"/>
                    </a:lnTo>
                    <a:lnTo>
                      <a:pt x="2334" y="798"/>
                    </a:lnTo>
                    <a:lnTo>
                      <a:pt x="2340" y="792"/>
                    </a:lnTo>
                    <a:lnTo>
                      <a:pt x="2340" y="780"/>
                    </a:lnTo>
                    <a:lnTo>
                      <a:pt x="2334" y="774"/>
                    </a:lnTo>
                    <a:lnTo>
                      <a:pt x="2328" y="774"/>
                    </a:lnTo>
                    <a:lnTo>
                      <a:pt x="2322" y="768"/>
                    </a:lnTo>
                    <a:lnTo>
                      <a:pt x="2316" y="768"/>
                    </a:lnTo>
                    <a:lnTo>
                      <a:pt x="2316" y="630"/>
                    </a:lnTo>
                    <a:lnTo>
                      <a:pt x="2328" y="630"/>
                    </a:lnTo>
                    <a:lnTo>
                      <a:pt x="2340" y="636"/>
                    </a:lnTo>
                    <a:lnTo>
                      <a:pt x="2352" y="636"/>
                    </a:lnTo>
                    <a:lnTo>
                      <a:pt x="2376" y="648"/>
                    </a:lnTo>
                    <a:lnTo>
                      <a:pt x="2424" y="648"/>
                    </a:lnTo>
                    <a:lnTo>
                      <a:pt x="2436" y="660"/>
                    </a:lnTo>
                    <a:lnTo>
                      <a:pt x="2454" y="642"/>
                    </a:lnTo>
                    <a:lnTo>
                      <a:pt x="2472" y="642"/>
                    </a:lnTo>
                    <a:lnTo>
                      <a:pt x="2478" y="636"/>
                    </a:lnTo>
                    <a:lnTo>
                      <a:pt x="2478" y="618"/>
                    </a:lnTo>
                    <a:lnTo>
                      <a:pt x="2466" y="594"/>
                    </a:lnTo>
                    <a:lnTo>
                      <a:pt x="2454" y="582"/>
                    </a:lnTo>
                    <a:lnTo>
                      <a:pt x="2442" y="558"/>
                    </a:lnTo>
                    <a:lnTo>
                      <a:pt x="2442" y="540"/>
                    </a:lnTo>
                    <a:lnTo>
                      <a:pt x="2454" y="528"/>
                    </a:lnTo>
                    <a:lnTo>
                      <a:pt x="2496" y="528"/>
                    </a:lnTo>
                    <a:lnTo>
                      <a:pt x="2502" y="522"/>
                    </a:lnTo>
                    <a:lnTo>
                      <a:pt x="2502" y="510"/>
                    </a:lnTo>
                    <a:lnTo>
                      <a:pt x="2484" y="492"/>
                    </a:lnTo>
                    <a:close/>
                    <a:moveTo>
                      <a:pt x="2082" y="696"/>
                    </a:moveTo>
                    <a:lnTo>
                      <a:pt x="2046" y="696"/>
                    </a:lnTo>
                    <a:lnTo>
                      <a:pt x="2046" y="702"/>
                    </a:lnTo>
                    <a:lnTo>
                      <a:pt x="2040" y="708"/>
                    </a:lnTo>
                    <a:lnTo>
                      <a:pt x="2028" y="708"/>
                    </a:lnTo>
                    <a:lnTo>
                      <a:pt x="2022" y="702"/>
                    </a:lnTo>
                    <a:lnTo>
                      <a:pt x="2010" y="696"/>
                    </a:lnTo>
                    <a:lnTo>
                      <a:pt x="1980" y="702"/>
                    </a:lnTo>
                    <a:lnTo>
                      <a:pt x="1950" y="696"/>
                    </a:lnTo>
                    <a:lnTo>
                      <a:pt x="1932" y="696"/>
                    </a:lnTo>
                    <a:lnTo>
                      <a:pt x="1908" y="690"/>
                    </a:lnTo>
                    <a:lnTo>
                      <a:pt x="1860" y="690"/>
                    </a:lnTo>
                    <a:lnTo>
                      <a:pt x="1854" y="684"/>
                    </a:lnTo>
                    <a:lnTo>
                      <a:pt x="1854" y="678"/>
                    </a:lnTo>
                    <a:lnTo>
                      <a:pt x="1836" y="696"/>
                    </a:lnTo>
                    <a:lnTo>
                      <a:pt x="1830" y="696"/>
                    </a:lnTo>
                    <a:lnTo>
                      <a:pt x="1824" y="708"/>
                    </a:lnTo>
                    <a:lnTo>
                      <a:pt x="1824" y="714"/>
                    </a:lnTo>
                    <a:lnTo>
                      <a:pt x="1818" y="726"/>
                    </a:lnTo>
                    <a:lnTo>
                      <a:pt x="1812" y="732"/>
                    </a:lnTo>
                    <a:lnTo>
                      <a:pt x="1794" y="732"/>
                    </a:lnTo>
                    <a:lnTo>
                      <a:pt x="1800" y="762"/>
                    </a:lnTo>
                    <a:lnTo>
                      <a:pt x="1788" y="768"/>
                    </a:lnTo>
                    <a:lnTo>
                      <a:pt x="1806" y="786"/>
                    </a:lnTo>
                    <a:lnTo>
                      <a:pt x="1800" y="810"/>
                    </a:lnTo>
                    <a:lnTo>
                      <a:pt x="1794" y="810"/>
                    </a:lnTo>
                    <a:lnTo>
                      <a:pt x="1788" y="798"/>
                    </a:lnTo>
                    <a:lnTo>
                      <a:pt x="1776" y="792"/>
                    </a:lnTo>
                    <a:lnTo>
                      <a:pt x="1770" y="780"/>
                    </a:lnTo>
                    <a:lnTo>
                      <a:pt x="1758" y="774"/>
                    </a:lnTo>
                    <a:lnTo>
                      <a:pt x="1752" y="762"/>
                    </a:lnTo>
                    <a:lnTo>
                      <a:pt x="1752" y="750"/>
                    </a:lnTo>
                    <a:lnTo>
                      <a:pt x="1746" y="732"/>
                    </a:lnTo>
                    <a:lnTo>
                      <a:pt x="1746" y="720"/>
                    </a:lnTo>
                    <a:lnTo>
                      <a:pt x="1764" y="702"/>
                    </a:lnTo>
                    <a:lnTo>
                      <a:pt x="1776" y="702"/>
                    </a:lnTo>
                    <a:lnTo>
                      <a:pt x="1782" y="696"/>
                    </a:lnTo>
                    <a:lnTo>
                      <a:pt x="1788" y="684"/>
                    </a:lnTo>
                    <a:lnTo>
                      <a:pt x="1788" y="678"/>
                    </a:lnTo>
                    <a:lnTo>
                      <a:pt x="1800" y="666"/>
                    </a:lnTo>
                    <a:lnTo>
                      <a:pt x="1818" y="666"/>
                    </a:lnTo>
                    <a:lnTo>
                      <a:pt x="1830" y="672"/>
                    </a:lnTo>
                    <a:lnTo>
                      <a:pt x="1848" y="672"/>
                    </a:lnTo>
                    <a:lnTo>
                      <a:pt x="1854" y="666"/>
                    </a:lnTo>
                    <a:lnTo>
                      <a:pt x="1896" y="666"/>
                    </a:lnTo>
                    <a:lnTo>
                      <a:pt x="1908" y="672"/>
                    </a:lnTo>
                    <a:lnTo>
                      <a:pt x="1914" y="678"/>
                    </a:lnTo>
                    <a:lnTo>
                      <a:pt x="1932" y="678"/>
                    </a:lnTo>
                    <a:lnTo>
                      <a:pt x="1944" y="684"/>
                    </a:lnTo>
                    <a:lnTo>
                      <a:pt x="1974" y="684"/>
                    </a:lnTo>
                    <a:lnTo>
                      <a:pt x="1986" y="672"/>
                    </a:lnTo>
                    <a:lnTo>
                      <a:pt x="2028" y="672"/>
                    </a:lnTo>
                    <a:lnTo>
                      <a:pt x="2034" y="678"/>
                    </a:lnTo>
                    <a:lnTo>
                      <a:pt x="2046" y="678"/>
                    </a:lnTo>
                    <a:lnTo>
                      <a:pt x="2052" y="672"/>
                    </a:lnTo>
                    <a:lnTo>
                      <a:pt x="2064" y="666"/>
                    </a:lnTo>
                    <a:lnTo>
                      <a:pt x="2088" y="666"/>
                    </a:lnTo>
                    <a:lnTo>
                      <a:pt x="2088" y="684"/>
                    </a:lnTo>
                    <a:lnTo>
                      <a:pt x="2082" y="690"/>
                    </a:lnTo>
                    <a:lnTo>
                      <a:pt x="2082" y="696"/>
                    </a:lnTo>
                    <a:close/>
                  </a:path>
                </a:pathLst>
              </a:custGeom>
              <a:solidFill>
                <a:srgbClr val="9D90A0">
                  <a:lumMod val="40000"/>
                  <a:lumOff val="60000"/>
                </a:srgbClr>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89" name="Italy" descr="© INSCALE GmbH, 05.05.2010&#10;http://www.presentationload.com/">
                <a:extLst>
                  <a:ext uri="{FF2B5EF4-FFF2-40B4-BE49-F238E27FC236}">
                    <a16:creationId xmlns:a16="http://schemas.microsoft.com/office/drawing/2014/main" id="{1768CF9B-C95D-45F9-9FBB-B2927148E56A}"/>
                  </a:ext>
                </a:extLst>
              </p:cNvPr>
              <p:cNvSpPr>
                <a:spLocks noEditPoints="1"/>
              </p:cNvSpPr>
              <p:nvPr/>
            </p:nvSpPr>
            <p:spPr bwMode="gray">
              <a:xfrm>
                <a:off x="4408132" y="2888911"/>
                <a:ext cx="308862" cy="363867"/>
              </a:xfrm>
              <a:custGeom>
                <a:avLst/>
                <a:gdLst>
                  <a:gd name="T0" fmla="*/ 2147483647 w 780"/>
                  <a:gd name="T1" fmla="*/ 2147483647 h 828"/>
                  <a:gd name="T2" fmla="*/ 2147483647 w 780"/>
                  <a:gd name="T3" fmla="*/ 2147483647 h 828"/>
                  <a:gd name="T4" fmla="*/ 2147483647 w 780"/>
                  <a:gd name="T5" fmla="*/ 2147483647 h 828"/>
                  <a:gd name="T6" fmla="*/ 2147483647 w 780"/>
                  <a:gd name="T7" fmla="*/ 2147483647 h 828"/>
                  <a:gd name="T8" fmla="*/ 2147483647 w 780"/>
                  <a:gd name="T9" fmla="*/ 2147483647 h 828"/>
                  <a:gd name="T10" fmla="*/ 2147483647 w 780"/>
                  <a:gd name="T11" fmla="*/ 2147483647 h 828"/>
                  <a:gd name="T12" fmla="*/ 2147483647 w 780"/>
                  <a:gd name="T13" fmla="*/ 2147483647 h 828"/>
                  <a:gd name="T14" fmla="*/ 2147483647 w 780"/>
                  <a:gd name="T15" fmla="*/ 2147483647 h 828"/>
                  <a:gd name="T16" fmla="*/ 2147483647 w 780"/>
                  <a:gd name="T17" fmla="*/ 2147483647 h 828"/>
                  <a:gd name="T18" fmla="*/ 2147483647 w 780"/>
                  <a:gd name="T19" fmla="*/ 2147483647 h 828"/>
                  <a:gd name="T20" fmla="*/ 2147483647 w 780"/>
                  <a:gd name="T21" fmla="*/ 2147483647 h 828"/>
                  <a:gd name="T22" fmla="*/ 2147483647 w 780"/>
                  <a:gd name="T23" fmla="*/ 2147483647 h 828"/>
                  <a:gd name="T24" fmla="*/ 2147483647 w 780"/>
                  <a:gd name="T25" fmla="*/ 2147483647 h 828"/>
                  <a:gd name="T26" fmla="*/ 2147483647 w 780"/>
                  <a:gd name="T27" fmla="*/ 2147483647 h 828"/>
                  <a:gd name="T28" fmla="*/ 2147483647 w 780"/>
                  <a:gd name="T29" fmla="*/ 2147483647 h 828"/>
                  <a:gd name="T30" fmla="*/ 2147483647 w 780"/>
                  <a:gd name="T31" fmla="*/ 2147483647 h 828"/>
                  <a:gd name="T32" fmla="*/ 2147483647 w 780"/>
                  <a:gd name="T33" fmla="*/ 2147483647 h 828"/>
                  <a:gd name="T34" fmla="*/ 2147483647 w 780"/>
                  <a:gd name="T35" fmla="*/ 2147483647 h 828"/>
                  <a:gd name="T36" fmla="*/ 2147483647 w 780"/>
                  <a:gd name="T37" fmla="*/ 2147483647 h 828"/>
                  <a:gd name="T38" fmla="*/ 2147483647 w 780"/>
                  <a:gd name="T39" fmla="*/ 2147483647 h 828"/>
                  <a:gd name="T40" fmla="*/ 2147483647 w 780"/>
                  <a:gd name="T41" fmla="*/ 2147483647 h 828"/>
                  <a:gd name="T42" fmla="*/ 2147483647 w 780"/>
                  <a:gd name="T43" fmla="*/ 2147483647 h 828"/>
                  <a:gd name="T44" fmla="*/ 2147483647 w 780"/>
                  <a:gd name="T45" fmla="*/ 2147483647 h 828"/>
                  <a:gd name="T46" fmla="*/ 2147483647 w 780"/>
                  <a:gd name="T47" fmla="*/ 2147483647 h 828"/>
                  <a:gd name="T48" fmla="*/ 2147483647 w 780"/>
                  <a:gd name="T49" fmla="*/ 2147483647 h 828"/>
                  <a:gd name="T50" fmla="*/ 2147483647 w 780"/>
                  <a:gd name="T51" fmla="*/ 2147483647 h 828"/>
                  <a:gd name="T52" fmla="*/ 2147483647 w 780"/>
                  <a:gd name="T53" fmla="*/ 2147483647 h 828"/>
                  <a:gd name="T54" fmla="*/ 2147483647 w 780"/>
                  <a:gd name="T55" fmla="*/ 2147483647 h 828"/>
                  <a:gd name="T56" fmla="*/ 2147483647 w 780"/>
                  <a:gd name="T57" fmla="*/ 2147483647 h 828"/>
                  <a:gd name="T58" fmla="*/ 2147483647 w 780"/>
                  <a:gd name="T59" fmla="*/ 2147483647 h 828"/>
                  <a:gd name="T60" fmla="*/ 2147483647 w 780"/>
                  <a:gd name="T61" fmla="*/ 2147483647 h 828"/>
                  <a:gd name="T62" fmla="*/ 2147483647 w 780"/>
                  <a:gd name="T63" fmla="*/ 2147483647 h 828"/>
                  <a:gd name="T64" fmla="*/ 2147483647 w 780"/>
                  <a:gd name="T65" fmla="*/ 2147483647 h 828"/>
                  <a:gd name="T66" fmla="*/ 2147483647 w 780"/>
                  <a:gd name="T67" fmla="*/ 2147483647 h 828"/>
                  <a:gd name="T68" fmla="*/ 2147483647 w 780"/>
                  <a:gd name="T69" fmla="*/ 2147483647 h 828"/>
                  <a:gd name="T70" fmla="*/ 2147483647 w 780"/>
                  <a:gd name="T71" fmla="*/ 2147483647 h 828"/>
                  <a:gd name="T72" fmla="*/ 2147483647 w 780"/>
                  <a:gd name="T73" fmla="*/ 2147483647 h 828"/>
                  <a:gd name="T74" fmla="*/ 2147483647 w 780"/>
                  <a:gd name="T75" fmla="*/ 2147483647 h 828"/>
                  <a:gd name="T76" fmla="*/ 2147483647 w 780"/>
                  <a:gd name="T77" fmla="*/ 2147483647 h 828"/>
                  <a:gd name="T78" fmla="*/ 2147483647 w 780"/>
                  <a:gd name="T79" fmla="*/ 2147483647 h 828"/>
                  <a:gd name="T80" fmla="*/ 2147483647 w 780"/>
                  <a:gd name="T81" fmla="*/ 2147483647 h 828"/>
                  <a:gd name="T82" fmla="*/ 2147483647 w 780"/>
                  <a:gd name="T83" fmla="*/ 2147483647 h 828"/>
                  <a:gd name="T84" fmla="*/ 2147483647 w 780"/>
                  <a:gd name="T85" fmla="*/ 2147483647 h 828"/>
                  <a:gd name="T86" fmla="*/ 2147483647 w 780"/>
                  <a:gd name="T87" fmla="*/ 2147483647 h 828"/>
                  <a:gd name="T88" fmla="*/ 2147483647 w 780"/>
                  <a:gd name="T89" fmla="*/ 2147483647 h 828"/>
                  <a:gd name="T90" fmla="*/ 2147483647 w 780"/>
                  <a:gd name="T91" fmla="*/ 2147483647 h 828"/>
                  <a:gd name="T92" fmla="*/ 2147483647 w 780"/>
                  <a:gd name="T93" fmla="*/ 2147483647 h 828"/>
                  <a:gd name="T94" fmla="*/ 2147483647 w 780"/>
                  <a:gd name="T95" fmla="*/ 2147483647 h 828"/>
                  <a:gd name="T96" fmla="*/ 2147483647 w 780"/>
                  <a:gd name="T97" fmla="*/ 2147483647 h 828"/>
                  <a:gd name="T98" fmla="*/ 2147483647 w 780"/>
                  <a:gd name="T99" fmla="*/ 2147483647 h 828"/>
                  <a:gd name="T100" fmla="*/ 2147483647 w 780"/>
                  <a:gd name="T101" fmla="*/ 2147483647 h 828"/>
                  <a:gd name="T102" fmla="*/ 2147483647 w 780"/>
                  <a:gd name="T103" fmla="*/ 2147483647 h 828"/>
                  <a:gd name="T104" fmla="*/ 2147483647 w 780"/>
                  <a:gd name="T105" fmla="*/ 2147483647 h 828"/>
                  <a:gd name="T106" fmla="*/ 2147483647 w 780"/>
                  <a:gd name="T107" fmla="*/ 2147483647 h 828"/>
                  <a:gd name="T108" fmla="*/ 2147483647 w 780"/>
                  <a:gd name="T109" fmla="*/ 2147483647 h 828"/>
                  <a:gd name="T110" fmla="*/ 2147483647 w 780"/>
                  <a:gd name="T111" fmla="*/ 2147483647 h 828"/>
                  <a:gd name="T112" fmla="*/ 2147483647 w 780"/>
                  <a:gd name="T113" fmla="*/ 2147483647 h 82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780"/>
                  <a:gd name="T172" fmla="*/ 0 h 828"/>
                  <a:gd name="T173" fmla="*/ 780 w 780"/>
                  <a:gd name="T174" fmla="*/ 828 h 82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780" h="828">
                    <a:moveTo>
                      <a:pt x="570" y="720"/>
                    </a:moveTo>
                    <a:lnTo>
                      <a:pt x="558" y="714"/>
                    </a:lnTo>
                    <a:lnTo>
                      <a:pt x="552" y="708"/>
                    </a:lnTo>
                    <a:lnTo>
                      <a:pt x="540" y="708"/>
                    </a:lnTo>
                    <a:lnTo>
                      <a:pt x="534" y="714"/>
                    </a:lnTo>
                    <a:lnTo>
                      <a:pt x="522" y="720"/>
                    </a:lnTo>
                    <a:lnTo>
                      <a:pt x="516" y="726"/>
                    </a:lnTo>
                    <a:lnTo>
                      <a:pt x="468" y="726"/>
                    </a:lnTo>
                    <a:lnTo>
                      <a:pt x="456" y="720"/>
                    </a:lnTo>
                    <a:lnTo>
                      <a:pt x="444" y="708"/>
                    </a:lnTo>
                    <a:lnTo>
                      <a:pt x="438" y="708"/>
                    </a:lnTo>
                    <a:lnTo>
                      <a:pt x="420" y="726"/>
                    </a:lnTo>
                    <a:lnTo>
                      <a:pt x="402" y="714"/>
                    </a:lnTo>
                    <a:lnTo>
                      <a:pt x="396" y="714"/>
                    </a:lnTo>
                    <a:lnTo>
                      <a:pt x="384" y="726"/>
                    </a:lnTo>
                    <a:lnTo>
                      <a:pt x="384" y="738"/>
                    </a:lnTo>
                    <a:lnTo>
                      <a:pt x="396" y="750"/>
                    </a:lnTo>
                    <a:lnTo>
                      <a:pt x="420" y="762"/>
                    </a:lnTo>
                    <a:lnTo>
                      <a:pt x="426" y="762"/>
                    </a:lnTo>
                    <a:lnTo>
                      <a:pt x="444" y="780"/>
                    </a:lnTo>
                    <a:lnTo>
                      <a:pt x="444" y="786"/>
                    </a:lnTo>
                    <a:lnTo>
                      <a:pt x="456" y="786"/>
                    </a:lnTo>
                    <a:lnTo>
                      <a:pt x="468" y="798"/>
                    </a:lnTo>
                    <a:lnTo>
                      <a:pt x="480" y="804"/>
                    </a:lnTo>
                    <a:lnTo>
                      <a:pt x="498" y="798"/>
                    </a:lnTo>
                    <a:lnTo>
                      <a:pt x="504" y="804"/>
                    </a:lnTo>
                    <a:lnTo>
                      <a:pt x="516" y="810"/>
                    </a:lnTo>
                    <a:lnTo>
                      <a:pt x="522" y="822"/>
                    </a:lnTo>
                    <a:lnTo>
                      <a:pt x="534" y="828"/>
                    </a:lnTo>
                    <a:lnTo>
                      <a:pt x="558" y="828"/>
                    </a:lnTo>
                    <a:lnTo>
                      <a:pt x="570" y="816"/>
                    </a:lnTo>
                    <a:lnTo>
                      <a:pt x="570" y="792"/>
                    </a:lnTo>
                    <a:lnTo>
                      <a:pt x="564" y="780"/>
                    </a:lnTo>
                    <a:lnTo>
                      <a:pt x="564" y="768"/>
                    </a:lnTo>
                    <a:lnTo>
                      <a:pt x="570" y="750"/>
                    </a:lnTo>
                    <a:lnTo>
                      <a:pt x="576" y="738"/>
                    </a:lnTo>
                    <a:lnTo>
                      <a:pt x="582" y="732"/>
                    </a:lnTo>
                    <a:lnTo>
                      <a:pt x="582" y="714"/>
                    </a:lnTo>
                    <a:lnTo>
                      <a:pt x="576" y="702"/>
                    </a:lnTo>
                    <a:lnTo>
                      <a:pt x="570" y="720"/>
                    </a:lnTo>
                    <a:close/>
                    <a:moveTo>
                      <a:pt x="180" y="468"/>
                    </a:moveTo>
                    <a:lnTo>
                      <a:pt x="156" y="480"/>
                    </a:lnTo>
                    <a:lnTo>
                      <a:pt x="150" y="486"/>
                    </a:lnTo>
                    <a:lnTo>
                      <a:pt x="138" y="492"/>
                    </a:lnTo>
                    <a:lnTo>
                      <a:pt x="132" y="498"/>
                    </a:lnTo>
                    <a:lnTo>
                      <a:pt x="126" y="498"/>
                    </a:lnTo>
                    <a:lnTo>
                      <a:pt x="114" y="492"/>
                    </a:lnTo>
                    <a:lnTo>
                      <a:pt x="102" y="480"/>
                    </a:lnTo>
                    <a:lnTo>
                      <a:pt x="96" y="498"/>
                    </a:lnTo>
                    <a:lnTo>
                      <a:pt x="102" y="504"/>
                    </a:lnTo>
                    <a:lnTo>
                      <a:pt x="114" y="510"/>
                    </a:lnTo>
                    <a:lnTo>
                      <a:pt x="120" y="522"/>
                    </a:lnTo>
                    <a:lnTo>
                      <a:pt x="120" y="540"/>
                    </a:lnTo>
                    <a:lnTo>
                      <a:pt x="114" y="558"/>
                    </a:lnTo>
                    <a:lnTo>
                      <a:pt x="114" y="570"/>
                    </a:lnTo>
                    <a:lnTo>
                      <a:pt x="126" y="582"/>
                    </a:lnTo>
                    <a:lnTo>
                      <a:pt x="114" y="588"/>
                    </a:lnTo>
                    <a:lnTo>
                      <a:pt x="120" y="636"/>
                    </a:lnTo>
                    <a:lnTo>
                      <a:pt x="108" y="636"/>
                    </a:lnTo>
                    <a:lnTo>
                      <a:pt x="126" y="654"/>
                    </a:lnTo>
                    <a:lnTo>
                      <a:pt x="138" y="654"/>
                    </a:lnTo>
                    <a:lnTo>
                      <a:pt x="144" y="642"/>
                    </a:lnTo>
                    <a:lnTo>
                      <a:pt x="156" y="630"/>
                    </a:lnTo>
                    <a:lnTo>
                      <a:pt x="156" y="618"/>
                    </a:lnTo>
                    <a:lnTo>
                      <a:pt x="168" y="630"/>
                    </a:lnTo>
                    <a:lnTo>
                      <a:pt x="180" y="636"/>
                    </a:lnTo>
                    <a:lnTo>
                      <a:pt x="186" y="636"/>
                    </a:lnTo>
                    <a:lnTo>
                      <a:pt x="192" y="630"/>
                    </a:lnTo>
                    <a:lnTo>
                      <a:pt x="198" y="618"/>
                    </a:lnTo>
                    <a:lnTo>
                      <a:pt x="198" y="594"/>
                    </a:lnTo>
                    <a:lnTo>
                      <a:pt x="204" y="582"/>
                    </a:lnTo>
                    <a:lnTo>
                      <a:pt x="204" y="558"/>
                    </a:lnTo>
                    <a:lnTo>
                      <a:pt x="198" y="552"/>
                    </a:lnTo>
                    <a:lnTo>
                      <a:pt x="192" y="552"/>
                    </a:lnTo>
                    <a:lnTo>
                      <a:pt x="192" y="546"/>
                    </a:lnTo>
                    <a:lnTo>
                      <a:pt x="198" y="540"/>
                    </a:lnTo>
                    <a:lnTo>
                      <a:pt x="204" y="540"/>
                    </a:lnTo>
                    <a:lnTo>
                      <a:pt x="210" y="534"/>
                    </a:lnTo>
                    <a:lnTo>
                      <a:pt x="210" y="522"/>
                    </a:lnTo>
                    <a:lnTo>
                      <a:pt x="204" y="510"/>
                    </a:lnTo>
                    <a:lnTo>
                      <a:pt x="204" y="492"/>
                    </a:lnTo>
                    <a:lnTo>
                      <a:pt x="198" y="480"/>
                    </a:lnTo>
                    <a:lnTo>
                      <a:pt x="186" y="474"/>
                    </a:lnTo>
                    <a:lnTo>
                      <a:pt x="180" y="468"/>
                    </a:lnTo>
                    <a:close/>
                    <a:moveTo>
                      <a:pt x="774" y="546"/>
                    </a:moveTo>
                    <a:lnTo>
                      <a:pt x="768" y="534"/>
                    </a:lnTo>
                    <a:lnTo>
                      <a:pt x="756" y="528"/>
                    </a:lnTo>
                    <a:lnTo>
                      <a:pt x="738" y="510"/>
                    </a:lnTo>
                    <a:lnTo>
                      <a:pt x="678" y="480"/>
                    </a:lnTo>
                    <a:lnTo>
                      <a:pt x="672" y="480"/>
                    </a:lnTo>
                    <a:lnTo>
                      <a:pt x="660" y="474"/>
                    </a:lnTo>
                    <a:lnTo>
                      <a:pt x="648" y="474"/>
                    </a:lnTo>
                    <a:lnTo>
                      <a:pt x="630" y="468"/>
                    </a:lnTo>
                    <a:lnTo>
                      <a:pt x="606" y="456"/>
                    </a:lnTo>
                    <a:lnTo>
                      <a:pt x="606" y="450"/>
                    </a:lnTo>
                    <a:lnTo>
                      <a:pt x="612" y="438"/>
                    </a:lnTo>
                    <a:lnTo>
                      <a:pt x="624" y="426"/>
                    </a:lnTo>
                    <a:lnTo>
                      <a:pt x="624" y="420"/>
                    </a:lnTo>
                    <a:lnTo>
                      <a:pt x="618" y="414"/>
                    </a:lnTo>
                    <a:lnTo>
                      <a:pt x="612" y="414"/>
                    </a:lnTo>
                    <a:lnTo>
                      <a:pt x="594" y="408"/>
                    </a:lnTo>
                    <a:lnTo>
                      <a:pt x="552" y="408"/>
                    </a:lnTo>
                    <a:lnTo>
                      <a:pt x="540" y="402"/>
                    </a:lnTo>
                    <a:lnTo>
                      <a:pt x="534" y="396"/>
                    </a:lnTo>
                    <a:lnTo>
                      <a:pt x="516" y="384"/>
                    </a:lnTo>
                    <a:lnTo>
                      <a:pt x="492" y="360"/>
                    </a:lnTo>
                    <a:lnTo>
                      <a:pt x="480" y="342"/>
                    </a:lnTo>
                    <a:lnTo>
                      <a:pt x="474" y="336"/>
                    </a:lnTo>
                    <a:lnTo>
                      <a:pt x="468" y="324"/>
                    </a:lnTo>
                    <a:lnTo>
                      <a:pt x="468" y="312"/>
                    </a:lnTo>
                    <a:lnTo>
                      <a:pt x="450" y="276"/>
                    </a:lnTo>
                    <a:lnTo>
                      <a:pt x="438" y="270"/>
                    </a:lnTo>
                    <a:lnTo>
                      <a:pt x="432" y="264"/>
                    </a:lnTo>
                    <a:lnTo>
                      <a:pt x="420" y="258"/>
                    </a:lnTo>
                    <a:lnTo>
                      <a:pt x="414" y="252"/>
                    </a:lnTo>
                    <a:lnTo>
                      <a:pt x="378" y="222"/>
                    </a:lnTo>
                    <a:lnTo>
                      <a:pt x="372" y="210"/>
                    </a:lnTo>
                    <a:lnTo>
                      <a:pt x="360" y="198"/>
                    </a:lnTo>
                    <a:lnTo>
                      <a:pt x="360" y="186"/>
                    </a:lnTo>
                    <a:lnTo>
                      <a:pt x="366" y="180"/>
                    </a:lnTo>
                    <a:lnTo>
                      <a:pt x="384" y="180"/>
                    </a:lnTo>
                    <a:lnTo>
                      <a:pt x="384" y="174"/>
                    </a:lnTo>
                    <a:lnTo>
                      <a:pt x="372" y="162"/>
                    </a:lnTo>
                    <a:lnTo>
                      <a:pt x="366" y="150"/>
                    </a:lnTo>
                    <a:lnTo>
                      <a:pt x="366" y="138"/>
                    </a:lnTo>
                    <a:lnTo>
                      <a:pt x="402" y="120"/>
                    </a:lnTo>
                    <a:lnTo>
                      <a:pt x="408" y="114"/>
                    </a:lnTo>
                    <a:lnTo>
                      <a:pt x="414" y="114"/>
                    </a:lnTo>
                    <a:lnTo>
                      <a:pt x="438" y="108"/>
                    </a:lnTo>
                    <a:lnTo>
                      <a:pt x="444" y="72"/>
                    </a:lnTo>
                    <a:lnTo>
                      <a:pt x="432" y="66"/>
                    </a:lnTo>
                    <a:lnTo>
                      <a:pt x="438" y="60"/>
                    </a:lnTo>
                    <a:lnTo>
                      <a:pt x="438" y="42"/>
                    </a:lnTo>
                    <a:lnTo>
                      <a:pt x="384" y="42"/>
                    </a:lnTo>
                    <a:lnTo>
                      <a:pt x="378" y="24"/>
                    </a:lnTo>
                    <a:lnTo>
                      <a:pt x="366" y="24"/>
                    </a:lnTo>
                    <a:lnTo>
                      <a:pt x="366" y="6"/>
                    </a:lnTo>
                    <a:lnTo>
                      <a:pt x="360" y="0"/>
                    </a:lnTo>
                    <a:lnTo>
                      <a:pt x="342" y="0"/>
                    </a:lnTo>
                    <a:lnTo>
                      <a:pt x="336" y="6"/>
                    </a:lnTo>
                    <a:lnTo>
                      <a:pt x="336" y="12"/>
                    </a:lnTo>
                    <a:lnTo>
                      <a:pt x="294" y="12"/>
                    </a:lnTo>
                    <a:lnTo>
                      <a:pt x="282" y="30"/>
                    </a:lnTo>
                    <a:lnTo>
                      <a:pt x="270" y="24"/>
                    </a:lnTo>
                    <a:lnTo>
                      <a:pt x="252" y="24"/>
                    </a:lnTo>
                    <a:lnTo>
                      <a:pt x="246" y="42"/>
                    </a:lnTo>
                    <a:lnTo>
                      <a:pt x="222" y="42"/>
                    </a:lnTo>
                    <a:lnTo>
                      <a:pt x="222" y="48"/>
                    </a:lnTo>
                    <a:lnTo>
                      <a:pt x="234" y="60"/>
                    </a:lnTo>
                    <a:lnTo>
                      <a:pt x="228" y="72"/>
                    </a:lnTo>
                    <a:lnTo>
                      <a:pt x="210" y="60"/>
                    </a:lnTo>
                    <a:lnTo>
                      <a:pt x="192" y="66"/>
                    </a:lnTo>
                    <a:lnTo>
                      <a:pt x="180" y="48"/>
                    </a:lnTo>
                    <a:lnTo>
                      <a:pt x="174" y="72"/>
                    </a:lnTo>
                    <a:lnTo>
                      <a:pt x="162" y="84"/>
                    </a:lnTo>
                    <a:lnTo>
                      <a:pt x="162" y="102"/>
                    </a:lnTo>
                    <a:lnTo>
                      <a:pt x="138" y="78"/>
                    </a:lnTo>
                    <a:lnTo>
                      <a:pt x="132" y="78"/>
                    </a:lnTo>
                    <a:lnTo>
                      <a:pt x="132" y="72"/>
                    </a:lnTo>
                    <a:lnTo>
                      <a:pt x="126" y="66"/>
                    </a:lnTo>
                    <a:lnTo>
                      <a:pt x="126" y="60"/>
                    </a:lnTo>
                    <a:lnTo>
                      <a:pt x="120" y="54"/>
                    </a:lnTo>
                    <a:lnTo>
                      <a:pt x="108" y="54"/>
                    </a:lnTo>
                    <a:lnTo>
                      <a:pt x="102" y="60"/>
                    </a:lnTo>
                    <a:lnTo>
                      <a:pt x="102" y="78"/>
                    </a:lnTo>
                    <a:lnTo>
                      <a:pt x="84" y="96"/>
                    </a:lnTo>
                    <a:lnTo>
                      <a:pt x="78" y="96"/>
                    </a:lnTo>
                    <a:lnTo>
                      <a:pt x="66" y="84"/>
                    </a:lnTo>
                    <a:lnTo>
                      <a:pt x="54" y="84"/>
                    </a:lnTo>
                    <a:lnTo>
                      <a:pt x="42" y="96"/>
                    </a:lnTo>
                    <a:lnTo>
                      <a:pt x="30" y="96"/>
                    </a:lnTo>
                    <a:lnTo>
                      <a:pt x="30" y="102"/>
                    </a:lnTo>
                    <a:lnTo>
                      <a:pt x="24" y="102"/>
                    </a:lnTo>
                    <a:lnTo>
                      <a:pt x="18" y="108"/>
                    </a:lnTo>
                    <a:lnTo>
                      <a:pt x="42" y="132"/>
                    </a:lnTo>
                    <a:lnTo>
                      <a:pt x="42" y="138"/>
                    </a:lnTo>
                    <a:lnTo>
                      <a:pt x="24" y="156"/>
                    </a:lnTo>
                    <a:lnTo>
                      <a:pt x="0" y="156"/>
                    </a:lnTo>
                    <a:lnTo>
                      <a:pt x="12" y="174"/>
                    </a:lnTo>
                    <a:lnTo>
                      <a:pt x="24" y="174"/>
                    </a:lnTo>
                    <a:lnTo>
                      <a:pt x="30" y="180"/>
                    </a:lnTo>
                    <a:lnTo>
                      <a:pt x="30" y="192"/>
                    </a:lnTo>
                    <a:lnTo>
                      <a:pt x="24" y="198"/>
                    </a:lnTo>
                    <a:lnTo>
                      <a:pt x="24" y="204"/>
                    </a:lnTo>
                    <a:lnTo>
                      <a:pt x="18" y="210"/>
                    </a:lnTo>
                    <a:lnTo>
                      <a:pt x="18" y="216"/>
                    </a:lnTo>
                    <a:lnTo>
                      <a:pt x="24" y="222"/>
                    </a:lnTo>
                    <a:lnTo>
                      <a:pt x="36" y="228"/>
                    </a:lnTo>
                    <a:lnTo>
                      <a:pt x="42" y="228"/>
                    </a:lnTo>
                    <a:lnTo>
                      <a:pt x="42" y="234"/>
                    </a:lnTo>
                    <a:lnTo>
                      <a:pt x="66" y="234"/>
                    </a:lnTo>
                    <a:lnTo>
                      <a:pt x="72" y="240"/>
                    </a:lnTo>
                    <a:lnTo>
                      <a:pt x="72" y="246"/>
                    </a:lnTo>
                    <a:lnTo>
                      <a:pt x="54" y="264"/>
                    </a:lnTo>
                    <a:lnTo>
                      <a:pt x="54" y="270"/>
                    </a:lnTo>
                    <a:lnTo>
                      <a:pt x="66" y="270"/>
                    </a:lnTo>
                    <a:lnTo>
                      <a:pt x="90" y="258"/>
                    </a:lnTo>
                    <a:lnTo>
                      <a:pt x="120" y="228"/>
                    </a:lnTo>
                    <a:lnTo>
                      <a:pt x="144" y="216"/>
                    </a:lnTo>
                    <a:lnTo>
                      <a:pt x="156" y="216"/>
                    </a:lnTo>
                    <a:lnTo>
                      <a:pt x="168" y="222"/>
                    </a:lnTo>
                    <a:lnTo>
                      <a:pt x="204" y="234"/>
                    </a:lnTo>
                    <a:lnTo>
                      <a:pt x="216" y="240"/>
                    </a:lnTo>
                    <a:lnTo>
                      <a:pt x="228" y="252"/>
                    </a:lnTo>
                    <a:lnTo>
                      <a:pt x="234" y="264"/>
                    </a:lnTo>
                    <a:lnTo>
                      <a:pt x="234" y="276"/>
                    </a:lnTo>
                    <a:lnTo>
                      <a:pt x="240" y="282"/>
                    </a:lnTo>
                    <a:lnTo>
                      <a:pt x="240" y="288"/>
                    </a:lnTo>
                    <a:lnTo>
                      <a:pt x="252" y="300"/>
                    </a:lnTo>
                    <a:lnTo>
                      <a:pt x="252" y="306"/>
                    </a:lnTo>
                    <a:lnTo>
                      <a:pt x="246" y="318"/>
                    </a:lnTo>
                    <a:lnTo>
                      <a:pt x="246" y="324"/>
                    </a:lnTo>
                    <a:lnTo>
                      <a:pt x="258" y="336"/>
                    </a:lnTo>
                    <a:lnTo>
                      <a:pt x="282" y="348"/>
                    </a:lnTo>
                    <a:lnTo>
                      <a:pt x="288" y="354"/>
                    </a:lnTo>
                    <a:lnTo>
                      <a:pt x="294" y="354"/>
                    </a:lnTo>
                    <a:lnTo>
                      <a:pt x="300" y="372"/>
                    </a:lnTo>
                    <a:lnTo>
                      <a:pt x="330" y="372"/>
                    </a:lnTo>
                    <a:lnTo>
                      <a:pt x="348" y="390"/>
                    </a:lnTo>
                    <a:lnTo>
                      <a:pt x="354" y="402"/>
                    </a:lnTo>
                    <a:lnTo>
                      <a:pt x="366" y="414"/>
                    </a:lnTo>
                    <a:lnTo>
                      <a:pt x="378" y="420"/>
                    </a:lnTo>
                    <a:lnTo>
                      <a:pt x="384" y="432"/>
                    </a:lnTo>
                    <a:lnTo>
                      <a:pt x="420" y="468"/>
                    </a:lnTo>
                    <a:lnTo>
                      <a:pt x="456" y="468"/>
                    </a:lnTo>
                    <a:lnTo>
                      <a:pt x="462" y="474"/>
                    </a:lnTo>
                    <a:lnTo>
                      <a:pt x="468" y="486"/>
                    </a:lnTo>
                    <a:lnTo>
                      <a:pt x="492" y="498"/>
                    </a:lnTo>
                    <a:lnTo>
                      <a:pt x="510" y="504"/>
                    </a:lnTo>
                    <a:lnTo>
                      <a:pt x="528" y="504"/>
                    </a:lnTo>
                    <a:lnTo>
                      <a:pt x="540" y="510"/>
                    </a:lnTo>
                    <a:lnTo>
                      <a:pt x="546" y="510"/>
                    </a:lnTo>
                    <a:lnTo>
                      <a:pt x="552" y="522"/>
                    </a:lnTo>
                    <a:lnTo>
                      <a:pt x="552" y="534"/>
                    </a:lnTo>
                    <a:lnTo>
                      <a:pt x="564" y="558"/>
                    </a:lnTo>
                    <a:lnTo>
                      <a:pt x="570" y="564"/>
                    </a:lnTo>
                    <a:lnTo>
                      <a:pt x="582" y="564"/>
                    </a:lnTo>
                    <a:lnTo>
                      <a:pt x="594" y="558"/>
                    </a:lnTo>
                    <a:lnTo>
                      <a:pt x="600" y="558"/>
                    </a:lnTo>
                    <a:lnTo>
                      <a:pt x="600" y="570"/>
                    </a:lnTo>
                    <a:lnTo>
                      <a:pt x="606" y="582"/>
                    </a:lnTo>
                    <a:lnTo>
                      <a:pt x="606" y="606"/>
                    </a:lnTo>
                    <a:lnTo>
                      <a:pt x="612" y="618"/>
                    </a:lnTo>
                    <a:lnTo>
                      <a:pt x="630" y="636"/>
                    </a:lnTo>
                    <a:lnTo>
                      <a:pt x="630" y="666"/>
                    </a:lnTo>
                    <a:lnTo>
                      <a:pt x="612" y="666"/>
                    </a:lnTo>
                    <a:lnTo>
                      <a:pt x="612" y="690"/>
                    </a:lnTo>
                    <a:lnTo>
                      <a:pt x="606" y="696"/>
                    </a:lnTo>
                    <a:lnTo>
                      <a:pt x="600" y="708"/>
                    </a:lnTo>
                    <a:lnTo>
                      <a:pt x="594" y="714"/>
                    </a:lnTo>
                    <a:lnTo>
                      <a:pt x="594" y="732"/>
                    </a:lnTo>
                    <a:lnTo>
                      <a:pt x="606" y="732"/>
                    </a:lnTo>
                    <a:lnTo>
                      <a:pt x="618" y="726"/>
                    </a:lnTo>
                    <a:lnTo>
                      <a:pt x="624" y="726"/>
                    </a:lnTo>
                    <a:lnTo>
                      <a:pt x="636" y="702"/>
                    </a:lnTo>
                    <a:lnTo>
                      <a:pt x="654" y="696"/>
                    </a:lnTo>
                    <a:lnTo>
                      <a:pt x="654" y="666"/>
                    </a:lnTo>
                    <a:lnTo>
                      <a:pt x="666" y="654"/>
                    </a:lnTo>
                    <a:lnTo>
                      <a:pt x="678" y="654"/>
                    </a:lnTo>
                    <a:lnTo>
                      <a:pt x="684" y="648"/>
                    </a:lnTo>
                    <a:lnTo>
                      <a:pt x="696" y="648"/>
                    </a:lnTo>
                    <a:lnTo>
                      <a:pt x="696" y="636"/>
                    </a:lnTo>
                    <a:lnTo>
                      <a:pt x="690" y="630"/>
                    </a:lnTo>
                    <a:lnTo>
                      <a:pt x="690" y="618"/>
                    </a:lnTo>
                    <a:lnTo>
                      <a:pt x="678" y="606"/>
                    </a:lnTo>
                    <a:lnTo>
                      <a:pt x="666" y="606"/>
                    </a:lnTo>
                    <a:lnTo>
                      <a:pt x="648" y="588"/>
                    </a:lnTo>
                    <a:lnTo>
                      <a:pt x="654" y="582"/>
                    </a:lnTo>
                    <a:lnTo>
                      <a:pt x="660" y="570"/>
                    </a:lnTo>
                    <a:lnTo>
                      <a:pt x="666" y="552"/>
                    </a:lnTo>
                    <a:lnTo>
                      <a:pt x="672" y="540"/>
                    </a:lnTo>
                    <a:lnTo>
                      <a:pt x="684" y="528"/>
                    </a:lnTo>
                    <a:lnTo>
                      <a:pt x="690" y="534"/>
                    </a:lnTo>
                    <a:lnTo>
                      <a:pt x="702" y="534"/>
                    </a:lnTo>
                    <a:lnTo>
                      <a:pt x="708" y="540"/>
                    </a:lnTo>
                    <a:lnTo>
                      <a:pt x="738" y="540"/>
                    </a:lnTo>
                    <a:lnTo>
                      <a:pt x="738" y="552"/>
                    </a:lnTo>
                    <a:lnTo>
                      <a:pt x="744" y="558"/>
                    </a:lnTo>
                    <a:lnTo>
                      <a:pt x="744" y="564"/>
                    </a:lnTo>
                    <a:lnTo>
                      <a:pt x="750" y="576"/>
                    </a:lnTo>
                    <a:lnTo>
                      <a:pt x="762" y="576"/>
                    </a:lnTo>
                    <a:lnTo>
                      <a:pt x="774" y="570"/>
                    </a:lnTo>
                    <a:lnTo>
                      <a:pt x="780" y="564"/>
                    </a:lnTo>
                    <a:lnTo>
                      <a:pt x="780" y="558"/>
                    </a:lnTo>
                    <a:lnTo>
                      <a:pt x="774" y="546"/>
                    </a:lnTo>
                    <a:close/>
                  </a:path>
                </a:pathLst>
              </a:custGeom>
              <a:solidFill>
                <a:srgbClr val="4966AC"/>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90" name="Ireland" descr="© INSCALE GmbH, 05.05.2010&#10;http://www.presentationload.com/">
                <a:extLst>
                  <a:ext uri="{FF2B5EF4-FFF2-40B4-BE49-F238E27FC236}">
                    <a16:creationId xmlns:a16="http://schemas.microsoft.com/office/drawing/2014/main" id="{35A59B3C-626D-4863-9679-7F5FB16BD34D}"/>
                  </a:ext>
                </a:extLst>
              </p:cNvPr>
              <p:cNvSpPr>
                <a:spLocks/>
              </p:cNvSpPr>
              <p:nvPr/>
            </p:nvSpPr>
            <p:spPr bwMode="gray">
              <a:xfrm>
                <a:off x="4005674" y="2609946"/>
                <a:ext cx="110754" cy="129952"/>
              </a:xfrm>
              <a:custGeom>
                <a:avLst/>
                <a:gdLst>
                  <a:gd name="T0" fmla="*/ 2147483647 w 282"/>
                  <a:gd name="T1" fmla="*/ 2147483647 h 300"/>
                  <a:gd name="T2" fmla="*/ 2147483647 w 282"/>
                  <a:gd name="T3" fmla="*/ 2147483647 h 300"/>
                  <a:gd name="T4" fmla="*/ 2147483647 w 282"/>
                  <a:gd name="T5" fmla="*/ 2147483647 h 300"/>
                  <a:gd name="T6" fmla="*/ 2147483647 w 282"/>
                  <a:gd name="T7" fmla="*/ 2147483647 h 300"/>
                  <a:gd name="T8" fmla="*/ 2147483647 w 282"/>
                  <a:gd name="T9" fmla="*/ 2147483647 h 300"/>
                  <a:gd name="T10" fmla="*/ 2147483647 w 282"/>
                  <a:gd name="T11" fmla="*/ 2147483647 h 300"/>
                  <a:gd name="T12" fmla="*/ 2147483647 w 282"/>
                  <a:gd name="T13" fmla="*/ 2147483647 h 300"/>
                  <a:gd name="T14" fmla="*/ 2147483647 w 282"/>
                  <a:gd name="T15" fmla="*/ 2147483647 h 300"/>
                  <a:gd name="T16" fmla="*/ 2147483647 w 282"/>
                  <a:gd name="T17" fmla="*/ 2147483647 h 300"/>
                  <a:gd name="T18" fmla="*/ 2147483647 w 282"/>
                  <a:gd name="T19" fmla="*/ 2147483647 h 300"/>
                  <a:gd name="T20" fmla="*/ 2147483647 w 282"/>
                  <a:gd name="T21" fmla="*/ 2147483647 h 300"/>
                  <a:gd name="T22" fmla="*/ 2147483647 w 282"/>
                  <a:gd name="T23" fmla="*/ 2147483647 h 300"/>
                  <a:gd name="T24" fmla="*/ 2147483647 w 282"/>
                  <a:gd name="T25" fmla="*/ 0 h 300"/>
                  <a:gd name="T26" fmla="*/ 2147483647 w 282"/>
                  <a:gd name="T27" fmla="*/ 2147483647 h 300"/>
                  <a:gd name="T28" fmla="*/ 2147483647 w 282"/>
                  <a:gd name="T29" fmla="*/ 2147483647 h 300"/>
                  <a:gd name="T30" fmla="*/ 2147483647 w 282"/>
                  <a:gd name="T31" fmla="*/ 2147483647 h 300"/>
                  <a:gd name="T32" fmla="*/ 2147483647 w 282"/>
                  <a:gd name="T33" fmla="*/ 2147483647 h 300"/>
                  <a:gd name="T34" fmla="*/ 2147483647 w 282"/>
                  <a:gd name="T35" fmla="*/ 2147483647 h 300"/>
                  <a:gd name="T36" fmla="*/ 2147483647 w 282"/>
                  <a:gd name="T37" fmla="*/ 2147483647 h 300"/>
                  <a:gd name="T38" fmla="*/ 2147483647 w 282"/>
                  <a:gd name="T39" fmla="*/ 2147483647 h 300"/>
                  <a:gd name="T40" fmla="*/ 2147483647 w 282"/>
                  <a:gd name="T41" fmla="*/ 2147483647 h 300"/>
                  <a:gd name="T42" fmla="*/ 2147483647 w 282"/>
                  <a:gd name="T43" fmla="*/ 2147483647 h 300"/>
                  <a:gd name="T44" fmla="*/ 2147483647 w 282"/>
                  <a:gd name="T45" fmla="*/ 2147483647 h 300"/>
                  <a:gd name="T46" fmla="*/ 2147483647 w 282"/>
                  <a:gd name="T47" fmla="*/ 2147483647 h 300"/>
                  <a:gd name="T48" fmla="*/ 2147483647 w 282"/>
                  <a:gd name="T49" fmla="*/ 2147483647 h 300"/>
                  <a:gd name="T50" fmla="*/ 2147483647 w 282"/>
                  <a:gd name="T51" fmla="*/ 2147483647 h 300"/>
                  <a:gd name="T52" fmla="*/ 2147483647 w 282"/>
                  <a:gd name="T53" fmla="*/ 2147483647 h 300"/>
                  <a:gd name="T54" fmla="*/ 2147483647 w 282"/>
                  <a:gd name="T55" fmla="*/ 2147483647 h 300"/>
                  <a:gd name="T56" fmla="*/ 2147483647 w 282"/>
                  <a:gd name="T57" fmla="*/ 2147483647 h 300"/>
                  <a:gd name="T58" fmla="*/ 2147483647 w 282"/>
                  <a:gd name="T59" fmla="*/ 2147483647 h 300"/>
                  <a:gd name="T60" fmla="*/ 2147483647 w 282"/>
                  <a:gd name="T61" fmla="*/ 2147483647 h 300"/>
                  <a:gd name="T62" fmla="*/ 2147483647 w 282"/>
                  <a:gd name="T63" fmla="*/ 2147483647 h 300"/>
                  <a:gd name="T64" fmla="*/ 2147483647 w 282"/>
                  <a:gd name="T65" fmla="*/ 2147483647 h 300"/>
                  <a:gd name="T66" fmla="*/ 2147483647 w 282"/>
                  <a:gd name="T67" fmla="*/ 2147483647 h 300"/>
                  <a:gd name="T68" fmla="*/ 2147483647 w 282"/>
                  <a:gd name="T69" fmla="*/ 2147483647 h 300"/>
                  <a:gd name="T70" fmla="*/ 2147483647 w 282"/>
                  <a:gd name="T71" fmla="*/ 2147483647 h 300"/>
                  <a:gd name="T72" fmla="*/ 2147483647 w 282"/>
                  <a:gd name="T73" fmla="*/ 2147483647 h 300"/>
                  <a:gd name="T74" fmla="*/ 2147483647 w 282"/>
                  <a:gd name="T75" fmla="*/ 2147483647 h 300"/>
                  <a:gd name="T76" fmla="*/ 2147483647 w 282"/>
                  <a:gd name="T77" fmla="*/ 2147483647 h 300"/>
                  <a:gd name="T78" fmla="*/ 2147483647 w 282"/>
                  <a:gd name="T79" fmla="*/ 2147483647 h 300"/>
                  <a:gd name="T80" fmla="*/ 0 w 282"/>
                  <a:gd name="T81" fmla="*/ 2147483647 h 300"/>
                  <a:gd name="T82" fmla="*/ 2147483647 w 282"/>
                  <a:gd name="T83" fmla="*/ 2147483647 h 300"/>
                  <a:gd name="T84" fmla="*/ 2147483647 w 282"/>
                  <a:gd name="T85" fmla="*/ 2147483647 h 300"/>
                  <a:gd name="T86" fmla="*/ 2147483647 w 282"/>
                  <a:gd name="T87" fmla="*/ 2147483647 h 300"/>
                  <a:gd name="T88" fmla="*/ 2147483647 w 282"/>
                  <a:gd name="T89" fmla="*/ 2147483647 h 300"/>
                  <a:gd name="T90" fmla="*/ 2147483647 w 282"/>
                  <a:gd name="T91" fmla="*/ 2147483647 h 300"/>
                  <a:gd name="T92" fmla="*/ 2147483647 w 282"/>
                  <a:gd name="T93" fmla="*/ 2147483647 h 300"/>
                  <a:gd name="T94" fmla="*/ 2147483647 w 282"/>
                  <a:gd name="T95" fmla="*/ 2147483647 h 300"/>
                  <a:gd name="T96" fmla="*/ 2147483647 w 282"/>
                  <a:gd name="T97" fmla="*/ 2147483647 h 300"/>
                  <a:gd name="T98" fmla="*/ 2147483647 w 282"/>
                  <a:gd name="T99" fmla="*/ 2147483647 h 300"/>
                  <a:gd name="T100" fmla="*/ 2147483647 w 282"/>
                  <a:gd name="T101" fmla="*/ 2147483647 h 300"/>
                  <a:gd name="T102" fmla="*/ 2147483647 w 282"/>
                  <a:gd name="T103" fmla="*/ 2147483647 h 300"/>
                  <a:gd name="T104" fmla="*/ 2147483647 w 282"/>
                  <a:gd name="T105" fmla="*/ 2147483647 h 300"/>
                  <a:gd name="T106" fmla="*/ 2147483647 w 282"/>
                  <a:gd name="T107" fmla="*/ 2147483647 h 300"/>
                  <a:gd name="T108" fmla="*/ 2147483647 w 282"/>
                  <a:gd name="T109" fmla="*/ 2147483647 h 300"/>
                  <a:gd name="T110" fmla="*/ 2147483647 w 282"/>
                  <a:gd name="T111" fmla="*/ 2147483647 h 30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82"/>
                  <a:gd name="T169" fmla="*/ 0 h 300"/>
                  <a:gd name="T170" fmla="*/ 282 w 282"/>
                  <a:gd name="T171" fmla="*/ 300 h 300"/>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82" h="300">
                    <a:moveTo>
                      <a:pt x="276" y="156"/>
                    </a:moveTo>
                    <a:lnTo>
                      <a:pt x="276" y="144"/>
                    </a:lnTo>
                    <a:lnTo>
                      <a:pt x="270" y="132"/>
                    </a:lnTo>
                    <a:lnTo>
                      <a:pt x="264" y="126"/>
                    </a:lnTo>
                    <a:lnTo>
                      <a:pt x="264" y="114"/>
                    </a:lnTo>
                    <a:lnTo>
                      <a:pt x="258" y="108"/>
                    </a:lnTo>
                    <a:lnTo>
                      <a:pt x="258" y="102"/>
                    </a:lnTo>
                    <a:lnTo>
                      <a:pt x="276" y="102"/>
                    </a:lnTo>
                    <a:lnTo>
                      <a:pt x="282" y="96"/>
                    </a:lnTo>
                    <a:lnTo>
                      <a:pt x="246" y="90"/>
                    </a:lnTo>
                    <a:lnTo>
                      <a:pt x="228" y="66"/>
                    </a:lnTo>
                    <a:lnTo>
                      <a:pt x="204" y="90"/>
                    </a:lnTo>
                    <a:lnTo>
                      <a:pt x="192" y="90"/>
                    </a:lnTo>
                    <a:lnTo>
                      <a:pt x="168" y="78"/>
                    </a:lnTo>
                    <a:lnTo>
                      <a:pt x="162" y="72"/>
                    </a:lnTo>
                    <a:lnTo>
                      <a:pt x="174" y="60"/>
                    </a:lnTo>
                    <a:lnTo>
                      <a:pt x="180" y="60"/>
                    </a:lnTo>
                    <a:lnTo>
                      <a:pt x="186" y="54"/>
                    </a:lnTo>
                    <a:lnTo>
                      <a:pt x="192" y="54"/>
                    </a:lnTo>
                    <a:lnTo>
                      <a:pt x="192" y="42"/>
                    </a:lnTo>
                    <a:lnTo>
                      <a:pt x="234" y="18"/>
                    </a:lnTo>
                    <a:lnTo>
                      <a:pt x="240" y="12"/>
                    </a:lnTo>
                    <a:lnTo>
                      <a:pt x="240" y="6"/>
                    </a:lnTo>
                    <a:lnTo>
                      <a:pt x="234" y="6"/>
                    </a:lnTo>
                    <a:lnTo>
                      <a:pt x="228" y="0"/>
                    </a:lnTo>
                    <a:lnTo>
                      <a:pt x="222" y="0"/>
                    </a:lnTo>
                    <a:lnTo>
                      <a:pt x="210" y="6"/>
                    </a:lnTo>
                    <a:lnTo>
                      <a:pt x="204" y="18"/>
                    </a:lnTo>
                    <a:lnTo>
                      <a:pt x="198" y="6"/>
                    </a:lnTo>
                    <a:lnTo>
                      <a:pt x="174" y="6"/>
                    </a:lnTo>
                    <a:lnTo>
                      <a:pt x="162" y="12"/>
                    </a:lnTo>
                    <a:lnTo>
                      <a:pt x="156" y="12"/>
                    </a:lnTo>
                    <a:lnTo>
                      <a:pt x="150" y="18"/>
                    </a:lnTo>
                    <a:lnTo>
                      <a:pt x="150" y="30"/>
                    </a:lnTo>
                    <a:lnTo>
                      <a:pt x="144" y="36"/>
                    </a:lnTo>
                    <a:lnTo>
                      <a:pt x="144" y="42"/>
                    </a:lnTo>
                    <a:lnTo>
                      <a:pt x="126" y="42"/>
                    </a:lnTo>
                    <a:lnTo>
                      <a:pt x="120" y="48"/>
                    </a:lnTo>
                    <a:lnTo>
                      <a:pt x="120" y="54"/>
                    </a:lnTo>
                    <a:lnTo>
                      <a:pt x="138" y="54"/>
                    </a:lnTo>
                    <a:lnTo>
                      <a:pt x="144" y="60"/>
                    </a:lnTo>
                    <a:lnTo>
                      <a:pt x="150" y="60"/>
                    </a:lnTo>
                    <a:lnTo>
                      <a:pt x="150" y="66"/>
                    </a:lnTo>
                    <a:lnTo>
                      <a:pt x="144" y="72"/>
                    </a:lnTo>
                    <a:lnTo>
                      <a:pt x="132" y="72"/>
                    </a:lnTo>
                    <a:lnTo>
                      <a:pt x="132" y="78"/>
                    </a:lnTo>
                    <a:lnTo>
                      <a:pt x="126" y="84"/>
                    </a:lnTo>
                    <a:lnTo>
                      <a:pt x="102" y="84"/>
                    </a:lnTo>
                    <a:lnTo>
                      <a:pt x="102" y="90"/>
                    </a:lnTo>
                    <a:lnTo>
                      <a:pt x="90" y="78"/>
                    </a:lnTo>
                    <a:lnTo>
                      <a:pt x="42" y="78"/>
                    </a:lnTo>
                    <a:lnTo>
                      <a:pt x="42" y="102"/>
                    </a:lnTo>
                    <a:lnTo>
                      <a:pt x="54" y="102"/>
                    </a:lnTo>
                    <a:lnTo>
                      <a:pt x="54" y="108"/>
                    </a:lnTo>
                    <a:lnTo>
                      <a:pt x="60" y="114"/>
                    </a:lnTo>
                    <a:lnTo>
                      <a:pt x="42" y="126"/>
                    </a:lnTo>
                    <a:lnTo>
                      <a:pt x="36" y="126"/>
                    </a:lnTo>
                    <a:lnTo>
                      <a:pt x="30" y="132"/>
                    </a:lnTo>
                    <a:lnTo>
                      <a:pt x="30" y="138"/>
                    </a:lnTo>
                    <a:lnTo>
                      <a:pt x="42" y="150"/>
                    </a:lnTo>
                    <a:lnTo>
                      <a:pt x="54" y="156"/>
                    </a:lnTo>
                    <a:lnTo>
                      <a:pt x="60" y="162"/>
                    </a:lnTo>
                    <a:lnTo>
                      <a:pt x="72" y="162"/>
                    </a:lnTo>
                    <a:lnTo>
                      <a:pt x="78" y="156"/>
                    </a:lnTo>
                    <a:lnTo>
                      <a:pt x="96" y="156"/>
                    </a:lnTo>
                    <a:lnTo>
                      <a:pt x="96" y="168"/>
                    </a:lnTo>
                    <a:lnTo>
                      <a:pt x="90" y="174"/>
                    </a:lnTo>
                    <a:lnTo>
                      <a:pt x="72" y="174"/>
                    </a:lnTo>
                    <a:lnTo>
                      <a:pt x="72" y="192"/>
                    </a:lnTo>
                    <a:lnTo>
                      <a:pt x="54" y="192"/>
                    </a:lnTo>
                    <a:lnTo>
                      <a:pt x="48" y="198"/>
                    </a:lnTo>
                    <a:lnTo>
                      <a:pt x="48" y="210"/>
                    </a:lnTo>
                    <a:lnTo>
                      <a:pt x="42" y="222"/>
                    </a:lnTo>
                    <a:lnTo>
                      <a:pt x="42" y="234"/>
                    </a:lnTo>
                    <a:lnTo>
                      <a:pt x="18" y="234"/>
                    </a:lnTo>
                    <a:lnTo>
                      <a:pt x="12" y="240"/>
                    </a:lnTo>
                    <a:lnTo>
                      <a:pt x="6" y="240"/>
                    </a:lnTo>
                    <a:lnTo>
                      <a:pt x="6" y="246"/>
                    </a:lnTo>
                    <a:lnTo>
                      <a:pt x="12" y="246"/>
                    </a:lnTo>
                    <a:lnTo>
                      <a:pt x="18" y="252"/>
                    </a:lnTo>
                    <a:lnTo>
                      <a:pt x="6" y="252"/>
                    </a:lnTo>
                    <a:lnTo>
                      <a:pt x="0" y="258"/>
                    </a:lnTo>
                    <a:lnTo>
                      <a:pt x="0" y="270"/>
                    </a:lnTo>
                    <a:lnTo>
                      <a:pt x="42" y="270"/>
                    </a:lnTo>
                    <a:lnTo>
                      <a:pt x="24" y="288"/>
                    </a:lnTo>
                    <a:lnTo>
                      <a:pt x="30" y="282"/>
                    </a:lnTo>
                    <a:lnTo>
                      <a:pt x="48" y="282"/>
                    </a:lnTo>
                    <a:lnTo>
                      <a:pt x="48" y="288"/>
                    </a:lnTo>
                    <a:lnTo>
                      <a:pt x="42" y="288"/>
                    </a:lnTo>
                    <a:lnTo>
                      <a:pt x="36" y="294"/>
                    </a:lnTo>
                    <a:lnTo>
                      <a:pt x="30" y="294"/>
                    </a:lnTo>
                    <a:lnTo>
                      <a:pt x="36" y="300"/>
                    </a:lnTo>
                    <a:lnTo>
                      <a:pt x="60" y="300"/>
                    </a:lnTo>
                    <a:lnTo>
                      <a:pt x="96" y="288"/>
                    </a:lnTo>
                    <a:lnTo>
                      <a:pt x="108" y="282"/>
                    </a:lnTo>
                    <a:lnTo>
                      <a:pt x="120" y="270"/>
                    </a:lnTo>
                    <a:lnTo>
                      <a:pt x="120" y="264"/>
                    </a:lnTo>
                    <a:lnTo>
                      <a:pt x="132" y="270"/>
                    </a:lnTo>
                    <a:lnTo>
                      <a:pt x="138" y="270"/>
                    </a:lnTo>
                    <a:lnTo>
                      <a:pt x="150" y="264"/>
                    </a:lnTo>
                    <a:lnTo>
                      <a:pt x="162" y="252"/>
                    </a:lnTo>
                    <a:lnTo>
                      <a:pt x="180" y="246"/>
                    </a:lnTo>
                    <a:lnTo>
                      <a:pt x="204" y="246"/>
                    </a:lnTo>
                    <a:lnTo>
                      <a:pt x="210" y="240"/>
                    </a:lnTo>
                    <a:lnTo>
                      <a:pt x="252" y="240"/>
                    </a:lnTo>
                    <a:lnTo>
                      <a:pt x="246" y="222"/>
                    </a:lnTo>
                    <a:lnTo>
                      <a:pt x="264" y="222"/>
                    </a:lnTo>
                    <a:lnTo>
                      <a:pt x="264" y="198"/>
                    </a:lnTo>
                    <a:lnTo>
                      <a:pt x="270" y="192"/>
                    </a:lnTo>
                    <a:lnTo>
                      <a:pt x="270" y="180"/>
                    </a:lnTo>
                    <a:lnTo>
                      <a:pt x="276" y="168"/>
                    </a:lnTo>
                    <a:lnTo>
                      <a:pt x="276" y="156"/>
                    </a:lnTo>
                    <a:close/>
                  </a:path>
                </a:pathLst>
              </a:custGeom>
              <a:solidFill>
                <a:srgbClr val="4966AC"/>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91" name="Iceland" descr="© INSCALE GmbH, 05.05.2010&#10;http://www.presentationload.com/">
                <a:extLst>
                  <a:ext uri="{FF2B5EF4-FFF2-40B4-BE49-F238E27FC236}">
                    <a16:creationId xmlns:a16="http://schemas.microsoft.com/office/drawing/2014/main" id="{5A2D1810-15BF-4902-92C1-7FFE400938AE}"/>
                  </a:ext>
                </a:extLst>
              </p:cNvPr>
              <p:cNvSpPr>
                <a:spLocks/>
              </p:cNvSpPr>
              <p:nvPr/>
            </p:nvSpPr>
            <p:spPr bwMode="gray">
              <a:xfrm>
                <a:off x="3767008" y="2247812"/>
                <a:ext cx="226187" cy="97031"/>
              </a:xfrm>
              <a:custGeom>
                <a:avLst/>
                <a:gdLst>
                  <a:gd name="T0" fmla="*/ 2147483647 w 570"/>
                  <a:gd name="T1" fmla="*/ 2147483647 h 222"/>
                  <a:gd name="T2" fmla="*/ 2147483647 w 570"/>
                  <a:gd name="T3" fmla="*/ 2147483647 h 222"/>
                  <a:gd name="T4" fmla="*/ 2147483647 w 570"/>
                  <a:gd name="T5" fmla="*/ 2147483647 h 222"/>
                  <a:gd name="T6" fmla="*/ 2147483647 w 570"/>
                  <a:gd name="T7" fmla="*/ 2147483647 h 222"/>
                  <a:gd name="T8" fmla="*/ 2147483647 w 570"/>
                  <a:gd name="T9" fmla="*/ 2147483647 h 222"/>
                  <a:gd name="T10" fmla="*/ 2147483647 w 570"/>
                  <a:gd name="T11" fmla="*/ 2147483647 h 222"/>
                  <a:gd name="T12" fmla="*/ 2147483647 w 570"/>
                  <a:gd name="T13" fmla="*/ 2147483647 h 222"/>
                  <a:gd name="T14" fmla="*/ 2147483647 w 570"/>
                  <a:gd name="T15" fmla="*/ 2147483647 h 222"/>
                  <a:gd name="T16" fmla="*/ 2147483647 w 570"/>
                  <a:gd name="T17" fmla="*/ 2147483647 h 222"/>
                  <a:gd name="T18" fmla="*/ 2147483647 w 570"/>
                  <a:gd name="T19" fmla="*/ 2147483647 h 222"/>
                  <a:gd name="T20" fmla="*/ 2147483647 w 570"/>
                  <a:gd name="T21" fmla="*/ 2147483647 h 222"/>
                  <a:gd name="T22" fmla="*/ 2147483647 w 570"/>
                  <a:gd name="T23" fmla="*/ 2147483647 h 222"/>
                  <a:gd name="T24" fmla="*/ 2147483647 w 570"/>
                  <a:gd name="T25" fmla="*/ 2147483647 h 222"/>
                  <a:gd name="T26" fmla="*/ 2147483647 w 570"/>
                  <a:gd name="T27" fmla="*/ 2147483647 h 222"/>
                  <a:gd name="T28" fmla="*/ 2147483647 w 570"/>
                  <a:gd name="T29" fmla="*/ 2147483647 h 222"/>
                  <a:gd name="T30" fmla="*/ 2147483647 w 570"/>
                  <a:gd name="T31" fmla="*/ 2147483647 h 222"/>
                  <a:gd name="T32" fmla="*/ 2147483647 w 570"/>
                  <a:gd name="T33" fmla="*/ 2147483647 h 222"/>
                  <a:gd name="T34" fmla="*/ 2147483647 w 570"/>
                  <a:gd name="T35" fmla="*/ 2147483647 h 222"/>
                  <a:gd name="T36" fmla="*/ 2147483647 w 570"/>
                  <a:gd name="T37" fmla="*/ 2147483647 h 222"/>
                  <a:gd name="T38" fmla="*/ 2147483647 w 570"/>
                  <a:gd name="T39" fmla="*/ 2147483647 h 222"/>
                  <a:gd name="T40" fmla="*/ 2147483647 w 570"/>
                  <a:gd name="T41" fmla="*/ 2147483647 h 222"/>
                  <a:gd name="T42" fmla="*/ 2147483647 w 570"/>
                  <a:gd name="T43" fmla="*/ 2147483647 h 222"/>
                  <a:gd name="T44" fmla="*/ 2147483647 w 570"/>
                  <a:gd name="T45" fmla="*/ 2147483647 h 222"/>
                  <a:gd name="T46" fmla="*/ 2147483647 w 570"/>
                  <a:gd name="T47" fmla="*/ 2147483647 h 222"/>
                  <a:gd name="T48" fmla="*/ 2147483647 w 570"/>
                  <a:gd name="T49" fmla="*/ 2147483647 h 222"/>
                  <a:gd name="T50" fmla="*/ 2147483647 w 570"/>
                  <a:gd name="T51" fmla="*/ 2147483647 h 222"/>
                  <a:gd name="T52" fmla="*/ 2147483647 w 570"/>
                  <a:gd name="T53" fmla="*/ 2147483647 h 222"/>
                  <a:gd name="T54" fmla="*/ 2147483647 w 570"/>
                  <a:gd name="T55" fmla="*/ 2147483647 h 222"/>
                  <a:gd name="T56" fmla="*/ 2147483647 w 570"/>
                  <a:gd name="T57" fmla="*/ 2147483647 h 222"/>
                  <a:gd name="T58" fmla="*/ 2147483647 w 570"/>
                  <a:gd name="T59" fmla="*/ 2147483647 h 222"/>
                  <a:gd name="T60" fmla="*/ 2147483647 w 570"/>
                  <a:gd name="T61" fmla="*/ 2147483647 h 222"/>
                  <a:gd name="T62" fmla="*/ 2147483647 w 570"/>
                  <a:gd name="T63" fmla="*/ 2147483647 h 222"/>
                  <a:gd name="T64" fmla="*/ 2147483647 w 570"/>
                  <a:gd name="T65" fmla="*/ 2147483647 h 222"/>
                  <a:gd name="T66" fmla="*/ 0 w 570"/>
                  <a:gd name="T67" fmla="*/ 2147483647 h 222"/>
                  <a:gd name="T68" fmla="*/ 2147483647 w 570"/>
                  <a:gd name="T69" fmla="*/ 2147483647 h 222"/>
                  <a:gd name="T70" fmla="*/ 2147483647 w 570"/>
                  <a:gd name="T71" fmla="*/ 2147483647 h 222"/>
                  <a:gd name="T72" fmla="*/ 2147483647 w 570"/>
                  <a:gd name="T73" fmla="*/ 2147483647 h 222"/>
                  <a:gd name="T74" fmla="*/ 2147483647 w 570"/>
                  <a:gd name="T75" fmla="*/ 2147483647 h 222"/>
                  <a:gd name="T76" fmla="*/ 2147483647 w 570"/>
                  <a:gd name="T77" fmla="*/ 2147483647 h 222"/>
                  <a:gd name="T78" fmla="*/ 2147483647 w 570"/>
                  <a:gd name="T79" fmla="*/ 2147483647 h 222"/>
                  <a:gd name="T80" fmla="*/ 2147483647 w 570"/>
                  <a:gd name="T81" fmla="*/ 2147483647 h 222"/>
                  <a:gd name="T82" fmla="*/ 2147483647 w 570"/>
                  <a:gd name="T83" fmla="*/ 2147483647 h 222"/>
                  <a:gd name="T84" fmla="*/ 2147483647 w 570"/>
                  <a:gd name="T85" fmla="*/ 2147483647 h 222"/>
                  <a:gd name="T86" fmla="*/ 2147483647 w 570"/>
                  <a:gd name="T87" fmla="*/ 2147483647 h 222"/>
                  <a:gd name="T88" fmla="*/ 2147483647 w 570"/>
                  <a:gd name="T89" fmla="*/ 2147483647 h 222"/>
                  <a:gd name="T90" fmla="*/ 2147483647 w 570"/>
                  <a:gd name="T91" fmla="*/ 2147483647 h 222"/>
                  <a:gd name="T92" fmla="*/ 2147483647 w 570"/>
                  <a:gd name="T93" fmla="*/ 2147483647 h 22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70"/>
                  <a:gd name="T142" fmla="*/ 0 h 222"/>
                  <a:gd name="T143" fmla="*/ 570 w 570"/>
                  <a:gd name="T144" fmla="*/ 222 h 22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70" h="222">
                    <a:moveTo>
                      <a:pt x="252" y="222"/>
                    </a:moveTo>
                    <a:lnTo>
                      <a:pt x="270" y="216"/>
                    </a:lnTo>
                    <a:lnTo>
                      <a:pt x="306" y="216"/>
                    </a:lnTo>
                    <a:lnTo>
                      <a:pt x="312" y="204"/>
                    </a:lnTo>
                    <a:lnTo>
                      <a:pt x="312" y="192"/>
                    </a:lnTo>
                    <a:lnTo>
                      <a:pt x="324" y="198"/>
                    </a:lnTo>
                    <a:lnTo>
                      <a:pt x="330" y="198"/>
                    </a:lnTo>
                    <a:lnTo>
                      <a:pt x="342" y="204"/>
                    </a:lnTo>
                    <a:lnTo>
                      <a:pt x="348" y="204"/>
                    </a:lnTo>
                    <a:lnTo>
                      <a:pt x="360" y="192"/>
                    </a:lnTo>
                    <a:lnTo>
                      <a:pt x="360" y="186"/>
                    </a:lnTo>
                    <a:lnTo>
                      <a:pt x="372" y="186"/>
                    </a:lnTo>
                    <a:lnTo>
                      <a:pt x="378" y="192"/>
                    </a:lnTo>
                    <a:lnTo>
                      <a:pt x="390" y="192"/>
                    </a:lnTo>
                    <a:lnTo>
                      <a:pt x="414" y="180"/>
                    </a:lnTo>
                    <a:lnTo>
                      <a:pt x="432" y="168"/>
                    </a:lnTo>
                    <a:lnTo>
                      <a:pt x="456" y="156"/>
                    </a:lnTo>
                    <a:lnTo>
                      <a:pt x="474" y="156"/>
                    </a:lnTo>
                    <a:lnTo>
                      <a:pt x="480" y="162"/>
                    </a:lnTo>
                    <a:lnTo>
                      <a:pt x="492" y="162"/>
                    </a:lnTo>
                    <a:lnTo>
                      <a:pt x="504" y="156"/>
                    </a:lnTo>
                    <a:lnTo>
                      <a:pt x="510" y="144"/>
                    </a:lnTo>
                    <a:lnTo>
                      <a:pt x="510" y="138"/>
                    </a:lnTo>
                    <a:lnTo>
                      <a:pt x="516" y="126"/>
                    </a:lnTo>
                    <a:lnTo>
                      <a:pt x="528" y="126"/>
                    </a:lnTo>
                    <a:lnTo>
                      <a:pt x="552" y="114"/>
                    </a:lnTo>
                    <a:lnTo>
                      <a:pt x="564" y="102"/>
                    </a:lnTo>
                    <a:lnTo>
                      <a:pt x="570" y="102"/>
                    </a:lnTo>
                    <a:lnTo>
                      <a:pt x="552" y="102"/>
                    </a:lnTo>
                    <a:lnTo>
                      <a:pt x="570" y="84"/>
                    </a:lnTo>
                    <a:lnTo>
                      <a:pt x="570" y="78"/>
                    </a:lnTo>
                    <a:lnTo>
                      <a:pt x="564" y="72"/>
                    </a:lnTo>
                    <a:lnTo>
                      <a:pt x="552" y="66"/>
                    </a:lnTo>
                    <a:lnTo>
                      <a:pt x="540" y="66"/>
                    </a:lnTo>
                    <a:lnTo>
                      <a:pt x="534" y="72"/>
                    </a:lnTo>
                    <a:lnTo>
                      <a:pt x="528" y="72"/>
                    </a:lnTo>
                    <a:lnTo>
                      <a:pt x="534" y="60"/>
                    </a:lnTo>
                    <a:lnTo>
                      <a:pt x="504" y="60"/>
                    </a:lnTo>
                    <a:lnTo>
                      <a:pt x="522" y="36"/>
                    </a:lnTo>
                    <a:lnTo>
                      <a:pt x="504" y="36"/>
                    </a:lnTo>
                    <a:lnTo>
                      <a:pt x="510" y="18"/>
                    </a:lnTo>
                    <a:lnTo>
                      <a:pt x="480" y="24"/>
                    </a:lnTo>
                    <a:lnTo>
                      <a:pt x="474" y="18"/>
                    </a:lnTo>
                    <a:lnTo>
                      <a:pt x="462" y="12"/>
                    </a:lnTo>
                    <a:lnTo>
                      <a:pt x="456" y="6"/>
                    </a:lnTo>
                    <a:lnTo>
                      <a:pt x="444" y="0"/>
                    </a:lnTo>
                    <a:lnTo>
                      <a:pt x="432" y="0"/>
                    </a:lnTo>
                    <a:lnTo>
                      <a:pt x="432" y="24"/>
                    </a:lnTo>
                    <a:lnTo>
                      <a:pt x="414" y="30"/>
                    </a:lnTo>
                    <a:lnTo>
                      <a:pt x="408" y="30"/>
                    </a:lnTo>
                    <a:lnTo>
                      <a:pt x="402" y="24"/>
                    </a:lnTo>
                    <a:lnTo>
                      <a:pt x="378" y="24"/>
                    </a:lnTo>
                    <a:lnTo>
                      <a:pt x="372" y="30"/>
                    </a:lnTo>
                    <a:lnTo>
                      <a:pt x="366" y="42"/>
                    </a:lnTo>
                    <a:lnTo>
                      <a:pt x="360" y="36"/>
                    </a:lnTo>
                    <a:lnTo>
                      <a:pt x="348" y="30"/>
                    </a:lnTo>
                    <a:lnTo>
                      <a:pt x="342" y="24"/>
                    </a:lnTo>
                    <a:lnTo>
                      <a:pt x="336" y="24"/>
                    </a:lnTo>
                    <a:lnTo>
                      <a:pt x="330" y="30"/>
                    </a:lnTo>
                    <a:lnTo>
                      <a:pt x="330" y="60"/>
                    </a:lnTo>
                    <a:lnTo>
                      <a:pt x="324" y="48"/>
                    </a:lnTo>
                    <a:lnTo>
                      <a:pt x="318" y="42"/>
                    </a:lnTo>
                    <a:lnTo>
                      <a:pt x="306" y="36"/>
                    </a:lnTo>
                    <a:lnTo>
                      <a:pt x="300" y="24"/>
                    </a:lnTo>
                    <a:lnTo>
                      <a:pt x="288" y="24"/>
                    </a:lnTo>
                    <a:lnTo>
                      <a:pt x="288" y="30"/>
                    </a:lnTo>
                    <a:lnTo>
                      <a:pt x="270" y="30"/>
                    </a:lnTo>
                    <a:lnTo>
                      <a:pt x="264" y="36"/>
                    </a:lnTo>
                    <a:lnTo>
                      <a:pt x="264" y="54"/>
                    </a:lnTo>
                    <a:lnTo>
                      <a:pt x="252" y="54"/>
                    </a:lnTo>
                    <a:lnTo>
                      <a:pt x="240" y="42"/>
                    </a:lnTo>
                    <a:lnTo>
                      <a:pt x="228" y="36"/>
                    </a:lnTo>
                    <a:lnTo>
                      <a:pt x="222" y="30"/>
                    </a:lnTo>
                    <a:lnTo>
                      <a:pt x="216" y="30"/>
                    </a:lnTo>
                    <a:lnTo>
                      <a:pt x="216" y="48"/>
                    </a:lnTo>
                    <a:lnTo>
                      <a:pt x="210" y="60"/>
                    </a:lnTo>
                    <a:lnTo>
                      <a:pt x="210" y="72"/>
                    </a:lnTo>
                    <a:lnTo>
                      <a:pt x="204" y="72"/>
                    </a:lnTo>
                    <a:lnTo>
                      <a:pt x="192" y="60"/>
                    </a:lnTo>
                    <a:lnTo>
                      <a:pt x="186" y="60"/>
                    </a:lnTo>
                    <a:lnTo>
                      <a:pt x="162" y="84"/>
                    </a:lnTo>
                    <a:lnTo>
                      <a:pt x="162" y="90"/>
                    </a:lnTo>
                    <a:lnTo>
                      <a:pt x="156" y="84"/>
                    </a:lnTo>
                    <a:lnTo>
                      <a:pt x="144" y="60"/>
                    </a:lnTo>
                    <a:lnTo>
                      <a:pt x="162" y="42"/>
                    </a:lnTo>
                    <a:lnTo>
                      <a:pt x="162" y="36"/>
                    </a:lnTo>
                    <a:lnTo>
                      <a:pt x="156" y="30"/>
                    </a:lnTo>
                    <a:lnTo>
                      <a:pt x="108" y="6"/>
                    </a:lnTo>
                    <a:lnTo>
                      <a:pt x="96" y="6"/>
                    </a:lnTo>
                    <a:lnTo>
                      <a:pt x="96" y="36"/>
                    </a:lnTo>
                    <a:lnTo>
                      <a:pt x="90" y="36"/>
                    </a:lnTo>
                    <a:lnTo>
                      <a:pt x="84" y="30"/>
                    </a:lnTo>
                    <a:lnTo>
                      <a:pt x="78" y="30"/>
                    </a:lnTo>
                    <a:lnTo>
                      <a:pt x="66" y="24"/>
                    </a:lnTo>
                    <a:lnTo>
                      <a:pt x="54" y="24"/>
                    </a:lnTo>
                    <a:lnTo>
                      <a:pt x="42" y="30"/>
                    </a:lnTo>
                    <a:lnTo>
                      <a:pt x="30" y="42"/>
                    </a:lnTo>
                    <a:lnTo>
                      <a:pt x="48" y="54"/>
                    </a:lnTo>
                    <a:lnTo>
                      <a:pt x="30" y="54"/>
                    </a:lnTo>
                    <a:lnTo>
                      <a:pt x="18" y="60"/>
                    </a:lnTo>
                    <a:lnTo>
                      <a:pt x="12" y="66"/>
                    </a:lnTo>
                    <a:lnTo>
                      <a:pt x="0" y="66"/>
                    </a:lnTo>
                    <a:lnTo>
                      <a:pt x="6" y="72"/>
                    </a:lnTo>
                    <a:lnTo>
                      <a:pt x="18" y="78"/>
                    </a:lnTo>
                    <a:lnTo>
                      <a:pt x="30" y="78"/>
                    </a:lnTo>
                    <a:lnTo>
                      <a:pt x="54" y="66"/>
                    </a:lnTo>
                    <a:lnTo>
                      <a:pt x="66" y="66"/>
                    </a:lnTo>
                    <a:lnTo>
                      <a:pt x="72" y="60"/>
                    </a:lnTo>
                    <a:lnTo>
                      <a:pt x="78" y="60"/>
                    </a:lnTo>
                    <a:lnTo>
                      <a:pt x="126" y="72"/>
                    </a:lnTo>
                    <a:lnTo>
                      <a:pt x="90" y="90"/>
                    </a:lnTo>
                    <a:lnTo>
                      <a:pt x="102" y="90"/>
                    </a:lnTo>
                    <a:lnTo>
                      <a:pt x="108" y="96"/>
                    </a:lnTo>
                    <a:lnTo>
                      <a:pt x="114" y="96"/>
                    </a:lnTo>
                    <a:lnTo>
                      <a:pt x="120" y="102"/>
                    </a:lnTo>
                    <a:lnTo>
                      <a:pt x="114" y="102"/>
                    </a:lnTo>
                    <a:lnTo>
                      <a:pt x="108" y="108"/>
                    </a:lnTo>
                    <a:lnTo>
                      <a:pt x="6" y="108"/>
                    </a:lnTo>
                    <a:lnTo>
                      <a:pt x="0" y="114"/>
                    </a:lnTo>
                    <a:lnTo>
                      <a:pt x="12" y="120"/>
                    </a:lnTo>
                    <a:lnTo>
                      <a:pt x="60" y="120"/>
                    </a:lnTo>
                    <a:lnTo>
                      <a:pt x="84" y="132"/>
                    </a:lnTo>
                    <a:lnTo>
                      <a:pt x="90" y="138"/>
                    </a:lnTo>
                    <a:lnTo>
                      <a:pt x="126" y="132"/>
                    </a:lnTo>
                    <a:lnTo>
                      <a:pt x="108" y="150"/>
                    </a:lnTo>
                    <a:lnTo>
                      <a:pt x="120" y="156"/>
                    </a:lnTo>
                    <a:lnTo>
                      <a:pt x="114" y="162"/>
                    </a:lnTo>
                    <a:lnTo>
                      <a:pt x="114" y="168"/>
                    </a:lnTo>
                    <a:lnTo>
                      <a:pt x="108" y="174"/>
                    </a:lnTo>
                    <a:lnTo>
                      <a:pt x="90" y="174"/>
                    </a:lnTo>
                    <a:lnTo>
                      <a:pt x="78" y="180"/>
                    </a:lnTo>
                    <a:lnTo>
                      <a:pt x="54" y="180"/>
                    </a:lnTo>
                    <a:lnTo>
                      <a:pt x="54" y="186"/>
                    </a:lnTo>
                    <a:lnTo>
                      <a:pt x="66" y="192"/>
                    </a:lnTo>
                    <a:lnTo>
                      <a:pt x="120" y="192"/>
                    </a:lnTo>
                    <a:lnTo>
                      <a:pt x="132" y="186"/>
                    </a:lnTo>
                    <a:lnTo>
                      <a:pt x="138" y="180"/>
                    </a:lnTo>
                    <a:lnTo>
                      <a:pt x="168" y="198"/>
                    </a:lnTo>
                    <a:lnTo>
                      <a:pt x="180" y="186"/>
                    </a:lnTo>
                    <a:lnTo>
                      <a:pt x="180" y="198"/>
                    </a:lnTo>
                    <a:lnTo>
                      <a:pt x="228" y="222"/>
                    </a:lnTo>
                    <a:lnTo>
                      <a:pt x="252" y="222"/>
                    </a:lnTo>
                    <a:close/>
                  </a:path>
                </a:pathLst>
              </a:custGeom>
              <a:solidFill>
                <a:srgbClr val="9D90A0">
                  <a:lumMod val="40000"/>
                  <a:lumOff val="60000"/>
                </a:srgbClr>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92" name="Hungary" descr="© INSCALE GmbH, 05.05.2010&#10;http://www.presentationload.com/">
                <a:extLst>
                  <a:ext uri="{FF2B5EF4-FFF2-40B4-BE49-F238E27FC236}">
                    <a16:creationId xmlns:a16="http://schemas.microsoft.com/office/drawing/2014/main" id="{B00EDAED-00D6-4DD6-ACFB-3E49B2B3D4E0}"/>
                  </a:ext>
                </a:extLst>
              </p:cNvPr>
              <p:cNvSpPr>
                <a:spLocks/>
              </p:cNvSpPr>
              <p:nvPr/>
            </p:nvSpPr>
            <p:spPr bwMode="gray">
              <a:xfrm>
                <a:off x="4649918" y="2838662"/>
                <a:ext cx="168470" cy="98764"/>
              </a:xfrm>
              <a:custGeom>
                <a:avLst/>
                <a:gdLst>
                  <a:gd name="T0" fmla="*/ 2147483647 w 426"/>
                  <a:gd name="T1" fmla="*/ 2147483647 h 222"/>
                  <a:gd name="T2" fmla="*/ 2147483647 w 426"/>
                  <a:gd name="T3" fmla="*/ 2147483647 h 222"/>
                  <a:gd name="T4" fmla="*/ 2147483647 w 426"/>
                  <a:gd name="T5" fmla="*/ 2147483647 h 222"/>
                  <a:gd name="T6" fmla="*/ 0 w 426"/>
                  <a:gd name="T7" fmla="*/ 2147483647 h 222"/>
                  <a:gd name="T8" fmla="*/ 2147483647 w 426"/>
                  <a:gd name="T9" fmla="*/ 2147483647 h 222"/>
                  <a:gd name="T10" fmla="*/ 2147483647 w 426"/>
                  <a:gd name="T11" fmla="*/ 2147483647 h 222"/>
                  <a:gd name="T12" fmla="*/ 2147483647 w 426"/>
                  <a:gd name="T13" fmla="*/ 2147483647 h 222"/>
                  <a:gd name="T14" fmla="*/ 2147483647 w 426"/>
                  <a:gd name="T15" fmla="*/ 2147483647 h 222"/>
                  <a:gd name="T16" fmla="*/ 2147483647 w 426"/>
                  <a:gd name="T17" fmla="*/ 2147483647 h 222"/>
                  <a:gd name="T18" fmla="*/ 2147483647 w 426"/>
                  <a:gd name="T19" fmla="*/ 2147483647 h 222"/>
                  <a:gd name="T20" fmla="*/ 2147483647 w 426"/>
                  <a:gd name="T21" fmla="*/ 2147483647 h 222"/>
                  <a:gd name="T22" fmla="*/ 2147483647 w 426"/>
                  <a:gd name="T23" fmla="*/ 2147483647 h 222"/>
                  <a:gd name="T24" fmla="*/ 2147483647 w 426"/>
                  <a:gd name="T25" fmla="*/ 2147483647 h 222"/>
                  <a:gd name="T26" fmla="*/ 2147483647 w 426"/>
                  <a:gd name="T27" fmla="*/ 2147483647 h 222"/>
                  <a:gd name="T28" fmla="*/ 2147483647 w 426"/>
                  <a:gd name="T29" fmla="*/ 2147483647 h 222"/>
                  <a:gd name="T30" fmla="*/ 2147483647 w 426"/>
                  <a:gd name="T31" fmla="*/ 2147483647 h 222"/>
                  <a:gd name="T32" fmla="*/ 2147483647 w 426"/>
                  <a:gd name="T33" fmla="*/ 2147483647 h 222"/>
                  <a:gd name="T34" fmla="*/ 2147483647 w 426"/>
                  <a:gd name="T35" fmla="*/ 2147483647 h 222"/>
                  <a:gd name="T36" fmla="*/ 2147483647 w 426"/>
                  <a:gd name="T37" fmla="*/ 2147483647 h 222"/>
                  <a:gd name="T38" fmla="*/ 2147483647 w 426"/>
                  <a:gd name="T39" fmla="*/ 2147483647 h 222"/>
                  <a:gd name="T40" fmla="*/ 2147483647 w 426"/>
                  <a:gd name="T41" fmla="*/ 2147483647 h 222"/>
                  <a:gd name="T42" fmla="*/ 2147483647 w 426"/>
                  <a:gd name="T43" fmla="*/ 2147483647 h 222"/>
                  <a:gd name="T44" fmla="*/ 2147483647 w 426"/>
                  <a:gd name="T45" fmla="*/ 2147483647 h 222"/>
                  <a:gd name="T46" fmla="*/ 2147483647 w 426"/>
                  <a:gd name="T47" fmla="*/ 2147483647 h 222"/>
                  <a:gd name="T48" fmla="*/ 2147483647 w 426"/>
                  <a:gd name="T49" fmla="*/ 0 h 222"/>
                  <a:gd name="T50" fmla="*/ 2147483647 w 426"/>
                  <a:gd name="T51" fmla="*/ 2147483647 h 222"/>
                  <a:gd name="T52" fmla="*/ 2147483647 w 426"/>
                  <a:gd name="T53" fmla="*/ 0 h 222"/>
                  <a:gd name="T54" fmla="*/ 2147483647 w 426"/>
                  <a:gd name="T55" fmla="*/ 2147483647 h 222"/>
                  <a:gd name="T56" fmla="*/ 2147483647 w 426"/>
                  <a:gd name="T57" fmla="*/ 2147483647 h 222"/>
                  <a:gd name="T58" fmla="*/ 2147483647 w 426"/>
                  <a:gd name="T59" fmla="*/ 2147483647 h 222"/>
                  <a:gd name="T60" fmla="*/ 2147483647 w 426"/>
                  <a:gd name="T61" fmla="*/ 2147483647 h 222"/>
                  <a:gd name="T62" fmla="*/ 2147483647 w 426"/>
                  <a:gd name="T63" fmla="*/ 2147483647 h 222"/>
                  <a:gd name="T64" fmla="*/ 2147483647 w 426"/>
                  <a:gd name="T65" fmla="*/ 2147483647 h 222"/>
                  <a:gd name="T66" fmla="*/ 2147483647 w 426"/>
                  <a:gd name="T67" fmla="*/ 2147483647 h 222"/>
                  <a:gd name="T68" fmla="*/ 2147483647 w 426"/>
                  <a:gd name="T69" fmla="*/ 2147483647 h 222"/>
                  <a:gd name="T70" fmla="*/ 2147483647 w 426"/>
                  <a:gd name="T71" fmla="*/ 2147483647 h 22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26"/>
                  <a:gd name="T109" fmla="*/ 0 h 222"/>
                  <a:gd name="T110" fmla="*/ 426 w 426"/>
                  <a:gd name="T111" fmla="*/ 222 h 222"/>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26" h="222">
                    <a:moveTo>
                      <a:pt x="42" y="66"/>
                    </a:moveTo>
                    <a:lnTo>
                      <a:pt x="24" y="66"/>
                    </a:lnTo>
                    <a:lnTo>
                      <a:pt x="18" y="78"/>
                    </a:lnTo>
                    <a:lnTo>
                      <a:pt x="30" y="78"/>
                    </a:lnTo>
                    <a:lnTo>
                      <a:pt x="18" y="96"/>
                    </a:lnTo>
                    <a:lnTo>
                      <a:pt x="18" y="120"/>
                    </a:lnTo>
                    <a:lnTo>
                      <a:pt x="0" y="120"/>
                    </a:lnTo>
                    <a:lnTo>
                      <a:pt x="0" y="126"/>
                    </a:lnTo>
                    <a:lnTo>
                      <a:pt x="6" y="132"/>
                    </a:lnTo>
                    <a:lnTo>
                      <a:pt x="12" y="150"/>
                    </a:lnTo>
                    <a:lnTo>
                      <a:pt x="30" y="162"/>
                    </a:lnTo>
                    <a:lnTo>
                      <a:pt x="42" y="168"/>
                    </a:lnTo>
                    <a:lnTo>
                      <a:pt x="48" y="174"/>
                    </a:lnTo>
                    <a:lnTo>
                      <a:pt x="48" y="180"/>
                    </a:lnTo>
                    <a:lnTo>
                      <a:pt x="60" y="192"/>
                    </a:lnTo>
                    <a:lnTo>
                      <a:pt x="72" y="198"/>
                    </a:lnTo>
                    <a:lnTo>
                      <a:pt x="78" y="204"/>
                    </a:lnTo>
                    <a:lnTo>
                      <a:pt x="90" y="210"/>
                    </a:lnTo>
                    <a:lnTo>
                      <a:pt x="108" y="210"/>
                    </a:lnTo>
                    <a:lnTo>
                      <a:pt x="114" y="222"/>
                    </a:lnTo>
                    <a:lnTo>
                      <a:pt x="156" y="216"/>
                    </a:lnTo>
                    <a:lnTo>
                      <a:pt x="168" y="210"/>
                    </a:lnTo>
                    <a:lnTo>
                      <a:pt x="174" y="204"/>
                    </a:lnTo>
                    <a:lnTo>
                      <a:pt x="198" y="204"/>
                    </a:lnTo>
                    <a:lnTo>
                      <a:pt x="216" y="186"/>
                    </a:lnTo>
                    <a:lnTo>
                      <a:pt x="240" y="186"/>
                    </a:lnTo>
                    <a:lnTo>
                      <a:pt x="258" y="198"/>
                    </a:lnTo>
                    <a:lnTo>
                      <a:pt x="288" y="192"/>
                    </a:lnTo>
                    <a:lnTo>
                      <a:pt x="288" y="174"/>
                    </a:lnTo>
                    <a:lnTo>
                      <a:pt x="306" y="180"/>
                    </a:lnTo>
                    <a:lnTo>
                      <a:pt x="312" y="174"/>
                    </a:lnTo>
                    <a:lnTo>
                      <a:pt x="324" y="168"/>
                    </a:lnTo>
                    <a:lnTo>
                      <a:pt x="330" y="162"/>
                    </a:lnTo>
                    <a:lnTo>
                      <a:pt x="330" y="144"/>
                    </a:lnTo>
                    <a:lnTo>
                      <a:pt x="336" y="138"/>
                    </a:lnTo>
                    <a:lnTo>
                      <a:pt x="348" y="132"/>
                    </a:lnTo>
                    <a:lnTo>
                      <a:pt x="366" y="114"/>
                    </a:lnTo>
                    <a:lnTo>
                      <a:pt x="366" y="72"/>
                    </a:lnTo>
                    <a:lnTo>
                      <a:pt x="378" y="60"/>
                    </a:lnTo>
                    <a:lnTo>
                      <a:pt x="408" y="60"/>
                    </a:lnTo>
                    <a:lnTo>
                      <a:pt x="426" y="42"/>
                    </a:lnTo>
                    <a:lnTo>
                      <a:pt x="420" y="36"/>
                    </a:lnTo>
                    <a:lnTo>
                      <a:pt x="408" y="36"/>
                    </a:lnTo>
                    <a:lnTo>
                      <a:pt x="402" y="30"/>
                    </a:lnTo>
                    <a:lnTo>
                      <a:pt x="396" y="30"/>
                    </a:lnTo>
                    <a:lnTo>
                      <a:pt x="372" y="6"/>
                    </a:lnTo>
                    <a:lnTo>
                      <a:pt x="348" y="6"/>
                    </a:lnTo>
                    <a:lnTo>
                      <a:pt x="336" y="12"/>
                    </a:lnTo>
                    <a:lnTo>
                      <a:pt x="324" y="12"/>
                    </a:lnTo>
                    <a:lnTo>
                      <a:pt x="324" y="0"/>
                    </a:lnTo>
                    <a:lnTo>
                      <a:pt x="312" y="0"/>
                    </a:lnTo>
                    <a:lnTo>
                      <a:pt x="312" y="18"/>
                    </a:lnTo>
                    <a:lnTo>
                      <a:pt x="294" y="12"/>
                    </a:lnTo>
                    <a:lnTo>
                      <a:pt x="294" y="0"/>
                    </a:lnTo>
                    <a:lnTo>
                      <a:pt x="270" y="0"/>
                    </a:lnTo>
                    <a:lnTo>
                      <a:pt x="264" y="12"/>
                    </a:lnTo>
                    <a:lnTo>
                      <a:pt x="252" y="24"/>
                    </a:lnTo>
                    <a:lnTo>
                      <a:pt x="246" y="24"/>
                    </a:lnTo>
                    <a:lnTo>
                      <a:pt x="234" y="30"/>
                    </a:lnTo>
                    <a:lnTo>
                      <a:pt x="210" y="30"/>
                    </a:lnTo>
                    <a:lnTo>
                      <a:pt x="204" y="42"/>
                    </a:lnTo>
                    <a:lnTo>
                      <a:pt x="168" y="36"/>
                    </a:lnTo>
                    <a:lnTo>
                      <a:pt x="156" y="60"/>
                    </a:lnTo>
                    <a:lnTo>
                      <a:pt x="144" y="60"/>
                    </a:lnTo>
                    <a:lnTo>
                      <a:pt x="126" y="66"/>
                    </a:lnTo>
                    <a:lnTo>
                      <a:pt x="84" y="66"/>
                    </a:lnTo>
                    <a:lnTo>
                      <a:pt x="78" y="60"/>
                    </a:lnTo>
                    <a:lnTo>
                      <a:pt x="72" y="48"/>
                    </a:lnTo>
                    <a:lnTo>
                      <a:pt x="66" y="42"/>
                    </a:lnTo>
                    <a:lnTo>
                      <a:pt x="54" y="60"/>
                    </a:lnTo>
                    <a:lnTo>
                      <a:pt x="42" y="54"/>
                    </a:lnTo>
                    <a:lnTo>
                      <a:pt x="42" y="66"/>
                    </a:lnTo>
                    <a:close/>
                  </a:path>
                </a:pathLst>
              </a:custGeom>
              <a:solidFill>
                <a:srgbClr val="4966AC"/>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93" name="Greece" descr="© INSCALE GmbH, 05.05.2010&#10;http://www.presentationload.com/">
                <a:extLst>
                  <a:ext uri="{FF2B5EF4-FFF2-40B4-BE49-F238E27FC236}">
                    <a16:creationId xmlns:a16="http://schemas.microsoft.com/office/drawing/2014/main" id="{DF62289A-2EC5-41C8-8C85-0902A8B27BAC}"/>
                  </a:ext>
                </a:extLst>
              </p:cNvPr>
              <p:cNvSpPr>
                <a:spLocks noEditPoints="1"/>
              </p:cNvSpPr>
              <p:nvPr/>
            </p:nvSpPr>
            <p:spPr bwMode="gray">
              <a:xfrm>
                <a:off x="4763791" y="3076042"/>
                <a:ext cx="210588" cy="242578"/>
              </a:xfrm>
              <a:custGeom>
                <a:avLst/>
                <a:gdLst>
                  <a:gd name="T0" fmla="*/ 0 w 534"/>
                  <a:gd name="T1" fmla="*/ 2147483647 h 552"/>
                  <a:gd name="T2" fmla="*/ 2147483647 w 534"/>
                  <a:gd name="T3" fmla="*/ 2147483647 h 552"/>
                  <a:gd name="T4" fmla="*/ 2147483647 w 534"/>
                  <a:gd name="T5" fmla="*/ 2147483647 h 552"/>
                  <a:gd name="T6" fmla="*/ 2147483647 w 534"/>
                  <a:gd name="T7" fmla="*/ 2147483647 h 552"/>
                  <a:gd name="T8" fmla="*/ 2147483647 w 534"/>
                  <a:gd name="T9" fmla="*/ 2147483647 h 552"/>
                  <a:gd name="T10" fmla="*/ 2147483647 w 534"/>
                  <a:gd name="T11" fmla="*/ 2147483647 h 552"/>
                  <a:gd name="T12" fmla="*/ 2147483647 w 534"/>
                  <a:gd name="T13" fmla="*/ 2147483647 h 552"/>
                  <a:gd name="T14" fmla="*/ 2147483647 w 534"/>
                  <a:gd name="T15" fmla="*/ 2147483647 h 552"/>
                  <a:gd name="T16" fmla="*/ 2147483647 w 534"/>
                  <a:gd name="T17" fmla="*/ 2147483647 h 552"/>
                  <a:gd name="T18" fmla="*/ 2147483647 w 534"/>
                  <a:gd name="T19" fmla="*/ 2147483647 h 552"/>
                  <a:gd name="T20" fmla="*/ 2147483647 w 534"/>
                  <a:gd name="T21" fmla="*/ 2147483647 h 552"/>
                  <a:gd name="T22" fmla="*/ 2147483647 w 534"/>
                  <a:gd name="T23" fmla="*/ 2147483647 h 552"/>
                  <a:gd name="T24" fmla="*/ 2147483647 w 534"/>
                  <a:gd name="T25" fmla="*/ 2147483647 h 552"/>
                  <a:gd name="T26" fmla="*/ 2147483647 w 534"/>
                  <a:gd name="T27" fmla="*/ 2147483647 h 552"/>
                  <a:gd name="T28" fmla="*/ 2147483647 w 534"/>
                  <a:gd name="T29" fmla="*/ 2147483647 h 552"/>
                  <a:gd name="T30" fmla="*/ 2147483647 w 534"/>
                  <a:gd name="T31" fmla="*/ 2147483647 h 552"/>
                  <a:gd name="T32" fmla="*/ 2147483647 w 534"/>
                  <a:gd name="T33" fmla="*/ 2147483647 h 552"/>
                  <a:gd name="T34" fmla="*/ 2147483647 w 534"/>
                  <a:gd name="T35" fmla="*/ 2147483647 h 552"/>
                  <a:gd name="T36" fmla="*/ 2147483647 w 534"/>
                  <a:gd name="T37" fmla="*/ 2147483647 h 552"/>
                  <a:gd name="T38" fmla="*/ 2147483647 w 534"/>
                  <a:gd name="T39" fmla="*/ 2147483647 h 552"/>
                  <a:gd name="T40" fmla="*/ 2147483647 w 534"/>
                  <a:gd name="T41" fmla="*/ 2147483647 h 552"/>
                  <a:gd name="T42" fmla="*/ 2147483647 w 534"/>
                  <a:gd name="T43" fmla="*/ 2147483647 h 552"/>
                  <a:gd name="T44" fmla="*/ 2147483647 w 534"/>
                  <a:gd name="T45" fmla="*/ 2147483647 h 552"/>
                  <a:gd name="T46" fmla="*/ 2147483647 w 534"/>
                  <a:gd name="T47" fmla="*/ 2147483647 h 552"/>
                  <a:gd name="T48" fmla="*/ 2147483647 w 534"/>
                  <a:gd name="T49" fmla="*/ 2147483647 h 552"/>
                  <a:gd name="T50" fmla="*/ 2147483647 w 534"/>
                  <a:gd name="T51" fmla="*/ 2147483647 h 552"/>
                  <a:gd name="T52" fmla="*/ 2147483647 w 534"/>
                  <a:gd name="T53" fmla="*/ 2147483647 h 552"/>
                  <a:gd name="T54" fmla="*/ 2147483647 w 534"/>
                  <a:gd name="T55" fmla="*/ 2147483647 h 552"/>
                  <a:gd name="T56" fmla="*/ 2147483647 w 534"/>
                  <a:gd name="T57" fmla="*/ 2147483647 h 552"/>
                  <a:gd name="T58" fmla="*/ 2147483647 w 534"/>
                  <a:gd name="T59" fmla="*/ 2147483647 h 552"/>
                  <a:gd name="T60" fmla="*/ 2147483647 w 534"/>
                  <a:gd name="T61" fmla="*/ 2147483647 h 552"/>
                  <a:gd name="T62" fmla="*/ 2147483647 w 534"/>
                  <a:gd name="T63" fmla="*/ 2147483647 h 552"/>
                  <a:gd name="T64" fmla="*/ 2147483647 w 534"/>
                  <a:gd name="T65" fmla="*/ 2147483647 h 552"/>
                  <a:gd name="T66" fmla="*/ 2147483647 w 534"/>
                  <a:gd name="T67" fmla="*/ 2147483647 h 552"/>
                  <a:gd name="T68" fmla="*/ 2147483647 w 534"/>
                  <a:gd name="T69" fmla="*/ 2147483647 h 552"/>
                  <a:gd name="T70" fmla="*/ 2147483647 w 534"/>
                  <a:gd name="T71" fmla="*/ 2147483647 h 552"/>
                  <a:gd name="T72" fmla="*/ 2147483647 w 534"/>
                  <a:gd name="T73" fmla="*/ 2147483647 h 552"/>
                  <a:gd name="T74" fmla="*/ 2147483647 w 534"/>
                  <a:gd name="T75" fmla="*/ 2147483647 h 552"/>
                  <a:gd name="T76" fmla="*/ 2147483647 w 534"/>
                  <a:gd name="T77" fmla="*/ 2147483647 h 552"/>
                  <a:gd name="T78" fmla="*/ 2147483647 w 534"/>
                  <a:gd name="T79" fmla="*/ 2147483647 h 552"/>
                  <a:gd name="T80" fmla="*/ 2147483647 w 534"/>
                  <a:gd name="T81" fmla="*/ 2147483647 h 552"/>
                  <a:gd name="T82" fmla="*/ 2147483647 w 534"/>
                  <a:gd name="T83" fmla="*/ 2147483647 h 552"/>
                  <a:gd name="T84" fmla="*/ 2147483647 w 534"/>
                  <a:gd name="T85" fmla="*/ 2147483647 h 552"/>
                  <a:gd name="T86" fmla="*/ 2147483647 w 534"/>
                  <a:gd name="T87" fmla="*/ 2147483647 h 552"/>
                  <a:gd name="T88" fmla="*/ 2147483647 w 534"/>
                  <a:gd name="T89" fmla="*/ 2147483647 h 552"/>
                  <a:gd name="T90" fmla="*/ 2147483647 w 534"/>
                  <a:gd name="T91" fmla="*/ 2147483647 h 552"/>
                  <a:gd name="T92" fmla="*/ 2147483647 w 534"/>
                  <a:gd name="T93" fmla="*/ 2147483647 h 552"/>
                  <a:gd name="T94" fmla="*/ 2147483647 w 534"/>
                  <a:gd name="T95" fmla="*/ 2147483647 h 552"/>
                  <a:gd name="T96" fmla="*/ 2147483647 w 534"/>
                  <a:gd name="T97" fmla="*/ 2147483647 h 552"/>
                  <a:gd name="T98" fmla="*/ 2147483647 w 534"/>
                  <a:gd name="T99" fmla="*/ 2147483647 h 552"/>
                  <a:gd name="T100" fmla="*/ 2147483647 w 534"/>
                  <a:gd name="T101" fmla="*/ 2147483647 h 552"/>
                  <a:gd name="T102" fmla="*/ 2147483647 w 534"/>
                  <a:gd name="T103" fmla="*/ 2147483647 h 552"/>
                  <a:gd name="T104" fmla="*/ 2147483647 w 534"/>
                  <a:gd name="T105" fmla="*/ 2147483647 h 552"/>
                  <a:gd name="T106" fmla="*/ 2147483647 w 534"/>
                  <a:gd name="T107" fmla="*/ 2147483647 h 55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534"/>
                  <a:gd name="T163" fmla="*/ 0 h 552"/>
                  <a:gd name="T164" fmla="*/ 534 w 534"/>
                  <a:gd name="T165" fmla="*/ 552 h 55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534" h="552">
                    <a:moveTo>
                      <a:pt x="240" y="108"/>
                    </a:moveTo>
                    <a:lnTo>
                      <a:pt x="270" y="126"/>
                    </a:lnTo>
                    <a:lnTo>
                      <a:pt x="282" y="120"/>
                    </a:lnTo>
                    <a:lnTo>
                      <a:pt x="240" y="108"/>
                    </a:lnTo>
                    <a:close/>
                    <a:moveTo>
                      <a:pt x="24" y="258"/>
                    </a:moveTo>
                    <a:lnTo>
                      <a:pt x="0" y="282"/>
                    </a:lnTo>
                    <a:lnTo>
                      <a:pt x="42" y="294"/>
                    </a:lnTo>
                    <a:lnTo>
                      <a:pt x="24" y="258"/>
                    </a:lnTo>
                    <a:close/>
                    <a:moveTo>
                      <a:pt x="312" y="414"/>
                    </a:moveTo>
                    <a:lnTo>
                      <a:pt x="312" y="420"/>
                    </a:lnTo>
                    <a:lnTo>
                      <a:pt x="324" y="420"/>
                    </a:lnTo>
                    <a:lnTo>
                      <a:pt x="324" y="414"/>
                    </a:lnTo>
                    <a:lnTo>
                      <a:pt x="318" y="408"/>
                    </a:lnTo>
                    <a:lnTo>
                      <a:pt x="312" y="408"/>
                    </a:lnTo>
                    <a:lnTo>
                      <a:pt x="312" y="414"/>
                    </a:lnTo>
                    <a:close/>
                    <a:moveTo>
                      <a:pt x="306" y="390"/>
                    </a:moveTo>
                    <a:lnTo>
                      <a:pt x="300" y="378"/>
                    </a:lnTo>
                    <a:lnTo>
                      <a:pt x="294" y="390"/>
                    </a:lnTo>
                    <a:lnTo>
                      <a:pt x="306" y="390"/>
                    </a:lnTo>
                    <a:close/>
                    <a:moveTo>
                      <a:pt x="294" y="294"/>
                    </a:moveTo>
                    <a:lnTo>
                      <a:pt x="318" y="336"/>
                    </a:lnTo>
                    <a:lnTo>
                      <a:pt x="330" y="318"/>
                    </a:lnTo>
                    <a:lnTo>
                      <a:pt x="294" y="294"/>
                    </a:lnTo>
                    <a:close/>
                    <a:moveTo>
                      <a:pt x="108" y="264"/>
                    </a:moveTo>
                    <a:lnTo>
                      <a:pt x="138" y="264"/>
                    </a:lnTo>
                    <a:lnTo>
                      <a:pt x="144" y="270"/>
                    </a:lnTo>
                    <a:lnTo>
                      <a:pt x="156" y="270"/>
                    </a:lnTo>
                    <a:lnTo>
                      <a:pt x="180" y="282"/>
                    </a:lnTo>
                    <a:lnTo>
                      <a:pt x="192" y="282"/>
                    </a:lnTo>
                    <a:lnTo>
                      <a:pt x="198" y="288"/>
                    </a:lnTo>
                    <a:lnTo>
                      <a:pt x="204" y="288"/>
                    </a:lnTo>
                    <a:lnTo>
                      <a:pt x="216" y="300"/>
                    </a:lnTo>
                    <a:lnTo>
                      <a:pt x="228" y="306"/>
                    </a:lnTo>
                    <a:lnTo>
                      <a:pt x="234" y="312"/>
                    </a:lnTo>
                    <a:lnTo>
                      <a:pt x="246" y="312"/>
                    </a:lnTo>
                    <a:lnTo>
                      <a:pt x="252" y="306"/>
                    </a:lnTo>
                    <a:lnTo>
                      <a:pt x="252" y="288"/>
                    </a:lnTo>
                    <a:lnTo>
                      <a:pt x="228" y="264"/>
                    </a:lnTo>
                    <a:lnTo>
                      <a:pt x="216" y="258"/>
                    </a:lnTo>
                    <a:lnTo>
                      <a:pt x="210" y="252"/>
                    </a:lnTo>
                    <a:lnTo>
                      <a:pt x="204" y="252"/>
                    </a:lnTo>
                    <a:lnTo>
                      <a:pt x="198" y="246"/>
                    </a:lnTo>
                    <a:lnTo>
                      <a:pt x="186" y="246"/>
                    </a:lnTo>
                    <a:lnTo>
                      <a:pt x="174" y="234"/>
                    </a:lnTo>
                    <a:lnTo>
                      <a:pt x="168" y="234"/>
                    </a:lnTo>
                    <a:lnTo>
                      <a:pt x="174" y="228"/>
                    </a:lnTo>
                    <a:lnTo>
                      <a:pt x="192" y="228"/>
                    </a:lnTo>
                    <a:lnTo>
                      <a:pt x="198" y="240"/>
                    </a:lnTo>
                    <a:lnTo>
                      <a:pt x="222" y="252"/>
                    </a:lnTo>
                    <a:lnTo>
                      <a:pt x="234" y="264"/>
                    </a:lnTo>
                    <a:lnTo>
                      <a:pt x="258" y="264"/>
                    </a:lnTo>
                    <a:lnTo>
                      <a:pt x="270" y="252"/>
                    </a:lnTo>
                    <a:lnTo>
                      <a:pt x="258" y="240"/>
                    </a:lnTo>
                    <a:lnTo>
                      <a:pt x="246" y="240"/>
                    </a:lnTo>
                    <a:lnTo>
                      <a:pt x="234" y="234"/>
                    </a:lnTo>
                    <a:lnTo>
                      <a:pt x="222" y="234"/>
                    </a:lnTo>
                    <a:lnTo>
                      <a:pt x="210" y="228"/>
                    </a:lnTo>
                    <a:lnTo>
                      <a:pt x="204" y="216"/>
                    </a:lnTo>
                    <a:lnTo>
                      <a:pt x="198" y="210"/>
                    </a:lnTo>
                    <a:lnTo>
                      <a:pt x="198" y="204"/>
                    </a:lnTo>
                    <a:lnTo>
                      <a:pt x="192" y="192"/>
                    </a:lnTo>
                    <a:lnTo>
                      <a:pt x="186" y="186"/>
                    </a:lnTo>
                    <a:lnTo>
                      <a:pt x="174" y="162"/>
                    </a:lnTo>
                    <a:lnTo>
                      <a:pt x="168" y="156"/>
                    </a:lnTo>
                    <a:lnTo>
                      <a:pt x="162" y="144"/>
                    </a:lnTo>
                    <a:lnTo>
                      <a:pt x="150" y="132"/>
                    </a:lnTo>
                    <a:lnTo>
                      <a:pt x="150" y="120"/>
                    </a:lnTo>
                    <a:lnTo>
                      <a:pt x="144" y="114"/>
                    </a:lnTo>
                    <a:lnTo>
                      <a:pt x="144" y="102"/>
                    </a:lnTo>
                    <a:lnTo>
                      <a:pt x="150" y="96"/>
                    </a:lnTo>
                    <a:lnTo>
                      <a:pt x="156" y="96"/>
                    </a:lnTo>
                    <a:lnTo>
                      <a:pt x="162" y="102"/>
                    </a:lnTo>
                    <a:lnTo>
                      <a:pt x="162" y="108"/>
                    </a:lnTo>
                    <a:lnTo>
                      <a:pt x="168" y="114"/>
                    </a:lnTo>
                    <a:lnTo>
                      <a:pt x="180" y="114"/>
                    </a:lnTo>
                    <a:lnTo>
                      <a:pt x="180" y="120"/>
                    </a:lnTo>
                    <a:lnTo>
                      <a:pt x="186" y="120"/>
                    </a:lnTo>
                    <a:lnTo>
                      <a:pt x="198" y="132"/>
                    </a:lnTo>
                    <a:lnTo>
                      <a:pt x="198" y="144"/>
                    </a:lnTo>
                    <a:lnTo>
                      <a:pt x="204" y="144"/>
                    </a:lnTo>
                    <a:lnTo>
                      <a:pt x="210" y="138"/>
                    </a:lnTo>
                    <a:lnTo>
                      <a:pt x="216" y="138"/>
                    </a:lnTo>
                    <a:lnTo>
                      <a:pt x="204" y="120"/>
                    </a:lnTo>
                    <a:lnTo>
                      <a:pt x="210" y="120"/>
                    </a:lnTo>
                    <a:lnTo>
                      <a:pt x="234" y="132"/>
                    </a:lnTo>
                    <a:lnTo>
                      <a:pt x="222" y="114"/>
                    </a:lnTo>
                    <a:lnTo>
                      <a:pt x="228" y="108"/>
                    </a:lnTo>
                    <a:lnTo>
                      <a:pt x="228" y="84"/>
                    </a:lnTo>
                    <a:lnTo>
                      <a:pt x="240" y="72"/>
                    </a:lnTo>
                    <a:lnTo>
                      <a:pt x="270" y="72"/>
                    </a:lnTo>
                    <a:lnTo>
                      <a:pt x="276" y="78"/>
                    </a:lnTo>
                    <a:lnTo>
                      <a:pt x="276" y="90"/>
                    </a:lnTo>
                    <a:lnTo>
                      <a:pt x="288" y="90"/>
                    </a:lnTo>
                    <a:lnTo>
                      <a:pt x="294" y="84"/>
                    </a:lnTo>
                    <a:lnTo>
                      <a:pt x="300" y="72"/>
                    </a:lnTo>
                    <a:lnTo>
                      <a:pt x="306" y="66"/>
                    </a:lnTo>
                    <a:lnTo>
                      <a:pt x="342" y="66"/>
                    </a:lnTo>
                    <a:lnTo>
                      <a:pt x="360" y="72"/>
                    </a:lnTo>
                    <a:lnTo>
                      <a:pt x="372" y="72"/>
                    </a:lnTo>
                    <a:lnTo>
                      <a:pt x="378" y="78"/>
                    </a:lnTo>
                    <a:lnTo>
                      <a:pt x="384" y="78"/>
                    </a:lnTo>
                    <a:lnTo>
                      <a:pt x="384" y="72"/>
                    </a:lnTo>
                    <a:lnTo>
                      <a:pt x="390" y="60"/>
                    </a:lnTo>
                    <a:lnTo>
                      <a:pt x="390" y="48"/>
                    </a:lnTo>
                    <a:lnTo>
                      <a:pt x="384" y="42"/>
                    </a:lnTo>
                    <a:lnTo>
                      <a:pt x="384" y="36"/>
                    </a:lnTo>
                    <a:lnTo>
                      <a:pt x="390" y="30"/>
                    </a:lnTo>
                    <a:lnTo>
                      <a:pt x="408" y="30"/>
                    </a:lnTo>
                    <a:lnTo>
                      <a:pt x="408" y="18"/>
                    </a:lnTo>
                    <a:lnTo>
                      <a:pt x="402" y="12"/>
                    </a:lnTo>
                    <a:lnTo>
                      <a:pt x="402" y="6"/>
                    </a:lnTo>
                    <a:lnTo>
                      <a:pt x="390" y="6"/>
                    </a:lnTo>
                    <a:lnTo>
                      <a:pt x="384" y="0"/>
                    </a:lnTo>
                    <a:lnTo>
                      <a:pt x="366" y="6"/>
                    </a:lnTo>
                    <a:lnTo>
                      <a:pt x="372" y="12"/>
                    </a:lnTo>
                    <a:lnTo>
                      <a:pt x="372" y="30"/>
                    </a:lnTo>
                    <a:lnTo>
                      <a:pt x="366" y="36"/>
                    </a:lnTo>
                    <a:lnTo>
                      <a:pt x="348" y="36"/>
                    </a:lnTo>
                    <a:lnTo>
                      <a:pt x="336" y="24"/>
                    </a:lnTo>
                    <a:lnTo>
                      <a:pt x="324" y="36"/>
                    </a:lnTo>
                    <a:lnTo>
                      <a:pt x="312" y="36"/>
                    </a:lnTo>
                    <a:lnTo>
                      <a:pt x="300" y="24"/>
                    </a:lnTo>
                    <a:lnTo>
                      <a:pt x="294" y="30"/>
                    </a:lnTo>
                    <a:lnTo>
                      <a:pt x="282" y="30"/>
                    </a:lnTo>
                    <a:lnTo>
                      <a:pt x="264" y="12"/>
                    </a:lnTo>
                    <a:lnTo>
                      <a:pt x="264" y="6"/>
                    </a:lnTo>
                    <a:lnTo>
                      <a:pt x="234" y="12"/>
                    </a:lnTo>
                    <a:lnTo>
                      <a:pt x="228" y="30"/>
                    </a:lnTo>
                    <a:lnTo>
                      <a:pt x="204" y="24"/>
                    </a:lnTo>
                    <a:lnTo>
                      <a:pt x="198" y="30"/>
                    </a:lnTo>
                    <a:lnTo>
                      <a:pt x="186" y="36"/>
                    </a:lnTo>
                    <a:lnTo>
                      <a:pt x="174" y="36"/>
                    </a:lnTo>
                    <a:lnTo>
                      <a:pt x="168" y="30"/>
                    </a:lnTo>
                    <a:lnTo>
                      <a:pt x="162" y="30"/>
                    </a:lnTo>
                    <a:lnTo>
                      <a:pt x="150" y="36"/>
                    </a:lnTo>
                    <a:lnTo>
                      <a:pt x="138" y="48"/>
                    </a:lnTo>
                    <a:lnTo>
                      <a:pt x="126" y="54"/>
                    </a:lnTo>
                    <a:lnTo>
                      <a:pt x="102" y="54"/>
                    </a:lnTo>
                    <a:lnTo>
                      <a:pt x="102" y="60"/>
                    </a:lnTo>
                    <a:lnTo>
                      <a:pt x="96" y="72"/>
                    </a:lnTo>
                    <a:lnTo>
                      <a:pt x="72" y="72"/>
                    </a:lnTo>
                    <a:lnTo>
                      <a:pt x="66" y="66"/>
                    </a:lnTo>
                    <a:lnTo>
                      <a:pt x="60" y="66"/>
                    </a:lnTo>
                    <a:lnTo>
                      <a:pt x="48" y="72"/>
                    </a:lnTo>
                    <a:lnTo>
                      <a:pt x="54" y="84"/>
                    </a:lnTo>
                    <a:lnTo>
                      <a:pt x="54" y="90"/>
                    </a:lnTo>
                    <a:lnTo>
                      <a:pt x="42" y="102"/>
                    </a:lnTo>
                    <a:lnTo>
                      <a:pt x="24" y="102"/>
                    </a:lnTo>
                    <a:lnTo>
                      <a:pt x="24" y="126"/>
                    </a:lnTo>
                    <a:lnTo>
                      <a:pt x="12" y="132"/>
                    </a:lnTo>
                    <a:lnTo>
                      <a:pt x="0" y="132"/>
                    </a:lnTo>
                    <a:lnTo>
                      <a:pt x="0" y="198"/>
                    </a:lnTo>
                    <a:lnTo>
                      <a:pt x="6" y="204"/>
                    </a:lnTo>
                    <a:lnTo>
                      <a:pt x="18" y="210"/>
                    </a:lnTo>
                    <a:lnTo>
                      <a:pt x="24" y="216"/>
                    </a:lnTo>
                    <a:lnTo>
                      <a:pt x="30" y="228"/>
                    </a:lnTo>
                    <a:lnTo>
                      <a:pt x="36" y="234"/>
                    </a:lnTo>
                    <a:lnTo>
                      <a:pt x="42" y="246"/>
                    </a:lnTo>
                    <a:lnTo>
                      <a:pt x="54" y="258"/>
                    </a:lnTo>
                    <a:lnTo>
                      <a:pt x="60" y="270"/>
                    </a:lnTo>
                    <a:lnTo>
                      <a:pt x="84" y="270"/>
                    </a:lnTo>
                    <a:lnTo>
                      <a:pt x="96" y="264"/>
                    </a:lnTo>
                    <a:lnTo>
                      <a:pt x="108" y="264"/>
                    </a:lnTo>
                    <a:close/>
                    <a:moveTo>
                      <a:pt x="396" y="252"/>
                    </a:moveTo>
                    <a:lnTo>
                      <a:pt x="372" y="252"/>
                    </a:lnTo>
                    <a:lnTo>
                      <a:pt x="372" y="270"/>
                    </a:lnTo>
                    <a:lnTo>
                      <a:pt x="384" y="294"/>
                    </a:lnTo>
                    <a:lnTo>
                      <a:pt x="396" y="252"/>
                    </a:lnTo>
                    <a:close/>
                    <a:moveTo>
                      <a:pt x="24" y="312"/>
                    </a:moveTo>
                    <a:lnTo>
                      <a:pt x="18" y="318"/>
                    </a:lnTo>
                    <a:lnTo>
                      <a:pt x="24" y="324"/>
                    </a:lnTo>
                    <a:lnTo>
                      <a:pt x="30" y="324"/>
                    </a:lnTo>
                    <a:lnTo>
                      <a:pt x="36" y="330"/>
                    </a:lnTo>
                    <a:lnTo>
                      <a:pt x="42" y="324"/>
                    </a:lnTo>
                    <a:lnTo>
                      <a:pt x="42" y="318"/>
                    </a:lnTo>
                    <a:lnTo>
                      <a:pt x="30" y="306"/>
                    </a:lnTo>
                    <a:lnTo>
                      <a:pt x="24" y="312"/>
                    </a:lnTo>
                    <a:close/>
                    <a:moveTo>
                      <a:pt x="378" y="390"/>
                    </a:moveTo>
                    <a:lnTo>
                      <a:pt x="378" y="408"/>
                    </a:lnTo>
                    <a:lnTo>
                      <a:pt x="390" y="390"/>
                    </a:lnTo>
                    <a:lnTo>
                      <a:pt x="378" y="390"/>
                    </a:lnTo>
                    <a:close/>
                    <a:moveTo>
                      <a:pt x="408" y="330"/>
                    </a:moveTo>
                    <a:lnTo>
                      <a:pt x="396" y="330"/>
                    </a:lnTo>
                    <a:lnTo>
                      <a:pt x="384" y="336"/>
                    </a:lnTo>
                    <a:lnTo>
                      <a:pt x="384" y="342"/>
                    </a:lnTo>
                    <a:lnTo>
                      <a:pt x="396" y="342"/>
                    </a:lnTo>
                    <a:lnTo>
                      <a:pt x="402" y="336"/>
                    </a:lnTo>
                    <a:lnTo>
                      <a:pt x="408" y="336"/>
                    </a:lnTo>
                    <a:lnTo>
                      <a:pt x="408" y="330"/>
                    </a:lnTo>
                    <a:close/>
                    <a:moveTo>
                      <a:pt x="396" y="192"/>
                    </a:moveTo>
                    <a:lnTo>
                      <a:pt x="372" y="198"/>
                    </a:lnTo>
                    <a:lnTo>
                      <a:pt x="372" y="210"/>
                    </a:lnTo>
                    <a:lnTo>
                      <a:pt x="390" y="210"/>
                    </a:lnTo>
                    <a:lnTo>
                      <a:pt x="396" y="216"/>
                    </a:lnTo>
                    <a:lnTo>
                      <a:pt x="396" y="222"/>
                    </a:lnTo>
                    <a:lnTo>
                      <a:pt x="414" y="222"/>
                    </a:lnTo>
                    <a:lnTo>
                      <a:pt x="414" y="210"/>
                    </a:lnTo>
                    <a:lnTo>
                      <a:pt x="396" y="192"/>
                    </a:lnTo>
                    <a:close/>
                    <a:moveTo>
                      <a:pt x="342" y="372"/>
                    </a:moveTo>
                    <a:lnTo>
                      <a:pt x="342" y="378"/>
                    </a:lnTo>
                    <a:lnTo>
                      <a:pt x="348" y="384"/>
                    </a:lnTo>
                    <a:lnTo>
                      <a:pt x="360" y="384"/>
                    </a:lnTo>
                    <a:lnTo>
                      <a:pt x="366" y="378"/>
                    </a:lnTo>
                    <a:lnTo>
                      <a:pt x="366" y="372"/>
                    </a:lnTo>
                    <a:lnTo>
                      <a:pt x="360" y="366"/>
                    </a:lnTo>
                    <a:lnTo>
                      <a:pt x="342" y="366"/>
                    </a:lnTo>
                    <a:lnTo>
                      <a:pt x="342" y="372"/>
                    </a:lnTo>
                    <a:close/>
                    <a:moveTo>
                      <a:pt x="444" y="312"/>
                    </a:moveTo>
                    <a:lnTo>
                      <a:pt x="432" y="312"/>
                    </a:lnTo>
                    <a:lnTo>
                      <a:pt x="432" y="330"/>
                    </a:lnTo>
                    <a:lnTo>
                      <a:pt x="444" y="336"/>
                    </a:lnTo>
                    <a:lnTo>
                      <a:pt x="450" y="330"/>
                    </a:lnTo>
                    <a:lnTo>
                      <a:pt x="450" y="318"/>
                    </a:lnTo>
                    <a:lnTo>
                      <a:pt x="444" y="312"/>
                    </a:lnTo>
                    <a:close/>
                    <a:moveTo>
                      <a:pt x="444" y="372"/>
                    </a:moveTo>
                    <a:lnTo>
                      <a:pt x="456" y="354"/>
                    </a:lnTo>
                    <a:lnTo>
                      <a:pt x="438" y="354"/>
                    </a:lnTo>
                    <a:lnTo>
                      <a:pt x="444" y="372"/>
                    </a:lnTo>
                    <a:close/>
                    <a:moveTo>
                      <a:pt x="276" y="222"/>
                    </a:moveTo>
                    <a:lnTo>
                      <a:pt x="276" y="240"/>
                    </a:lnTo>
                    <a:lnTo>
                      <a:pt x="288" y="240"/>
                    </a:lnTo>
                    <a:lnTo>
                      <a:pt x="276" y="222"/>
                    </a:lnTo>
                    <a:close/>
                    <a:moveTo>
                      <a:pt x="534" y="420"/>
                    </a:moveTo>
                    <a:lnTo>
                      <a:pt x="522" y="420"/>
                    </a:lnTo>
                    <a:lnTo>
                      <a:pt x="516" y="426"/>
                    </a:lnTo>
                    <a:lnTo>
                      <a:pt x="510" y="438"/>
                    </a:lnTo>
                    <a:lnTo>
                      <a:pt x="510" y="468"/>
                    </a:lnTo>
                    <a:lnTo>
                      <a:pt x="516" y="468"/>
                    </a:lnTo>
                    <a:lnTo>
                      <a:pt x="522" y="456"/>
                    </a:lnTo>
                    <a:lnTo>
                      <a:pt x="528" y="450"/>
                    </a:lnTo>
                    <a:lnTo>
                      <a:pt x="534" y="438"/>
                    </a:lnTo>
                    <a:lnTo>
                      <a:pt x="534" y="420"/>
                    </a:lnTo>
                    <a:close/>
                    <a:moveTo>
                      <a:pt x="462" y="384"/>
                    </a:moveTo>
                    <a:lnTo>
                      <a:pt x="456" y="408"/>
                    </a:lnTo>
                    <a:lnTo>
                      <a:pt x="498" y="378"/>
                    </a:lnTo>
                    <a:lnTo>
                      <a:pt x="486" y="372"/>
                    </a:lnTo>
                    <a:lnTo>
                      <a:pt x="462" y="384"/>
                    </a:lnTo>
                    <a:close/>
                    <a:moveTo>
                      <a:pt x="462" y="510"/>
                    </a:moveTo>
                    <a:lnTo>
                      <a:pt x="480" y="510"/>
                    </a:lnTo>
                    <a:lnTo>
                      <a:pt x="468" y="468"/>
                    </a:lnTo>
                    <a:lnTo>
                      <a:pt x="462" y="510"/>
                    </a:lnTo>
                    <a:close/>
                    <a:moveTo>
                      <a:pt x="276" y="330"/>
                    </a:moveTo>
                    <a:lnTo>
                      <a:pt x="270" y="336"/>
                    </a:lnTo>
                    <a:lnTo>
                      <a:pt x="270" y="348"/>
                    </a:lnTo>
                    <a:lnTo>
                      <a:pt x="276" y="348"/>
                    </a:lnTo>
                    <a:lnTo>
                      <a:pt x="288" y="336"/>
                    </a:lnTo>
                    <a:lnTo>
                      <a:pt x="282" y="330"/>
                    </a:lnTo>
                    <a:lnTo>
                      <a:pt x="276" y="330"/>
                    </a:lnTo>
                    <a:close/>
                    <a:moveTo>
                      <a:pt x="186" y="432"/>
                    </a:moveTo>
                    <a:lnTo>
                      <a:pt x="180" y="438"/>
                    </a:lnTo>
                    <a:lnTo>
                      <a:pt x="180" y="450"/>
                    </a:lnTo>
                    <a:lnTo>
                      <a:pt x="186" y="456"/>
                    </a:lnTo>
                    <a:lnTo>
                      <a:pt x="198" y="444"/>
                    </a:lnTo>
                    <a:lnTo>
                      <a:pt x="198" y="438"/>
                    </a:lnTo>
                    <a:lnTo>
                      <a:pt x="192" y="432"/>
                    </a:lnTo>
                    <a:lnTo>
                      <a:pt x="186" y="432"/>
                    </a:lnTo>
                    <a:close/>
                    <a:moveTo>
                      <a:pt x="384" y="528"/>
                    </a:moveTo>
                    <a:lnTo>
                      <a:pt x="378" y="528"/>
                    </a:lnTo>
                    <a:lnTo>
                      <a:pt x="378" y="516"/>
                    </a:lnTo>
                    <a:lnTo>
                      <a:pt x="372" y="510"/>
                    </a:lnTo>
                    <a:lnTo>
                      <a:pt x="342" y="510"/>
                    </a:lnTo>
                    <a:lnTo>
                      <a:pt x="306" y="504"/>
                    </a:lnTo>
                    <a:lnTo>
                      <a:pt x="276" y="504"/>
                    </a:lnTo>
                    <a:lnTo>
                      <a:pt x="246" y="486"/>
                    </a:lnTo>
                    <a:lnTo>
                      <a:pt x="228" y="504"/>
                    </a:lnTo>
                    <a:lnTo>
                      <a:pt x="234" y="510"/>
                    </a:lnTo>
                    <a:lnTo>
                      <a:pt x="246" y="516"/>
                    </a:lnTo>
                    <a:lnTo>
                      <a:pt x="252" y="522"/>
                    </a:lnTo>
                    <a:lnTo>
                      <a:pt x="258" y="516"/>
                    </a:lnTo>
                    <a:lnTo>
                      <a:pt x="264" y="528"/>
                    </a:lnTo>
                    <a:lnTo>
                      <a:pt x="300" y="528"/>
                    </a:lnTo>
                    <a:lnTo>
                      <a:pt x="312" y="552"/>
                    </a:lnTo>
                    <a:lnTo>
                      <a:pt x="354" y="546"/>
                    </a:lnTo>
                    <a:lnTo>
                      <a:pt x="354" y="540"/>
                    </a:lnTo>
                    <a:lnTo>
                      <a:pt x="402" y="540"/>
                    </a:lnTo>
                    <a:lnTo>
                      <a:pt x="414" y="528"/>
                    </a:lnTo>
                    <a:lnTo>
                      <a:pt x="414" y="522"/>
                    </a:lnTo>
                    <a:lnTo>
                      <a:pt x="408" y="516"/>
                    </a:lnTo>
                    <a:lnTo>
                      <a:pt x="402" y="516"/>
                    </a:lnTo>
                    <a:lnTo>
                      <a:pt x="396" y="522"/>
                    </a:lnTo>
                    <a:lnTo>
                      <a:pt x="390" y="522"/>
                    </a:lnTo>
                    <a:lnTo>
                      <a:pt x="384" y="528"/>
                    </a:lnTo>
                    <a:close/>
                    <a:moveTo>
                      <a:pt x="420" y="408"/>
                    </a:moveTo>
                    <a:lnTo>
                      <a:pt x="408" y="408"/>
                    </a:lnTo>
                    <a:lnTo>
                      <a:pt x="408" y="420"/>
                    </a:lnTo>
                    <a:lnTo>
                      <a:pt x="420" y="420"/>
                    </a:lnTo>
                    <a:lnTo>
                      <a:pt x="426" y="414"/>
                    </a:lnTo>
                    <a:lnTo>
                      <a:pt x="420" y="408"/>
                    </a:lnTo>
                    <a:close/>
                    <a:moveTo>
                      <a:pt x="114" y="276"/>
                    </a:moveTo>
                    <a:lnTo>
                      <a:pt x="90" y="288"/>
                    </a:lnTo>
                    <a:lnTo>
                      <a:pt x="84" y="288"/>
                    </a:lnTo>
                    <a:lnTo>
                      <a:pt x="66" y="312"/>
                    </a:lnTo>
                    <a:lnTo>
                      <a:pt x="96" y="336"/>
                    </a:lnTo>
                    <a:lnTo>
                      <a:pt x="96" y="348"/>
                    </a:lnTo>
                    <a:lnTo>
                      <a:pt x="90" y="366"/>
                    </a:lnTo>
                    <a:lnTo>
                      <a:pt x="90" y="384"/>
                    </a:lnTo>
                    <a:lnTo>
                      <a:pt x="96" y="390"/>
                    </a:lnTo>
                    <a:lnTo>
                      <a:pt x="108" y="396"/>
                    </a:lnTo>
                    <a:lnTo>
                      <a:pt x="114" y="396"/>
                    </a:lnTo>
                    <a:lnTo>
                      <a:pt x="114" y="390"/>
                    </a:lnTo>
                    <a:lnTo>
                      <a:pt x="126" y="378"/>
                    </a:lnTo>
                    <a:lnTo>
                      <a:pt x="132" y="378"/>
                    </a:lnTo>
                    <a:lnTo>
                      <a:pt x="156" y="420"/>
                    </a:lnTo>
                    <a:lnTo>
                      <a:pt x="162" y="390"/>
                    </a:lnTo>
                    <a:lnTo>
                      <a:pt x="180" y="414"/>
                    </a:lnTo>
                    <a:lnTo>
                      <a:pt x="204" y="420"/>
                    </a:lnTo>
                    <a:lnTo>
                      <a:pt x="186" y="402"/>
                    </a:lnTo>
                    <a:lnTo>
                      <a:pt x="192" y="396"/>
                    </a:lnTo>
                    <a:lnTo>
                      <a:pt x="192" y="372"/>
                    </a:lnTo>
                    <a:lnTo>
                      <a:pt x="186" y="366"/>
                    </a:lnTo>
                    <a:lnTo>
                      <a:pt x="180" y="354"/>
                    </a:lnTo>
                    <a:lnTo>
                      <a:pt x="174" y="348"/>
                    </a:lnTo>
                    <a:lnTo>
                      <a:pt x="168" y="336"/>
                    </a:lnTo>
                    <a:lnTo>
                      <a:pt x="168" y="330"/>
                    </a:lnTo>
                    <a:lnTo>
                      <a:pt x="186" y="330"/>
                    </a:lnTo>
                    <a:lnTo>
                      <a:pt x="198" y="336"/>
                    </a:lnTo>
                    <a:lnTo>
                      <a:pt x="210" y="348"/>
                    </a:lnTo>
                    <a:lnTo>
                      <a:pt x="222" y="342"/>
                    </a:lnTo>
                    <a:lnTo>
                      <a:pt x="210" y="336"/>
                    </a:lnTo>
                    <a:lnTo>
                      <a:pt x="204" y="324"/>
                    </a:lnTo>
                    <a:lnTo>
                      <a:pt x="192" y="318"/>
                    </a:lnTo>
                    <a:lnTo>
                      <a:pt x="186" y="312"/>
                    </a:lnTo>
                    <a:lnTo>
                      <a:pt x="174" y="306"/>
                    </a:lnTo>
                    <a:lnTo>
                      <a:pt x="156" y="294"/>
                    </a:lnTo>
                    <a:lnTo>
                      <a:pt x="138" y="288"/>
                    </a:lnTo>
                    <a:lnTo>
                      <a:pt x="126" y="282"/>
                    </a:lnTo>
                    <a:lnTo>
                      <a:pt x="120" y="276"/>
                    </a:lnTo>
                    <a:lnTo>
                      <a:pt x="114" y="276"/>
                    </a:lnTo>
                    <a:close/>
                  </a:path>
                </a:pathLst>
              </a:custGeom>
              <a:solidFill>
                <a:srgbClr val="4966AC"/>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94" name="Germany" descr="© INSCALE GmbH, 05.05.2010&#10;http://www.presentationload.com/">
                <a:extLst>
                  <a:ext uri="{FF2B5EF4-FFF2-40B4-BE49-F238E27FC236}">
                    <a16:creationId xmlns:a16="http://schemas.microsoft.com/office/drawing/2014/main" id="{448B7A72-D949-41DF-8CD5-99A7B5AEA49D}"/>
                  </a:ext>
                </a:extLst>
              </p:cNvPr>
              <p:cNvSpPr>
                <a:spLocks/>
              </p:cNvSpPr>
              <p:nvPr/>
            </p:nvSpPr>
            <p:spPr bwMode="gray">
              <a:xfrm>
                <a:off x="4395652" y="2622075"/>
                <a:ext cx="223067" cy="259905"/>
              </a:xfrm>
              <a:custGeom>
                <a:avLst/>
                <a:gdLst>
                  <a:gd name="T0" fmla="*/ 2147483647 w 564"/>
                  <a:gd name="T1" fmla="*/ 2147483647 h 588"/>
                  <a:gd name="T2" fmla="*/ 2147483647 w 564"/>
                  <a:gd name="T3" fmla="*/ 2147483647 h 588"/>
                  <a:gd name="T4" fmla="*/ 2147483647 w 564"/>
                  <a:gd name="T5" fmla="*/ 2147483647 h 588"/>
                  <a:gd name="T6" fmla="*/ 2147483647 w 564"/>
                  <a:gd name="T7" fmla="*/ 2147483647 h 588"/>
                  <a:gd name="T8" fmla="*/ 2147483647 w 564"/>
                  <a:gd name="T9" fmla="*/ 2147483647 h 588"/>
                  <a:gd name="T10" fmla="*/ 2147483647 w 564"/>
                  <a:gd name="T11" fmla="*/ 2147483647 h 588"/>
                  <a:gd name="T12" fmla="*/ 2147483647 w 564"/>
                  <a:gd name="T13" fmla="*/ 2147483647 h 588"/>
                  <a:gd name="T14" fmla="*/ 2147483647 w 564"/>
                  <a:gd name="T15" fmla="*/ 2147483647 h 588"/>
                  <a:gd name="T16" fmla="*/ 2147483647 w 564"/>
                  <a:gd name="T17" fmla="*/ 2147483647 h 588"/>
                  <a:gd name="T18" fmla="*/ 2147483647 w 564"/>
                  <a:gd name="T19" fmla="*/ 2147483647 h 588"/>
                  <a:gd name="T20" fmla="*/ 2147483647 w 564"/>
                  <a:gd name="T21" fmla="*/ 2147483647 h 588"/>
                  <a:gd name="T22" fmla="*/ 2147483647 w 564"/>
                  <a:gd name="T23" fmla="*/ 2147483647 h 588"/>
                  <a:gd name="T24" fmla="*/ 2147483647 w 564"/>
                  <a:gd name="T25" fmla="*/ 2147483647 h 588"/>
                  <a:gd name="T26" fmla="*/ 2147483647 w 564"/>
                  <a:gd name="T27" fmla="*/ 2147483647 h 588"/>
                  <a:gd name="T28" fmla="*/ 2147483647 w 564"/>
                  <a:gd name="T29" fmla="*/ 2147483647 h 588"/>
                  <a:gd name="T30" fmla="*/ 2147483647 w 564"/>
                  <a:gd name="T31" fmla="*/ 2147483647 h 588"/>
                  <a:gd name="T32" fmla="*/ 2147483647 w 564"/>
                  <a:gd name="T33" fmla="*/ 2147483647 h 588"/>
                  <a:gd name="T34" fmla="*/ 2147483647 w 564"/>
                  <a:gd name="T35" fmla="*/ 2147483647 h 588"/>
                  <a:gd name="T36" fmla="*/ 2147483647 w 564"/>
                  <a:gd name="T37" fmla="*/ 2147483647 h 588"/>
                  <a:gd name="T38" fmla="*/ 2147483647 w 564"/>
                  <a:gd name="T39" fmla="*/ 2147483647 h 588"/>
                  <a:gd name="T40" fmla="*/ 2147483647 w 564"/>
                  <a:gd name="T41" fmla="*/ 2147483647 h 588"/>
                  <a:gd name="T42" fmla="*/ 2147483647 w 564"/>
                  <a:gd name="T43" fmla="*/ 2147483647 h 588"/>
                  <a:gd name="T44" fmla="*/ 2147483647 w 564"/>
                  <a:gd name="T45" fmla="*/ 2147483647 h 588"/>
                  <a:gd name="T46" fmla="*/ 2147483647 w 564"/>
                  <a:gd name="T47" fmla="*/ 2147483647 h 588"/>
                  <a:gd name="T48" fmla="*/ 2147483647 w 564"/>
                  <a:gd name="T49" fmla="*/ 2147483647 h 588"/>
                  <a:gd name="T50" fmla="*/ 2147483647 w 564"/>
                  <a:gd name="T51" fmla="*/ 2147483647 h 588"/>
                  <a:gd name="T52" fmla="*/ 2147483647 w 564"/>
                  <a:gd name="T53" fmla="*/ 2147483647 h 588"/>
                  <a:gd name="T54" fmla="*/ 2147483647 w 564"/>
                  <a:gd name="T55" fmla="*/ 2147483647 h 588"/>
                  <a:gd name="T56" fmla="*/ 2147483647 w 564"/>
                  <a:gd name="T57" fmla="*/ 2147483647 h 588"/>
                  <a:gd name="T58" fmla="*/ 2147483647 w 564"/>
                  <a:gd name="T59" fmla="*/ 2147483647 h 588"/>
                  <a:gd name="T60" fmla="*/ 2147483647 w 564"/>
                  <a:gd name="T61" fmla="*/ 2147483647 h 588"/>
                  <a:gd name="T62" fmla="*/ 2147483647 w 564"/>
                  <a:gd name="T63" fmla="*/ 2147483647 h 588"/>
                  <a:gd name="T64" fmla="*/ 2147483647 w 564"/>
                  <a:gd name="T65" fmla="*/ 2147483647 h 588"/>
                  <a:gd name="T66" fmla="*/ 2147483647 w 564"/>
                  <a:gd name="T67" fmla="*/ 2147483647 h 588"/>
                  <a:gd name="T68" fmla="*/ 2147483647 w 564"/>
                  <a:gd name="T69" fmla="*/ 2147483647 h 588"/>
                  <a:gd name="T70" fmla="*/ 2147483647 w 564"/>
                  <a:gd name="T71" fmla="*/ 2147483647 h 588"/>
                  <a:gd name="T72" fmla="*/ 2147483647 w 564"/>
                  <a:gd name="T73" fmla="*/ 2147483647 h 588"/>
                  <a:gd name="T74" fmla="*/ 2147483647 w 564"/>
                  <a:gd name="T75" fmla="*/ 2147483647 h 588"/>
                  <a:gd name="T76" fmla="*/ 2147483647 w 564"/>
                  <a:gd name="T77" fmla="*/ 2147483647 h 588"/>
                  <a:gd name="T78" fmla="*/ 2147483647 w 564"/>
                  <a:gd name="T79" fmla="*/ 2147483647 h 588"/>
                  <a:gd name="T80" fmla="*/ 2147483647 w 564"/>
                  <a:gd name="T81" fmla="*/ 2147483647 h 588"/>
                  <a:gd name="T82" fmla="*/ 2147483647 w 564"/>
                  <a:gd name="T83" fmla="*/ 0 h 588"/>
                  <a:gd name="T84" fmla="*/ 2147483647 w 564"/>
                  <a:gd name="T85" fmla="*/ 2147483647 h 588"/>
                  <a:gd name="T86" fmla="*/ 2147483647 w 564"/>
                  <a:gd name="T87" fmla="*/ 2147483647 h 588"/>
                  <a:gd name="T88" fmla="*/ 2147483647 w 564"/>
                  <a:gd name="T89" fmla="*/ 2147483647 h 588"/>
                  <a:gd name="T90" fmla="*/ 2147483647 w 564"/>
                  <a:gd name="T91" fmla="*/ 2147483647 h 588"/>
                  <a:gd name="T92" fmla="*/ 2147483647 w 564"/>
                  <a:gd name="T93" fmla="*/ 2147483647 h 588"/>
                  <a:gd name="T94" fmla="*/ 2147483647 w 564"/>
                  <a:gd name="T95" fmla="*/ 2147483647 h 588"/>
                  <a:gd name="T96" fmla="*/ 2147483647 w 564"/>
                  <a:gd name="T97" fmla="*/ 2147483647 h 588"/>
                  <a:gd name="T98" fmla="*/ 2147483647 w 564"/>
                  <a:gd name="T99" fmla="*/ 2147483647 h 588"/>
                  <a:gd name="T100" fmla="*/ 2147483647 w 564"/>
                  <a:gd name="T101" fmla="*/ 2147483647 h 588"/>
                  <a:gd name="T102" fmla="*/ 2147483647 w 564"/>
                  <a:gd name="T103" fmla="*/ 2147483647 h 588"/>
                  <a:gd name="T104" fmla="*/ 0 w 564"/>
                  <a:gd name="T105" fmla="*/ 2147483647 h 588"/>
                  <a:gd name="T106" fmla="*/ 2147483647 w 564"/>
                  <a:gd name="T107" fmla="*/ 2147483647 h 588"/>
                  <a:gd name="T108" fmla="*/ 2147483647 w 564"/>
                  <a:gd name="T109" fmla="*/ 2147483647 h 588"/>
                  <a:gd name="T110" fmla="*/ 2147483647 w 564"/>
                  <a:gd name="T111" fmla="*/ 2147483647 h 58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64"/>
                  <a:gd name="T169" fmla="*/ 0 h 588"/>
                  <a:gd name="T170" fmla="*/ 564 w 564"/>
                  <a:gd name="T171" fmla="*/ 588 h 58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64" h="588">
                    <a:moveTo>
                      <a:pt x="30" y="414"/>
                    </a:moveTo>
                    <a:lnTo>
                      <a:pt x="30" y="420"/>
                    </a:lnTo>
                    <a:lnTo>
                      <a:pt x="36" y="420"/>
                    </a:lnTo>
                    <a:lnTo>
                      <a:pt x="36" y="444"/>
                    </a:lnTo>
                    <a:lnTo>
                      <a:pt x="60" y="444"/>
                    </a:lnTo>
                    <a:lnTo>
                      <a:pt x="60" y="450"/>
                    </a:lnTo>
                    <a:lnTo>
                      <a:pt x="72" y="450"/>
                    </a:lnTo>
                    <a:lnTo>
                      <a:pt x="84" y="444"/>
                    </a:lnTo>
                    <a:lnTo>
                      <a:pt x="96" y="444"/>
                    </a:lnTo>
                    <a:lnTo>
                      <a:pt x="96" y="450"/>
                    </a:lnTo>
                    <a:lnTo>
                      <a:pt x="120" y="450"/>
                    </a:lnTo>
                    <a:lnTo>
                      <a:pt x="138" y="456"/>
                    </a:lnTo>
                    <a:lnTo>
                      <a:pt x="132" y="468"/>
                    </a:lnTo>
                    <a:lnTo>
                      <a:pt x="114" y="486"/>
                    </a:lnTo>
                    <a:lnTo>
                      <a:pt x="114" y="498"/>
                    </a:lnTo>
                    <a:lnTo>
                      <a:pt x="108" y="510"/>
                    </a:lnTo>
                    <a:lnTo>
                      <a:pt x="102" y="516"/>
                    </a:lnTo>
                    <a:lnTo>
                      <a:pt x="96" y="528"/>
                    </a:lnTo>
                    <a:lnTo>
                      <a:pt x="96" y="570"/>
                    </a:lnTo>
                    <a:lnTo>
                      <a:pt x="132" y="570"/>
                    </a:lnTo>
                    <a:lnTo>
                      <a:pt x="150" y="564"/>
                    </a:lnTo>
                    <a:lnTo>
                      <a:pt x="156" y="570"/>
                    </a:lnTo>
                    <a:lnTo>
                      <a:pt x="150" y="564"/>
                    </a:lnTo>
                    <a:lnTo>
                      <a:pt x="150" y="552"/>
                    </a:lnTo>
                    <a:lnTo>
                      <a:pt x="156" y="546"/>
                    </a:lnTo>
                    <a:lnTo>
                      <a:pt x="162" y="546"/>
                    </a:lnTo>
                    <a:lnTo>
                      <a:pt x="174" y="552"/>
                    </a:lnTo>
                    <a:lnTo>
                      <a:pt x="180" y="558"/>
                    </a:lnTo>
                    <a:lnTo>
                      <a:pt x="192" y="558"/>
                    </a:lnTo>
                    <a:lnTo>
                      <a:pt x="210" y="564"/>
                    </a:lnTo>
                    <a:lnTo>
                      <a:pt x="216" y="576"/>
                    </a:lnTo>
                    <a:lnTo>
                      <a:pt x="252" y="576"/>
                    </a:lnTo>
                    <a:lnTo>
                      <a:pt x="258" y="582"/>
                    </a:lnTo>
                    <a:lnTo>
                      <a:pt x="258" y="588"/>
                    </a:lnTo>
                    <a:lnTo>
                      <a:pt x="270" y="588"/>
                    </a:lnTo>
                    <a:lnTo>
                      <a:pt x="276" y="582"/>
                    </a:lnTo>
                    <a:lnTo>
                      <a:pt x="276" y="570"/>
                    </a:lnTo>
                    <a:lnTo>
                      <a:pt x="294" y="570"/>
                    </a:lnTo>
                    <a:lnTo>
                      <a:pt x="312" y="588"/>
                    </a:lnTo>
                    <a:lnTo>
                      <a:pt x="330" y="588"/>
                    </a:lnTo>
                    <a:lnTo>
                      <a:pt x="336" y="582"/>
                    </a:lnTo>
                    <a:lnTo>
                      <a:pt x="354" y="570"/>
                    </a:lnTo>
                    <a:lnTo>
                      <a:pt x="372" y="570"/>
                    </a:lnTo>
                    <a:lnTo>
                      <a:pt x="390" y="558"/>
                    </a:lnTo>
                    <a:lnTo>
                      <a:pt x="402" y="564"/>
                    </a:lnTo>
                    <a:lnTo>
                      <a:pt x="420" y="570"/>
                    </a:lnTo>
                    <a:lnTo>
                      <a:pt x="432" y="582"/>
                    </a:lnTo>
                    <a:lnTo>
                      <a:pt x="438" y="582"/>
                    </a:lnTo>
                    <a:lnTo>
                      <a:pt x="438" y="540"/>
                    </a:lnTo>
                    <a:lnTo>
                      <a:pt x="426" y="540"/>
                    </a:lnTo>
                    <a:lnTo>
                      <a:pt x="426" y="534"/>
                    </a:lnTo>
                    <a:lnTo>
                      <a:pt x="432" y="528"/>
                    </a:lnTo>
                    <a:lnTo>
                      <a:pt x="432" y="522"/>
                    </a:lnTo>
                    <a:lnTo>
                      <a:pt x="438" y="516"/>
                    </a:lnTo>
                    <a:lnTo>
                      <a:pt x="456" y="516"/>
                    </a:lnTo>
                    <a:lnTo>
                      <a:pt x="462" y="522"/>
                    </a:lnTo>
                    <a:lnTo>
                      <a:pt x="468" y="522"/>
                    </a:lnTo>
                    <a:lnTo>
                      <a:pt x="468" y="504"/>
                    </a:lnTo>
                    <a:lnTo>
                      <a:pt x="462" y="492"/>
                    </a:lnTo>
                    <a:lnTo>
                      <a:pt x="480" y="492"/>
                    </a:lnTo>
                    <a:lnTo>
                      <a:pt x="486" y="474"/>
                    </a:lnTo>
                    <a:lnTo>
                      <a:pt x="486" y="462"/>
                    </a:lnTo>
                    <a:lnTo>
                      <a:pt x="480" y="462"/>
                    </a:lnTo>
                    <a:lnTo>
                      <a:pt x="474" y="456"/>
                    </a:lnTo>
                    <a:lnTo>
                      <a:pt x="462" y="456"/>
                    </a:lnTo>
                    <a:lnTo>
                      <a:pt x="456" y="444"/>
                    </a:lnTo>
                    <a:lnTo>
                      <a:pt x="450" y="444"/>
                    </a:lnTo>
                    <a:lnTo>
                      <a:pt x="444" y="432"/>
                    </a:lnTo>
                    <a:lnTo>
                      <a:pt x="432" y="432"/>
                    </a:lnTo>
                    <a:lnTo>
                      <a:pt x="420" y="426"/>
                    </a:lnTo>
                    <a:lnTo>
                      <a:pt x="420" y="420"/>
                    </a:lnTo>
                    <a:lnTo>
                      <a:pt x="414" y="420"/>
                    </a:lnTo>
                    <a:lnTo>
                      <a:pt x="408" y="408"/>
                    </a:lnTo>
                    <a:lnTo>
                      <a:pt x="396" y="396"/>
                    </a:lnTo>
                    <a:lnTo>
                      <a:pt x="396" y="390"/>
                    </a:lnTo>
                    <a:lnTo>
                      <a:pt x="402" y="390"/>
                    </a:lnTo>
                    <a:lnTo>
                      <a:pt x="408" y="384"/>
                    </a:lnTo>
                    <a:lnTo>
                      <a:pt x="396" y="372"/>
                    </a:lnTo>
                    <a:lnTo>
                      <a:pt x="390" y="372"/>
                    </a:lnTo>
                    <a:lnTo>
                      <a:pt x="384" y="366"/>
                    </a:lnTo>
                    <a:lnTo>
                      <a:pt x="384" y="354"/>
                    </a:lnTo>
                    <a:lnTo>
                      <a:pt x="390" y="354"/>
                    </a:lnTo>
                    <a:lnTo>
                      <a:pt x="390" y="360"/>
                    </a:lnTo>
                    <a:lnTo>
                      <a:pt x="402" y="360"/>
                    </a:lnTo>
                    <a:lnTo>
                      <a:pt x="402" y="354"/>
                    </a:lnTo>
                    <a:lnTo>
                      <a:pt x="414" y="354"/>
                    </a:lnTo>
                    <a:lnTo>
                      <a:pt x="414" y="348"/>
                    </a:lnTo>
                    <a:lnTo>
                      <a:pt x="420" y="342"/>
                    </a:lnTo>
                    <a:lnTo>
                      <a:pt x="426" y="342"/>
                    </a:lnTo>
                    <a:lnTo>
                      <a:pt x="438" y="348"/>
                    </a:lnTo>
                    <a:lnTo>
                      <a:pt x="450" y="336"/>
                    </a:lnTo>
                    <a:lnTo>
                      <a:pt x="468" y="330"/>
                    </a:lnTo>
                    <a:lnTo>
                      <a:pt x="468" y="324"/>
                    </a:lnTo>
                    <a:lnTo>
                      <a:pt x="492" y="324"/>
                    </a:lnTo>
                    <a:lnTo>
                      <a:pt x="492" y="318"/>
                    </a:lnTo>
                    <a:lnTo>
                      <a:pt x="510" y="318"/>
                    </a:lnTo>
                    <a:lnTo>
                      <a:pt x="510" y="312"/>
                    </a:lnTo>
                    <a:lnTo>
                      <a:pt x="516" y="306"/>
                    </a:lnTo>
                    <a:lnTo>
                      <a:pt x="522" y="306"/>
                    </a:lnTo>
                    <a:lnTo>
                      <a:pt x="528" y="300"/>
                    </a:lnTo>
                    <a:lnTo>
                      <a:pt x="540" y="312"/>
                    </a:lnTo>
                    <a:lnTo>
                      <a:pt x="552" y="312"/>
                    </a:lnTo>
                    <a:lnTo>
                      <a:pt x="558" y="300"/>
                    </a:lnTo>
                    <a:lnTo>
                      <a:pt x="558" y="294"/>
                    </a:lnTo>
                    <a:lnTo>
                      <a:pt x="564" y="288"/>
                    </a:lnTo>
                    <a:lnTo>
                      <a:pt x="564" y="282"/>
                    </a:lnTo>
                    <a:lnTo>
                      <a:pt x="552" y="282"/>
                    </a:lnTo>
                    <a:lnTo>
                      <a:pt x="558" y="276"/>
                    </a:lnTo>
                    <a:lnTo>
                      <a:pt x="558" y="264"/>
                    </a:lnTo>
                    <a:lnTo>
                      <a:pt x="552" y="264"/>
                    </a:lnTo>
                    <a:lnTo>
                      <a:pt x="546" y="270"/>
                    </a:lnTo>
                    <a:lnTo>
                      <a:pt x="546" y="252"/>
                    </a:lnTo>
                    <a:lnTo>
                      <a:pt x="540" y="246"/>
                    </a:lnTo>
                    <a:lnTo>
                      <a:pt x="534" y="246"/>
                    </a:lnTo>
                    <a:lnTo>
                      <a:pt x="528" y="240"/>
                    </a:lnTo>
                    <a:lnTo>
                      <a:pt x="528" y="234"/>
                    </a:lnTo>
                    <a:lnTo>
                      <a:pt x="540" y="228"/>
                    </a:lnTo>
                    <a:lnTo>
                      <a:pt x="546" y="222"/>
                    </a:lnTo>
                    <a:lnTo>
                      <a:pt x="540" y="216"/>
                    </a:lnTo>
                    <a:lnTo>
                      <a:pt x="534" y="216"/>
                    </a:lnTo>
                    <a:lnTo>
                      <a:pt x="540" y="210"/>
                    </a:lnTo>
                    <a:lnTo>
                      <a:pt x="540" y="204"/>
                    </a:lnTo>
                    <a:lnTo>
                      <a:pt x="528" y="204"/>
                    </a:lnTo>
                    <a:lnTo>
                      <a:pt x="528" y="192"/>
                    </a:lnTo>
                    <a:lnTo>
                      <a:pt x="534" y="192"/>
                    </a:lnTo>
                    <a:lnTo>
                      <a:pt x="534" y="174"/>
                    </a:lnTo>
                    <a:lnTo>
                      <a:pt x="522" y="174"/>
                    </a:lnTo>
                    <a:lnTo>
                      <a:pt x="516" y="168"/>
                    </a:lnTo>
                    <a:lnTo>
                      <a:pt x="510" y="168"/>
                    </a:lnTo>
                    <a:lnTo>
                      <a:pt x="504" y="162"/>
                    </a:lnTo>
                    <a:lnTo>
                      <a:pt x="504" y="150"/>
                    </a:lnTo>
                    <a:lnTo>
                      <a:pt x="510" y="150"/>
                    </a:lnTo>
                    <a:lnTo>
                      <a:pt x="522" y="138"/>
                    </a:lnTo>
                    <a:lnTo>
                      <a:pt x="522" y="120"/>
                    </a:lnTo>
                    <a:lnTo>
                      <a:pt x="516" y="114"/>
                    </a:lnTo>
                    <a:lnTo>
                      <a:pt x="510" y="114"/>
                    </a:lnTo>
                    <a:lnTo>
                      <a:pt x="510" y="96"/>
                    </a:lnTo>
                    <a:lnTo>
                      <a:pt x="504" y="90"/>
                    </a:lnTo>
                    <a:lnTo>
                      <a:pt x="486" y="84"/>
                    </a:lnTo>
                    <a:lnTo>
                      <a:pt x="486" y="78"/>
                    </a:lnTo>
                    <a:lnTo>
                      <a:pt x="480" y="66"/>
                    </a:lnTo>
                    <a:lnTo>
                      <a:pt x="474" y="60"/>
                    </a:lnTo>
                    <a:lnTo>
                      <a:pt x="456" y="60"/>
                    </a:lnTo>
                    <a:lnTo>
                      <a:pt x="450" y="54"/>
                    </a:lnTo>
                    <a:lnTo>
                      <a:pt x="444" y="54"/>
                    </a:lnTo>
                    <a:lnTo>
                      <a:pt x="438" y="48"/>
                    </a:lnTo>
                    <a:lnTo>
                      <a:pt x="426" y="48"/>
                    </a:lnTo>
                    <a:lnTo>
                      <a:pt x="420" y="42"/>
                    </a:lnTo>
                    <a:lnTo>
                      <a:pt x="396" y="42"/>
                    </a:lnTo>
                    <a:lnTo>
                      <a:pt x="384" y="54"/>
                    </a:lnTo>
                    <a:lnTo>
                      <a:pt x="342" y="54"/>
                    </a:lnTo>
                    <a:lnTo>
                      <a:pt x="342" y="72"/>
                    </a:lnTo>
                    <a:lnTo>
                      <a:pt x="300" y="72"/>
                    </a:lnTo>
                    <a:lnTo>
                      <a:pt x="300" y="60"/>
                    </a:lnTo>
                    <a:lnTo>
                      <a:pt x="312" y="48"/>
                    </a:lnTo>
                    <a:lnTo>
                      <a:pt x="312" y="42"/>
                    </a:lnTo>
                    <a:lnTo>
                      <a:pt x="318" y="30"/>
                    </a:lnTo>
                    <a:lnTo>
                      <a:pt x="294" y="42"/>
                    </a:lnTo>
                    <a:lnTo>
                      <a:pt x="252" y="36"/>
                    </a:lnTo>
                    <a:lnTo>
                      <a:pt x="246" y="30"/>
                    </a:lnTo>
                    <a:lnTo>
                      <a:pt x="246" y="18"/>
                    </a:lnTo>
                    <a:lnTo>
                      <a:pt x="240" y="6"/>
                    </a:lnTo>
                    <a:lnTo>
                      <a:pt x="234" y="6"/>
                    </a:lnTo>
                    <a:lnTo>
                      <a:pt x="234" y="12"/>
                    </a:lnTo>
                    <a:lnTo>
                      <a:pt x="228" y="6"/>
                    </a:lnTo>
                    <a:lnTo>
                      <a:pt x="204" y="6"/>
                    </a:lnTo>
                    <a:lnTo>
                      <a:pt x="198" y="0"/>
                    </a:lnTo>
                    <a:lnTo>
                      <a:pt x="168" y="0"/>
                    </a:lnTo>
                    <a:lnTo>
                      <a:pt x="192" y="36"/>
                    </a:lnTo>
                    <a:lnTo>
                      <a:pt x="180" y="48"/>
                    </a:lnTo>
                    <a:lnTo>
                      <a:pt x="198" y="72"/>
                    </a:lnTo>
                    <a:lnTo>
                      <a:pt x="216" y="90"/>
                    </a:lnTo>
                    <a:lnTo>
                      <a:pt x="186" y="78"/>
                    </a:lnTo>
                    <a:lnTo>
                      <a:pt x="162" y="84"/>
                    </a:lnTo>
                    <a:lnTo>
                      <a:pt x="162" y="108"/>
                    </a:lnTo>
                    <a:lnTo>
                      <a:pt x="132" y="108"/>
                    </a:lnTo>
                    <a:lnTo>
                      <a:pt x="126" y="96"/>
                    </a:lnTo>
                    <a:lnTo>
                      <a:pt x="84" y="96"/>
                    </a:lnTo>
                    <a:lnTo>
                      <a:pt x="84" y="126"/>
                    </a:lnTo>
                    <a:lnTo>
                      <a:pt x="90" y="126"/>
                    </a:lnTo>
                    <a:lnTo>
                      <a:pt x="84" y="132"/>
                    </a:lnTo>
                    <a:lnTo>
                      <a:pt x="90" y="144"/>
                    </a:lnTo>
                    <a:lnTo>
                      <a:pt x="78" y="150"/>
                    </a:lnTo>
                    <a:lnTo>
                      <a:pt x="72" y="150"/>
                    </a:lnTo>
                    <a:lnTo>
                      <a:pt x="72" y="168"/>
                    </a:lnTo>
                    <a:lnTo>
                      <a:pt x="78" y="174"/>
                    </a:lnTo>
                    <a:lnTo>
                      <a:pt x="66" y="174"/>
                    </a:lnTo>
                    <a:lnTo>
                      <a:pt x="54" y="180"/>
                    </a:lnTo>
                    <a:lnTo>
                      <a:pt x="48" y="180"/>
                    </a:lnTo>
                    <a:lnTo>
                      <a:pt x="48" y="186"/>
                    </a:lnTo>
                    <a:lnTo>
                      <a:pt x="54" y="192"/>
                    </a:lnTo>
                    <a:lnTo>
                      <a:pt x="60" y="192"/>
                    </a:lnTo>
                    <a:lnTo>
                      <a:pt x="72" y="204"/>
                    </a:lnTo>
                    <a:lnTo>
                      <a:pt x="72" y="210"/>
                    </a:lnTo>
                    <a:lnTo>
                      <a:pt x="66" y="210"/>
                    </a:lnTo>
                    <a:lnTo>
                      <a:pt x="60" y="216"/>
                    </a:lnTo>
                    <a:lnTo>
                      <a:pt x="54" y="228"/>
                    </a:lnTo>
                    <a:lnTo>
                      <a:pt x="48" y="228"/>
                    </a:lnTo>
                    <a:lnTo>
                      <a:pt x="42" y="234"/>
                    </a:lnTo>
                    <a:lnTo>
                      <a:pt x="42" y="240"/>
                    </a:lnTo>
                    <a:lnTo>
                      <a:pt x="18" y="240"/>
                    </a:lnTo>
                    <a:lnTo>
                      <a:pt x="12" y="234"/>
                    </a:lnTo>
                    <a:lnTo>
                      <a:pt x="6" y="234"/>
                    </a:lnTo>
                    <a:lnTo>
                      <a:pt x="12" y="258"/>
                    </a:lnTo>
                    <a:lnTo>
                      <a:pt x="12" y="264"/>
                    </a:lnTo>
                    <a:lnTo>
                      <a:pt x="18" y="270"/>
                    </a:lnTo>
                    <a:lnTo>
                      <a:pt x="18" y="276"/>
                    </a:lnTo>
                    <a:lnTo>
                      <a:pt x="6" y="282"/>
                    </a:lnTo>
                    <a:lnTo>
                      <a:pt x="0" y="288"/>
                    </a:lnTo>
                    <a:lnTo>
                      <a:pt x="6" y="294"/>
                    </a:lnTo>
                    <a:lnTo>
                      <a:pt x="6" y="306"/>
                    </a:lnTo>
                    <a:lnTo>
                      <a:pt x="0" y="312"/>
                    </a:lnTo>
                    <a:lnTo>
                      <a:pt x="0" y="324"/>
                    </a:lnTo>
                    <a:lnTo>
                      <a:pt x="12" y="324"/>
                    </a:lnTo>
                    <a:lnTo>
                      <a:pt x="24" y="336"/>
                    </a:lnTo>
                    <a:lnTo>
                      <a:pt x="24" y="354"/>
                    </a:lnTo>
                    <a:lnTo>
                      <a:pt x="30" y="360"/>
                    </a:lnTo>
                    <a:lnTo>
                      <a:pt x="18" y="360"/>
                    </a:lnTo>
                    <a:lnTo>
                      <a:pt x="12" y="366"/>
                    </a:lnTo>
                    <a:lnTo>
                      <a:pt x="12" y="384"/>
                    </a:lnTo>
                    <a:lnTo>
                      <a:pt x="18" y="390"/>
                    </a:lnTo>
                    <a:lnTo>
                      <a:pt x="24" y="390"/>
                    </a:lnTo>
                    <a:lnTo>
                      <a:pt x="36" y="396"/>
                    </a:lnTo>
                    <a:lnTo>
                      <a:pt x="36" y="408"/>
                    </a:lnTo>
                    <a:lnTo>
                      <a:pt x="30" y="414"/>
                    </a:lnTo>
                    <a:close/>
                  </a:path>
                </a:pathLst>
              </a:custGeom>
              <a:solidFill>
                <a:srgbClr val="4966AC"/>
              </a:solidFill>
              <a:ln w="3175" algn="ctr">
                <a:solidFill>
                  <a:srgbClr val="4A66AC"/>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95" name="Georgia" descr="© INSCALE GmbH, 05.05.2010&#10;http://www.presentationload.com/">
                <a:extLst>
                  <a:ext uri="{FF2B5EF4-FFF2-40B4-BE49-F238E27FC236}">
                    <a16:creationId xmlns:a16="http://schemas.microsoft.com/office/drawing/2014/main" id="{C630DE78-B2F9-4D0A-AA5D-B33F2455AFD9}"/>
                  </a:ext>
                </a:extLst>
              </p:cNvPr>
              <p:cNvSpPr>
                <a:spLocks/>
              </p:cNvSpPr>
              <p:nvPr/>
            </p:nvSpPr>
            <p:spPr bwMode="gray">
              <a:xfrm>
                <a:off x="5259843" y="3010200"/>
                <a:ext cx="182510" cy="93566"/>
              </a:xfrm>
              <a:custGeom>
                <a:avLst/>
                <a:gdLst>
                  <a:gd name="T0" fmla="*/ 2147483647 w 462"/>
                  <a:gd name="T1" fmla="*/ 2147483647 h 210"/>
                  <a:gd name="T2" fmla="*/ 2147483647 w 462"/>
                  <a:gd name="T3" fmla="*/ 2147483647 h 210"/>
                  <a:gd name="T4" fmla="*/ 2147483647 w 462"/>
                  <a:gd name="T5" fmla="*/ 2147483647 h 210"/>
                  <a:gd name="T6" fmla="*/ 2147483647 w 462"/>
                  <a:gd name="T7" fmla="*/ 2147483647 h 210"/>
                  <a:gd name="T8" fmla="*/ 2147483647 w 462"/>
                  <a:gd name="T9" fmla="*/ 2147483647 h 210"/>
                  <a:gd name="T10" fmla="*/ 2147483647 w 462"/>
                  <a:gd name="T11" fmla="*/ 2147483647 h 210"/>
                  <a:gd name="T12" fmla="*/ 2147483647 w 462"/>
                  <a:gd name="T13" fmla="*/ 2147483647 h 210"/>
                  <a:gd name="T14" fmla="*/ 2147483647 w 462"/>
                  <a:gd name="T15" fmla="*/ 2147483647 h 210"/>
                  <a:gd name="T16" fmla="*/ 2147483647 w 462"/>
                  <a:gd name="T17" fmla="*/ 2147483647 h 210"/>
                  <a:gd name="T18" fmla="*/ 2147483647 w 462"/>
                  <a:gd name="T19" fmla="*/ 2147483647 h 210"/>
                  <a:gd name="T20" fmla="*/ 2147483647 w 462"/>
                  <a:gd name="T21" fmla="*/ 2147483647 h 210"/>
                  <a:gd name="T22" fmla="*/ 2147483647 w 462"/>
                  <a:gd name="T23" fmla="*/ 2147483647 h 210"/>
                  <a:gd name="T24" fmla="*/ 2147483647 w 462"/>
                  <a:gd name="T25" fmla="*/ 2147483647 h 210"/>
                  <a:gd name="T26" fmla="*/ 2147483647 w 462"/>
                  <a:gd name="T27" fmla="*/ 2147483647 h 210"/>
                  <a:gd name="T28" fmla="*/ 2147483647 w 462"/>
                  <a:gd name="T29" fmla="*/ 2147483647 h 210"/>
                  <a:gd name="T30" fmla="*/ 2147483647 w 462"/>
                  <a:gd name="T31" fmla="*/ 2147483647 h 210"/>
                  <a:gd name="T32" fmla="*/ 2147483647 w 462"/>
                  <a:gd name="T33" fmla="*/ 2147483647 h 210"/>
                  <a:gd name="T34" fmla="*/ 2147483647 w 462"/>
                  <a:gd name="T35" fmla="*/ 2147483647 h 210"/>
                  <a:gd name="T36" fmla="*/ 2147483647 w 462"/>
                  <a:gd name="T37" fmla="*/ 2147483647 h 210"/>
                  <a:gd name="T38" fmla="*/ 2147483647 w 462"/>
                  <a:gd name="T39" fmla="*/ 2147483647 h 210"/>
                  <a:gd name="T40" fmla="*/ 2147483647 w 462"/>
                  <a:gd name="T41" fmla="*/ 2147483647 h 210"/>
                  <a:gd name="T42" fmla="*/ 2147483647 w 462"/>
                  <a:gd name="T43" fmla="*/ 2147483647 h 210"/>
                  <a:gd name="T44" fmla="*/ 2147483647 w 462"/>
                  <a:gd name="T45" fmla="*/ 2147483647 h 210"/>
                  <a:gd name="T46" fmla="*/ 2147483647 w 462"/>
                  <a:gd name="T47" fmla="*/ 2147483647 h 210"/>
                  <a:gd name="T48" fmla="*/ 2147483647 w 462"/>
                  <a:gd name="T49" fmla="*/ 2147483647 h 210"/>
                  <a:gd name="T50" fmla="*/ 2147483647 w 462"/>
                  <a:gd name="T51" fmla="*/ 2147483647 h 210"/>
                  <a:gd name="T52" fmla="*/ 2147483647 w 462"/>
                  <a:gd name="T53" fmla="*/ 2147483647 h 210"/>
                  <a:gd name="T54" fmla="*/ 2147483647 w 462"/>
                  <a:gd name="T55" fmla="*/ 2147483647 h 210"/>
                  <a:gd name="T56" fmla="*/ 2147483647 w 462"/>
                  <a:gd name="T57" fmla="*/ 2147483647 h 210"/>
                  <a:gd name="T58" fmla="*/ 2147483647 w 462"/>
                  <a:gd name="T59" fmla="*/ 2147483647 h 210"/>
                  <a:gd name="T60" fmla="*/ 2147483647 w 462"/>
                  <a:gd name="T61" fmla="*/ 2147483647 h 210"/>
                  <a:gd name="T62" fmla="*/ 2147483647 w 462"/>
                  <a:gd name="T63" fmla="*/ 2147483647 h 210"/>
                  <a:gd name="T64" fmla="*/ 2147483647 w 462"/>
                  <a:gd name="T65" fmla="*/ 2147483647 h 210"/>
                  <a:gd name="T66" fmla="*/ 2147483647 w 462"/>
                  <a:gd name="T67" fmla="*/ 2147483647 h 210"/>
                  <a:gd name="T68" fmla="*/ 2147483647 w 462"/>
                  <a:gd name="T69" fmla="*/ 2147483647 h 210"/>
                  <a:gd name="T70" fmla="*/ 2147483647 w 462"/>
                  <a:gd name="T71" fmla="*/ 2147483647 h 210"/>
                  <a:gd name="T72" fmla="*/ 2147483647 w 462"/>
                  <a:gd name="T73" fmla="*/ 2147483647 h 210"/>
                  <a:gd name="T74" fmla="*/ 2147483647 w 462"/>
                  <a:gd name="T75" fmla="*/ 2147483647 h 210"/>
                  <a:gd name="T76" fmla="*/ 2147483647 w 462"/>
                  <a:gd name="T77" fmla="*/ 2147483647 h 210"/>
                  <a:gd name="T78" fmla="*/ 2147483647 w 462"/>
                  <a:gd name="T79" fmla="*/ 2147483647 h 210"/>
                  <a:gd name="T80" fmla="*/ 2147483647 w 462"/>
                  <a:gd name="T81" fmla="*/ 0 h 210"/>
                  <a:gd name="T82" fmla="*/ 0 w 462"/>
                  <a:gd name="T83" fmla="*/ 2147483647 h 210"/>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462"/>
                  <a:gd name="T127" fmla="*/ 0 h 210"/>
                  <a:gd name="T128" fmla="*/ 462 w 462"/>
                  <a:gd name="T129" fmla="*/ 210 h 210"/>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462" h="210">
                    <a:moveTo>
                      <a:pt x="6" y="18"/>
                    </a:moveTo>
                    <a:lnTo>
                      <a:pt x="12" y="18"/>
                    </a:lnTo>
                    <a:lnTo>
                      <a:pt x="18" y="24"/>
                    </a:lnTo>
                    <a:lnTo>
                      <a:pt x="30" y="30"/>
                    </a:lnTo>
                    <a:lnTo>
                      <a:pt x="42" y="42"/>
                    </a:lnTo>
                    <a:lnTo>
                      <a:pt x="60" y="48"/>
                    </a:lnTo>
                    <a:lnTo>
                      <a:pt x="72" y="54"/>
                    </a:lnTo>
                    <a:lnTo>
                      <a:pt x="78" y="54"/>
                    </a:lnTo>
                    <a:lnTo>
                      <a:pt x="84" y="60"/>
                    </a:lnTo>
                    <a:lnTo>
                      <a:pt x="96" y="66"/>
                    </a:lnTo>
                    <a:lnTo>
                      <a:pt x="102" y="78"/>
                    </a:lnTo>
                    <a:lnTo>
                      <a:pt x="114" y="84"/>
                    </a:lnTo>
                    <a:lnTo>
                      <a:pt x="114" y="96"/>
                    </a:lnTo>
                    <a:lnTo>
                      <a:pt x="120" y="114"/>
                    </a:lnTo>
                    <a:lnTo>
                      <a:pt x="120" y="132"/>
                    </a:lnTo>
                    <a:lnTo>
                      <a:pt x="126" y="138"/>
                    </a:lnTo>
                    <a:lnTo>
                      <a:pt x="132" y="150"/>
                    </a:lnTo>
                    <a:lnTo>
                      <a:pt x="138" y="156"/>
                    </a:lnTo>
                    <a:lnTo>
                      <a:pt x="138" y="162"/>
                    </a:lnTo>
                    <a:lnTo>
                      <a:pt x="132" y="168"/>
                    </a:lnTo>
                    <a:lnTo>
                      <a:pt x="168" y="174"/>
                    </a:lnTo>
                    <a:lnTo>
                      <a:pt x="174" y="168"/>
                    </a:lnTo>
                    <a:lnTo>
                      <a:pt x="186" y="162"/>
                    </a:lnTo>
                    <a:lnTo>
                      <a:pt x="198" y="162"/>
                    </a:lnTo>
                    <a:lnTo>
                      <a:pt x="210" y="168"/>
                    </a:lnTo>
                    <a:lnTo>
                      <a:pt x="216" y="174"/>
                    </a:lnTo>
                    <a:lnTo>
                      <a:pt x="222" y="186"/>
                    </a:lnTo>
                    <a:lnTo>
                      <a:pt x="222" y="192"/>
                    </a:lnTo>
                    <a:lnTo>
                      <a:pt x="246" y="192"/>
                    </a:lnTo>
                    <a:lnTo>
                      <a:pt x="246" y="198"/>
                    </a:lnTo>
                    <a:lnTo>
                      <a:pt x="252" y="204"/>
                    </a:lnTo>
                    <a:lnTo>
                      <a:pt x="276" y="198"/>
                    </a:lnTo>
                    <a:lnTo>
                      <a:pt x="282" y="192"/>
                    </a:lnTo>
                    <a:lnTo>
                      <a:pt x="336" y="198"/>
                    </a:lnTo>
                    <a:lnTo>
                      <a:pt x="336" y="180"/>
                    </a:lnTo>
                    <a:lnTo>
                      <a:pt x="342" y="180"/>
                    </a:lnTo>
                    <a:lnTo>
                      <a:pt x="348" y="186"/>
                    </a:lnTo>
                    <a:lnTo>
                      <a:pt x="354" y="186"/>
                    </a:lnTo>
                    <a:lnTo>
                      <a:pt x="354" y="180"/>
                    </a:lnTo>
                    <a:lnTo>
                      <a:pt x="366" y="168"/>
                    </a:lnTo>
                    <a:lnTo>
                      <a:pt x="390" y="168"/>
                    </a:lnTo>
                    <a:lnTo>
                      <a:pt x="396" y="174"/>
                    </a:lnTo>
                    <a:lnTo>
                      <a:pt x="396" y="180"/>
                    </a:lnTo>
                    <a:lnTo>
                      <a:pt x="414" y="198"/>
                    </a:lnTo>
                    <a:lnTo>
                      <a:pt x="426" y="192"/>
                    </a:lnTo>
                    <a:lnTo>
                      <a:pt x="438" y="192"/>
                    </a:lnTo>
                    <a:lnTo>
                      <a:pt x="456" y="210"/>
                    </a:lnTo>
                    <a:lnTo>
                      <a:pt x="462" y="204"/>
                    </a:lnTo>
                    <a:lnTo>
                      <a:pt x="456" y="192"/>
                    </a:lnTo>
                    <a:lnTo>
                      <a:pt x="450" y="186"/>
                    </a:lnTo>
                    <a:lnTo>
                      <a:pt x="444" y="174"/>
                    </a:lnTo>
                    <a:lnTo>
                      <a:pt x="438" y="168"/>
                    </a:lnTo>
                    <a:lnTo>
                      <a:pt x="432" y="168"/>
                    </a:lnTo>
                    <a:lnTo>
                      <a:pt x="414" y="150"/>
                    </a:lnTo>
                    <a:lnTo>
                      <a:pt x="420" y="144"/>
                    </a:lnTo>
                    <a:lnTo>
                      <a:pt x="432" y="144"/>
                    </a:lnTo>
                    <a:lnTo>
                      <a:pt x="420" y="132"/>
                    </a:lnTo>
                    <a:lnTo>
                      <a:pt x="408" y="126"/>
                    </a:lnTo>
                    <a:lnTo>
                      <a:pt x="396" y="114"/>
                    </a:lnTo>
                    <a:lnTo>
                      <a:pt x="378" y="114"/>
                    </a:lnTo>
                    <a:lnTo>
                      <a:pt x="378" y="108"/>
                    </a:lnTo>
                    <a:lnTo>
                      <a:pt x="384" y="102"/>
                    </a:lnTo>
                    <a:lnTo>
                      <a:pt x="384" y="90"/>
                    </a:lnTo>
                    <a:lnTo>
                      <a:pt x="354" y="84"/>
                    </a:lnTo>
                    <a:lnTo>
                      <a:pt x="342" y="72"/>
                    </a:lnTo>
                    <a:lnTo>
                      <a:pt x="330" y="66"/>
                    </a:lnTo>
                    <a:lnTo>
                      <a:pt x="300" y="66"/>
                    </a:lnTo>
                    <a:lnTo>
                      <a:pt x="300" y="72"/>
                    </a:lnTo>
                    <a:lnTo>
                      <a:pt x="288" y="72"/>
                    </a:lnTo>
                    <a:lnTo>
                      <a:pt x="282" y="78"/>
                    </a:lnTo>
                    <a:lnTo>
                      <a:pt x="258" y="78"/>
                    </a:lnTo>
                    <a:lnTo>
                      <a:pt x="246" y="72"/>
                    </a:lnTo>
                    <a:lnTo>
                      <a:pt x="240" y="72"/>
                    </a:lnTo>
                    <a:lnTo>
                      <a:pt x="240" y="66"/>
                    </a:lnTo>
                    <a:lnTo>
                      <a:pt x="192" y="36"/>
                    </a:lnTo>
                    <a:lnTo>
                      <a:pt x="186" y="36"/>
                    </a:lnTo>
                    <a:lnTo>
                      <a:pt x="180" y="30"/>
                    </a:lnTo>
                    <a:lnTo>
                      <a:pt x="144" y="30"/>
                    </a:lnTo>
                    <a:lnTo>
                      <a:pt x="84" y="18"/>
                    </a:lnTo>
                    <a:lnTo>
                      <a:pt x="66" y="12"/>
                    </a:lnTo>
                    <a:lnTo>
                      <a:pt x="54" y="6"/>
                    </a:lnTo>
                    <a:lnTo>
                      <a:pt x="36" y="0"/>
                    </a:lnTo>
                    <a:lnTo>
                      <a:pt x="24" y="0"/>
                    </a:lnTo>
                    <a:lnTo>
                      <a:pt x="0" y="18"/>
                    </a:lnTo>
                    <a:lnTo>
                      <a:pt x="6" y="18"/>
                    </a:lnTo>
                    <a:close/>
                  </a:path>
                </a:pathLst>
              </a:custGeom>
              <a:solidFill>
                <a:schemeClr val="bg1">
                  <a:lumMod val="85000"/>
                </a:schemeClr>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96" name="France" descr="© INSCALE GmbH, 05.05.2010&#10;http://www.presentationload.com/">
                <a:extLst>
                  <a:ext uri="{FF2B5EF4-FFF2-40B4-BE49-F238E27FC236}">
                    <a16:creationId xmlns:a16="http://schemas.microsoft.com/office/drawing/2014/main" id="{B2A5168D-87CC-43B9-81E1-9111FCF14E37}"/>
                  </a:ext>
                </a:extLst>
              </p:cNvPr>
              <p:cNvSpPr>
                <a:spLocks noEditPoints="1"/>
              </p:cNvSpPr>
              <p:nvPr/>
            </p:nvSpPr>
            <p:spPr bwMode="gray">
              <a:xfrm>
                <a:off x="4125788" y="2746829"/>
                <a:ext cx="360339" cy="346540"/>
              </a:xfrm>
              <a:custGeom>
                <a:avLst/>
                <a:gdLst>
                  <a:gd name="T0" fmla="*/ 2147483647 w 230"/>
                  <a:gd name="T1" fmla="*/ 2147483647 h 198"/>
                  <a:gd name="T2" fmla="*/ 2147483647 w 230"/>
                  <a:gd name="T3" fmla="*/ 2147483647 h 198"/>
                  <a:gd name="T4" fmla="*/ 2147483647 w 230"/>
                  <a:gd name="T5" fmla="*/ 2147483647 h 198"/>
                  <a:gd name="T6" fmla="*/ 2147483647 w 230"/>
                  <a:gd name="T7" fmla="*/ 2147483647 h 198"/>
                  <a:gd name="T8" fmla="*/ 2147483647 w 230"/>
                  <a:gd name="T9" fmla="*/ 2147483647 h 198"/>
                  <a:gd name="T10" fmla="*/ 2147483647 w 230"/>
                  <a:gd name="T11" fmla="*/ 2147483647 h 198"/>
                  <a:gd name="T12" fmla="*/ 2147483647 w 230"/>
                  <a:gd name="T13" fmla="*/ 2147483647 h 198"/>
                  <a:gd name="T14" fmla="*/ 2147483647 w 230"/>
                  <a:gd name="T15" fmla="*/ 2147483647 h 198"/>
                  <a:gd name="T16" fmla="*/ 2147483647 w 230"/>
                  <a:gd name="T17" fmla="*/ 2147483647 h 198"/>
                  <a:gd name="T18" fmla="*/ 2147483647 w 230"/>
                  <a:gd name="T19" fmla="*/ 2147483647 h 198"/>
                  <a:gd name="T20" fmla="*/ 2147483647 w 230"/>
                  <a:gd name="T21" fmla="*/ 2147483647 h 198"/>
                  <a:gd name="T22" fmla="*/ 2147483647 w 230"/>
                  <a:gd name="T23" fmla="*/ 2147483647 h 198"/>
                  <a:gd name="T24" fmla="*/ 2147483647 w 230"/>
                  <a:gd name="T25" fmla="*/ 2147483647 h 198"/>
                  <a:gd name="T26" fmla="*/ 2147483647 w 230"/>
                  <a:gd name="T27" fmla="*/ 2147483647 h 198"/>
                  <a:gd name="T28" fmla="*/ 2147483647 w 230"/>
                  <a:gd name="T29" fmla="*/ 2147483647 h 198"/>
                  <a:gd name="T30" fmla="*/ 2147483647 w 230"/>
                  <a:gd name="T31" fmla="*/ 2147483647 h 198"/>
                  <a:gd name="T32" fmla="*/ 2147483647 w 230"/>
                  <a:gd name="T33" fmla="*/ 2147483647 h 198"/>
                  <a:gd name="T34" fmla="*/ 2147483647 w 230"/>
                  <a:gd name="T35" fmla="*/ 2147483647 h 198"/>
                  <a:gd name="T36" fmla="*/ 2147483647 w 230"/>
                  <a:gd name="T37" fmla="*/ 2147483647 h 198"/>
                  <a:gd name="T38" fmla="*/ 2147483647 w 230"/>
                  <a:gd name="T39" fmla="*/ 2147483647 h 198"/>
                  <a:gd name="T40" fmla="*/ 2147483647 w 230"/>
                  <a:gd name="T41" fmla="*/ 2147483647 h 198"/>
                  <a:gd name="T42" fmla="*/ 2147483647 w 230"/>
                  <a:gd name="T43" fmla="*/ 2147483647 h 198"/>
                  <a:gd name="T44" fmla="*/ 2147483647 w 230"/>
                  <a:gd name="T45" fmla="*/ 2147483647 h 198"/>
                  <a:gd name="T46" fmla="*/ 2147483647 w 230"/>
                  <a:gd name="T47" fmla="*/ 2147483647 h 198"/>
                  <a:gd name="T48" fmla="*/ 2147483647 w 230"/>
                  <a:gd name="T49" fmla="*/ 2147483647 h 198"/>
                  <a:gd name="T50" fmla="*/ 2147483647 w 230"/>
                  <a:gd name="T51" fmla="*/ 2147483647 h 198"/>
                  <a:gd name="T52" fmla="*/ 2147483647 w 230"/>
                  <a:gd name="T53" fmla="*/ 2147483647 h 198"/>
                  <a:gd name="T54" fmla="*/ 2147483647 w 230"/>
                  <a:gd name="T55" fmla="*/ 2147483647 h 198"/>
                  <a:gd name="T56" fmla="*/ 2147483647 w 230"/>
                  <a:gd name="T57" fmla="*/ 2147483647 h 198"/>
                  <a:gd name="T58" fmla="*/ 2147483647 w 230"/>
                  <a:gd name="T59" fmla="*/ 2147483647 h 198"/>
                  <a:gd name="T60" fmla="*/ 2147483647 w 230"/>
                  <a:gd name="T61" fmla="*/ 2147483647 h 198"/>
                  <a:gd name="T62" fmla="*/ 2147483647 w 230"/>
                  <a:gd name="T63" fmla="*/ 2147483647 h 198"/>
                  <a:gd name="T64" fmla="*/ 2147483647 w 230"/>
                  <a:gd name="T65" fmla="*/ 2147483647 h 198"/>
                  <a:gd name="T66" fmla="*/ 2147483647 w 230"/>
                  <a:gd name="T67" fmla="*/ 2147483647 h 198"/>
                  <a:gd name="T68" fmla="*/ 2147483647 w 230"/>
                  <a:gd name="T69" fmla="*/ 2147483647 h 198"/>
                  <a:gd name="T70" fmla="*/ 2147483647 w 230"/>
                  <a:gd name="T71" fmla="*/ 2147483647 h 198"/>
                  <a:gd name="T72" fmla="*/ 2147483647 w 230"/>
                  <a:gd name="T73" fmla="*/ 2147483647 h 198"/>
                  <a:gd name="T74" fmla="*/ 2147483647 w 230"/>
                  <a:gd name="T75" fmla="*/ 2147483647 h 198"/>
                  <a:gd name="T76" fmla="*/ 2147483647 w 230"/>
                  <a:gd name="T77" fmla="*/ 2147483647 h 198"/>
                  <a:gd name="T78" fmla="*/ 2147483647 w 230"/>
                  <a:gd name="T79" fmla="*/ 2147483647 h 198"/>
                  <a:gd name="T80" fmla="*/ 2147483647 w 230"/>
                  <a:gd name="T81" fmla="*/ 2147483647 h 198"/>
                  <a:gd name="T82" fmla="*/ 2147483647 w 230"/>
                  <a:gd name="T83" fmla="*/ 2147483647 h 198"/>
                  <a:gd name="T84" fmla="*/ 2147483647 w 230"/>
                  <a:gd name="T85" fmla="*/ 2147483647 h 198"/>
                  <a:gd name="T86" fmla="*/ 2147483647 w 230"/>
                  <a:gd name="T87" fmla="*/ 2147483647 h 198"/>
                  <a:gd name="T88" fmla="*/ 2147483647 w 230"/>
                  <a:gd name="T89" fmla="*/ 2147483647 h 198"/>
                  <a:gd name="T90" fmla="*/ 2147483647 w 230"/>
                  <a:gd name="T91" fmla="*/ 2147483647 h 198"/>
                  <a:gd name="T92" fmla="*/ 2147483647 w 230"/>
                  <a:gd name="T93" fmla="*/ 2147483647 h 198"/>
                  <a:gd name="T94" fmla="*/ 2147483647 w 230"/>
                  <a:gd name="T95" fmla="*/ 2147483647 h 198"/>
                  <a:gd name="T96" fmla="*/ 2147483647 w 230"/>
                  <a:gd name="T97" fmla="*/ 2147483647 h 198"/>
                  <a:gd name="T98" fmla="*/ 2147483647 w 230"/>
                  <a:gd name="T99" fmla="*/ 2147483647 h 198"/>
                  <a:gd name="T100" fmla="*/ 2147483647 w 230"/>
                  <a:gd name="T101" fmla="*/ 2147483647 h 198"/>
                  <a:gd name="T102" fmla="*/ 2147483647 w 230"/>
                  <a:gd name="T103" fmla="*/ 2147483647 h 198"/>
                  <a:gd name="T104" fmla="*/ 2147483647 w 230"/>
                  <a:gd name="T105" fmla="*/ 2147483647 h 198"/>
                  <a:gd name="T106" fmla="*/ 2147483647 w 230"/>
                  <a:gd name="T107" fmla="*/ 2147483647 h 198"/>
                  <a:gd name="T108" fmla="*/ 2147483647 w 230"/>
                  <a:gd name="T109" fmla="*/ 2147483647 h 198"/>
                  <a:gd name="T110" fmla="*/ 2147483647 w 230"/>
                  <a:gd name="T111" fmla="*/ 2147483647 h 198"/>
                  <a:gd name="T112" fmla="*/ 2147483647 w 230"/>
                  <a:gd name="T113" fmla="*/ 2147483647 h 198"/>
                  <a:gd name="T114" fmla="*/ 2147483647 w 230"/>
                  <a:gd name="T115" fmla="*/ 2147483647 h 198"/>
                  <a:gd name="T116" fmla="*/ 2147483647 w 230"/>
                  <a:gd name="T117" fmla="*/ 2147483647 h 198"/>
                  <a:gd name="T118" fmla="*/ 2147483647 w 230"/>
                  <a:gd name="T119" fmla="*/ 2147483647 h 198"/>
                  <a:gd name="T120" fmla="*/ 2147483647 w 230"/>
                  <a:gd name="T121" fmla="*/ 2147483647 h 19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30"/>
                  <a:gd name="T184" fmla="*/ 0 h 198"/>
                  <a:gd name="T185" fmla="*/ 230 w 230"/>
                  <a:gd name="T186" fmla="*/ 198 h 19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30" h="198">
                    <a:moveTo>
                      <a:pt x="230" y="172"/>
                    </a:moveTo>
                    <a:lnTo>
                      <a:pt x="230" y="172"/>
                    </a:lnTo>
                    <a:lnTo>
                      <a:pt x="230" y="166"/>
                    </a:lnTo>
                    <a:lnTo>
                      <a:pt x="228" y="166"/>
                    </a:lnTo>
                    <a:lnTo>
                      <a:pt x="224" y="168"/>
                    </a:lnTo>
                    <a:lnTo>
                      <a:pt x="224" y="170"/>
                    </a:lnTo>
                    <a:lnTo>
                      <a:pt x="220" y="172"/>
                    </a:lnTo>
                    <a:lnTo>
                      <a:pt x="218" y="174"/>
                    </a:lnTo>
                    <a:lnTo>
                      <a:pt x="216" y="178"/>
                    </a:lnTo>
                    <a:lnTo>
                      <a:pt x="216" y="182"/>
                    </a:lnTo>
                    <a:lnTo>
                      <a:pt x="218" y="186"/>
                    </a:lnTo>
                    <a:lnTo>
                      <a:pt x="218" y="190"/>
                    </a:lnTo>
                    <a:lnTo>
                      <a:pt x="218" y="192"/>
                    </a:lnTo>
                    <a:lnTo>
                      <a:pt x="218" y="194"/>
                    </a:lnTo>
                    <a:lnTo>
                      <a:pt x="222" y="196"/>
                    </a:lnTo>
                    <a:lnTo>
                      <a:pt x="224" y="198"/>
                    </a:lnTo>
                    <a:lnTo>
                      <a:pt x="230" y="192"/>
                    </a:lnTo>
                    <a:lnTo>
                      <a:pt x="230" y="186"/>
                    </a:lnTo>
                    <a:lnTo>
                      <a:pt x="228" y="186"/>
                    </a:lnTo>
                    <a:lnTo>
                      <a:pt x="230" y="184"/>
                    </a:lnTo>
                    <a:lnTo>
                      <a:pt x="230" y="172"/>
                    </a:lnTo>
                    <a:close/>
                    <a:moveTo>
                      <a:pt x="198" y="40"/>
                    </a:moveTo>
                    <a:lnTo>
                      <a:pt x="198" y="40"/>
                    </a:lnTo>
                    <a:lnTo>
                      <a:pt x="196" y="40"/>
                    </a:lnTo>
                    <a:lnTo>
                      <a:pt x="192" y="40"/>
                    </a:lnTo>
                    <a:lnTo>
                      <a:pt x="190" y="40"/>
                    </a:lnTo>
                    <a:lnTo>
                      <a:pt x="184" y="40"/>
                    </a:lnTo>
                    <a:lnTo>
                      <a:pt x="184" y="34"/>
                    </a:lnTo>
                    <a:lnTo>
                      <a:pt x="182" y="34"/>
                    </a:lnTo>
                    <a:lnTo>
                      <a:pt x="182" y="32"/>
                    </a:lnTo>
                    <a:lnTo>
                      <a:pt x="178" y="30"/>
                    </a:lnTo>
                    <a:lnTo>
                      <a:pt x="174" y="34"/>
                    </a:lnTo>
                    <a:lnTo>
                      <a:pt x="172" y="32"/>
                    </a:lnTo>
                    <a:lnTo>
                      <a:pt x="166" y="32"/>
                    </a:lnTo>
                    <a:lnTo>
                      <a:pt x="164" y="28"/>
                    </a:lnTo>
                    <a:lnTo>
                      <a:pt x="162" y="28"/>
                    </a:lnTo>
                    <a:lnTo>
                      <a:pt x="158" y="28"/>
                    </a:lnTo>
                    <a:lnTo>
                      <a:pt x="156" y="28"/>
                    </a:lnTo>
                    <a:lnTo>
                      <a:pt x="156" y="22"/>
                    </a:lnTo>
                    <a:lnTo>
                      <a:pt x="152" y="24"/>
                    </a:lnTo>
                    <a:lnTo>
                      <a:pt x="146" y="24"/>
                    </a:lnTo>
                    <a:lnTo>
                      <a:pt x="146" y="18"/>
                    </a:lnTo>
                    <a:lnTo>
                      <a:pt x="144" y="16"/>
                    </a:lnTo>
                    <a:lnTo>
                      <a:pt x="142" y="14"/>
                    </a:lnTo>
                    <a:lnTo>
                      <a:pt x="136" y="14"/>
                    </a:lnTo>
                    <a:lnTo>
                      <a:pt x="132" y="12"/>
                    </a:lnTo>
                    <a:lnTo>
                      <a:pt x="126" y="10"/>
                    </a:lnTo>
                    <a:lnTo>
                      <a:pt x="126" y="6"/>
                    </a:lnTo>
                    <a:lnTo>
                      <a:pt x="126" y="0"/>
                    </a:lnTo>
                    <a:lnTo>
                      <a:pt x="118" y="0"/>
                    </a:lnTo>
                    <a:lnTo>
                      <a:pt x="114" y="2"/>
                    </a:lnTo>
                    <a:lnTo>
                      <a:pt x="112" y="2"/>
                    </a:lnTo>
                    <a:lnTo>
                      <a:pt x="110" y="4"/>
                    </a:lnTo>
                    <a:lnTo>
                      <a:pt x="104" y="4"/>
                    </a:lnTo>
                    <a:lnTo>
                      <a:pt x="104" y="6"/>
                    </a:lnTo>
                    <a:lnTo>
                      <a:pt x="104" y="8"/>
                    </a:lnTo>
                    <a:lnTo>
                      <a:pt x="104" y="12"/>
                    </a:lnTo>
                    <a:lnTo>
                      <a:pt x="106" y="14"/>
                    </a:lnTo>
                    <a:lnTo>
                      <a:pt x="106" y="20"/>
                    </a:lnTo>
                    <a:lnTo>
                      <a:pt x="104" y="22"/>
                    </a:lnTo>
                    <a:lnTo>
                      <a:pt x="98" y="24"/>
                    </a:lnTo>
                    <a:lnTo>
                      <a:pt x="92" y="24"/>
                    </a:lnTo>
                    <a:lnTo>
                      <a:pt x="82" y="32"/>
                    </a:lnTo>
                    <a:lnTo>
                      <a:pt x="86" y="34"/>
                    </a:lnTo>
                    <a:lnTo>
                      <a:pt x="84" y="34"/>
                    </a:lnTo>
                    <a:lnTo>
                      <a:pt x="82" y="34"/>
                    </a:lnTo>
                    <a:lnTo>
                      <a:pt x="76" y="38"/>
                    </a:lnTo>
                    <a:lnTo>
                      <a:pt x="68" y="38"/>
                    </a:lnTo>
                    <a:lnTo>
                      <a:pt x="66" y="36"/>
                    </a:lnTo>
                    <a:lnTo>
                      <a:pt x="60" y="30"/>
                    </a:lnTo>
                    <a:lnTo>
                      <a:pt x="58" y="30"/>
                    </a:lnTo>
                    <a:lnTo>
                      <a:pt x="56" y="28"/>
                    </a:lnTo>
                    <a:lnTo>
                      <a:pt x="52" y="28"/>
                    </a:lnTo>
                    <a:lnTo>
                      <a:pt x="52" y="30"/>
                    </a:lnTo>
                    <a:lnTo>
                      <a:pt x="52" y="34"/>
                    </a:lnTo>
                    <a:lnTo>
                      <a:pt x="54" y="34"/>
                    </a:lnTo>
                    <a:lnTo>
                      <a:pt x="56" y="38"/>
                    </a:lnTo>
                    <a:lnTo>
                      <a:pt x="58" y="40"/>
                    </a:lnTo>
                    <a:lnTo>
                      <a:pt x="58" y="46"/>
                    </a:lnTo>
                    <a:lnTo>
                      <a:pt x="56" y="48"/>
                    </a:lnTo>
                    <a:lnTo>
                      <a:pt x="54" y="48"/>
                    </a:lnTo>
                    <a:lnTo>
                      <a:pt x="48" y="48"/>
                    </a:lnTo>
                    <a:lnTo>
                      <a:pt x="38" y="48"/>
                    </a:lnTo>
                    <a:lnTo>
                      <a:pt x="38" y="54"/>
                    </a:lnTo>
                    <a:lnTo>
                      <a:pt x="36" y="52"/>
                    </a:lnTo>
                    <a:lnTo>
                      <a:pt x="34" y="48"/>
                    </a:lnTo>
                    <a:lnTo>
                      <a:pt x="32" y="48"/>
                    </a:lnTo>
                    <a:lnTo>
                      <a:pt x="30" y="46"/>
                    </a:lnTo>
                    <a:lnTo>
                      <a:pt x="26" y="46"/>
                    </a:lnTo>
                    <a:lnTo>
                      <a:pt x="24" y="48"/>
                    </a:lnTo>
                    <a:lnTo>
                      <a:pt x="22" y="48"/>
                    </a:lnTo>
                    <a:lnTo>
                      <a:pt x="20" y="48"/>
                    </a:lnTo>
                    <a:lnTo>
                      <a:pt x="16" y="48"/>
                    </a:lnTo>
                    <a:lnTo>
                      <a:pt x="12" y="50"/>
                    </a:lnTo>
                    <a:lnTo>
                      <a:pt x="8" y="50"/>
                    </a:lnTo>
                    <a:lnTo>
                      <a:pt x="6" y="52"/>
                    </a:lnTo>
                    <a:lnTo>
                      <a:pt x="4" y="54"/>
                    </a:lnTo>
                    <a:lnTo>
                      <a:pt x="6" y="56"/>
                    </a:lnTo>
                    <a:lnTo>
                      <a:pt x="8" y="56"/>
                    </a:lnTo>
                    <a:lnTo>
                      <a:pt x="10" y="58"/>
                    </a:lnTo>
                    <a:lnTo>
                      <a:pt x="10" y="60"/>
                    </a:lnTo>
                    <a:lnTo>
                      <a:pt x="6" y="60"/>
                    </a:lnTo>
                    <a:lnTo>
                      <a:pt x="2" y="60"/>
                    </a:lnTo>
                    <a:lnTo>
                      <a:pt x="0" y="60"/>
                    </a:lnTo>
                    <a:lnTo>
                      <a:pt x="0" y="62"/>
                    </a:lnTo>
                    <a:lnTo>
                      <a:pt x="6" y="66"/>
                    </a:lnTo>
                    <a:lnTo>
                      <a:pt x="12" y="66"/>
                    </a:lnTo>
                    <a:lnTo>
                      <a:pt x="12" y="64"/>
                    </a:lnTo>
                    <a:lnTo>
                      <a:pt x="26" y="72"/>
                    </a:lnTo>
                    <a:lnTo>
                      <a:pt x="32" y="72"/>
                    </a:lnTo>
                    <a:lnTo>
                      <a:pt x="38" y="76"/>
                    </a:lnTo>
                    <a:lnTo>
                      <a:pt x="48" y="76"/>
                    </a:lnTo>
                    <a:lnTo>
                      <a:pt x="40" y="80"/>
                    </a:lnTo>
                    <a:lnTo>
                      <a:pt x="42" y="84"/>
                    </a:lnTo>
                    <a:lnTo>
                      <a:pt x="44" y="86"/>
                    </a:lnTo>
                    <a:lnTo>
                      <a:pt x="46" y="92"/>
                    </a:lnTo>
                    <a:lnTo>
                      <a:pt x="52" y="96"/>
                    </a:lnTo>
                    <a:lnTo>
                      <a:pt x="58" y="96"/>
                    </a:lnTo>
                    <a:lnTo>
                      <a:pt x="58" y="106"/>
                    </a:lnTo>
                    <a:lnTo>
                      <a:pt x="62" y="114"/>
                    </a:lnTo>
                    <a:lnTo>
                      <a:pt x="66" y="124"/>
                    </a:lnTo>
                    <a:lnTo>
                      <a:pt x="58" y="114"/>
                    </a:lnTo>
                    <a:lnTo>
                      <a:pt x="58" y="118"/>
                    </a:lnTo>
                    <a:lnTo>
                      <a:pt x="56" y="120"/>
                    </a:lnTo>
                    <a:lnTo>
                      <a:pt x="56" y="132"/>
                    </a:lnTo>
                    <a:lnTo>
                      <a:pt x="54" y="134"/>
                    </a:lnTo>
                    <a:lnTo>
                      <a:pt x="52" y="144"/>
                    </a:lnTo>
                    <a:lnTo>
                      <a:pt x="52" y="146"/>
                    </a:lnTo>
                    <a:lnTo>
                      <a:pt x="50" y="150"/>
                    </a:lnTo>
                    <a:lnTo>
                      <a:pt x="50" y="152"/>
                    </a:lnTo>
                    <a:lnTo>
                      <a:pt x="48" y="152"/>
                    </a:lnTo>
                    <a:lnTo>
                      <a:pt x="48" y="154"/>
                    </a:lnTo>
                    <a:lnTo>
                      <a:pt x="46" y="156"/>
                    </a:lnTo>
                    <a:lnTo>
                      <a:pt x="44" y="158"/>
                    </a:lnTo>
                    <a:lnTo>
                      <a:pt x="46" y="160"/>
                    </a:lnTo>
                    <a:lnTo>
                      <a:pt x="46" y="158"/>
                    </a:lnTo>
                    <a:lnTo>
                      <a:pt x="48" y="158"/>
                    </a:lnTo>
                    <a:lnTo>
                      <a:pt x="52" y="160"/>
                    </a:lnTo>
                    <a:lnTo>
                      <a:pt x="52" y="162"/>
                    </a:lnTo>
                    <a:lnTo>
                      <a:pt x="50" y="164"/>
                    </a:lnTo>
                    <a:lnTo>
                      <a:pt x="60" y="164"/>
                    </a:lnTo>
                    <a:lnTo>
                      <a:pt x="64" y="168"/>
                    </a:lnTo>
                    <a:lnTo>
                      <a:pt x="66" y="166"/>
                    </a:lnTo>
                    <a:lnTo>
                      <a:pt x="68" y="166"/>
                    </a:lnTo>
                    <a:lnTo>
                      <a:pt x="72" y="170"/>
                    </a:lnTo>
                    <a:lnTo>
                      <a:pt x="78" y="170"/>
                    </a:lnTo>
                    <a:lnTo>
                      <a:pt x="78" y="172"/>
                    </a:lnTo>
                    <a:lnTo>
                      <a:pt x="84" y="172"/>
                    </a:lnTo>
                    <a:lnTo>
                      <a:pt x="84" y="168"/>
                    </a:lnTo>
                    <a:lnTo>
                      <a:pt x="86" y="166"/>
                    </a:lnTo>
                    <a:lnTo>
                      <a:pt x="90" y="166"/>
                    </a:lnTo>
                    <a:lnTo>
                      <a:pt x="92" y="168"/>
                    </a:lnTo>
                    <a:lnTo>
                      <a:pt x="92" y="170"/>
                    </a:lnTo>
                    <a:lnTo>
                      <a:pt x="96" y="170"/>
                    </a:lnTo>
                    <a:lnTo>
                      <a:pt x="96" y="172"/>
                    </a:lnTo>
                    <a:lnTo>
                      <a:pt x="104" y="172"/>
                    </a:lnTo>
                    <a:lnTo>
                      <a:pt x="104" y="174"/>
                    </a:lnTo>
                    <a:lnTo>
                      <a:pt x="104" y="176"/>
                    </a:lnTo>
                    <a:lnTo>
                      <a:pt x="112" y="176"/>
                    </a:lnTo>
                    <a:lnTo>
                      <a:pt x="112" y="178"/>
                    </a:lnTo>
                    <a:lnTo>
                      <a:pt x="118" y="178"/>
                    </a:lnTo>
                    <a:lnTo>
                      <a:pt x="118" y="176"/>
                    </a:lnTo>
                    <a:lnTo>
                      <a:pt x="118" y="174"/>
                    </a:lnTo>
                    <a:lnTo>
                      <a:pt x="122" y="174"/>
                    </a:lnTo>
                    <a:lnTo>
                      <a:pt x="122" y="170"/>
                    </a:lnTo>
                    <a:lnTo>
                      <a:pt x="126" y="164"/>
                    </a:lnTo>
                    <a:lnTo>
                      <a:pt x="130" y="160"/>
                    </a:lnTo>
                    <a:lnTo>
                      <a:pt x="132" y="158"/>
                    </a:lnTo>
                    <a:lnTo>
                      <a:pt x="134" y="156"/>
                    </a:lnTo>
                    <a:lnTo>
                      <a:pt x="138" y="154"/>
                    </a:lnTo>
                    <a:lnTo>
                      <a:pt x="140" y="152"/>
                    </a:lnTo>
                    <a:lnTo>
                      <a:pt x="144" y="152"/>
                    </a:lnTo>
                    <a:lnTo>
                      <a:pt x="146" y="154"/>
                    </a:lnTo>
                    <a:lnTo>
                      <a:pt x="150" y="154"/>
                    </a:lnTo>
                    <a:lnTo>
                      <a:pt x="152" y="156"/>
                    </a:lnTo>
                    <a:lnTo>
                      <a:pt x="162" y="156"/>
                    </a:lnTo>
                    <a:lnTo>
                      <a:pt x="166" y="160"/>
                    </a:lnTo>
                    <a:lnTo>
                      <a:pt x="166" y="162"/>
                    </a:lnTo>
                    <a:lnTo>
                      <a:pt x="170" y="162"/>
                    </a:lnTo>
                    <a:lnTo>
                      <a:pt x="172" y="164"/>
                    </a:lnTo>
                    <a:lnTo>
                      <a:pt x="178" y="164"/>
                    </a:lnTo>
                    <a:lnTo>
                      <a:pt x="182" y="162"/>
                    </a:lnTo>
                    <a:lnTo>
                      <a:pt x="184" y="160"/>
                    </a:lnTo>
                    <a:lnTo>
                      <a:pt x="186" y="154"/>
                    </a:lnTo>
                    <a:lnTo>
                      <a:pt x="192" y="150"/>
                    </a:lnTo>
                    <a:lnTo>
                      <a:pt x="196" y="150"/>
                    </a:lnTo>
                    <a:lnTo>
                      <a:pt x="196" y="148"/>
                    </a:lnTo>
                    <a:lnTo>
                      <a:pt x="200" y="144"/>
                    </a:lnTo>
                    <a:lnTo>
                      <a:pt x="200" y="142"/>
                    </a:lnTo>
                    <a:lnTo>
                      <a:pt x="198" y="140"/>
                    </a:lnTo>
                    <a:lnTo>
                      <a:pt x="192" y="140"/>
                    </a:lnTo>
                    <a:lnTo>
                      <a:pt x="188" y="138"/>
                    </a:lnTo>
                    <a:lnTo>
                      <a:pt x="186" y="136"/>
                    </a:lnTo>
                    <a:lnTo>
                      <a:pt x="186" y="134"/>
                    </a:lnTo>
                    <a:lnTo>
                      <a:pt x="188" y="132"/>
                    </a:lnTo>
                    <a:lnTo>
                      <a:pt x="190" y="130"/>
                    </a:lnTo>
                    <a:lnTo>
                      <a:pt x="190" y="126"/>
                    </a:lnTo>
                    <a:lnTo>
                      <a:pt x="188" y="126"/>
                    </a:lnTo>
                    <a:lnTo>
                      <a:pt x="184" y="126"/>
                    </a:lnTo>
                    <a:lnTo>
                      <a:pt x="182" y="120"/>
                    </a:lnTo>
                    <a:lnTo>
                      <a:pt x="188" y="120"/>
                    </a:lnTo>
                    <a:lnTo>
                      <a:pt x="192" y="116"/>
                    </a:lnTo>
                    <a:lnTo>
                      <a:pt x="192" y="114"/>
                    </a:lnTo>
                    <a:lnTo>
                      <a:pt x="186" y="108"/>
                    </a:lnTo>
                    <a:lnTo>
                      <a:pt x="188" y="106"/>
                    </a:lnTo>
                    <a:lnTo>
                      <a:pt x="190" y="106"/>
                    </a:lnTo>
                    <a:lnTo>
                      <a:pt x="190" y="104"/>
                    </a:lnTo>
                    <a:lnTo>
                      <a:pt x="186" y="100"/>
                    </a:lnTo>
                    <a:lnTo>
                      <a:pt x="188" y="94"/>
                    </a:lnTo>
                    <a:lnTo>
                      <a:pt x="186" y="94"/>
                    </a:lnTo>
                    <a:lnTo>
                      <a:pt x="182" y="94"/>
                    </a:lnTo>
                    <a:lnTo>
                      <a:pt x="176" y="100"/>
                    </a:lnTo>
                    <a:lnTo>
                      <a:pt x="174" y="100"/>
                    </a:lnTo>
                    <a:lnTo>
                      <a:pt x="174" y="98"/>
                    </a:lnTo>
                    <a:lnTo>
                      <a:pt x="176" y="96"/>
                    </a:lnTo>
                    <a:lnTo>
                      <a:pt x="174" y="94"/>
                    </a:lnTo>
                    <a:lnTo>
                      <a:pt x="178" y="92"/>
                    </a:lnTo>
                    <a:lnTo>
                      <a:pt x="178" y="88"/>
                    </a:lnTo>
                    <a:lnTo>
                      <a:pt x="182" y="86"/>
                    </a:lnTo>
                    <a:lnTo>
                      <a:pt x="182" y="82"/>
                    </a:lnTo>
                    <a:lnTo>
                      <a:pt x="186" y="82"/>
                    </a:lnTo>
                    <a:lnTo>
                      <a:pt x="188" y="80"/>
                    </a:lnTo>
                    <a:lnTo>
                      <a:pt x="190" y="78"/>
                    </a:lnTo>
                    <a:lnTo>
                      <a:pt x="192" y="76"/>
                    </a:lnTo>
                    <a:lnTo>
                      <a:pt x="192" y="74"/>
                    </a:lnTo>
                    <a:lnTo>
                      <a:pt x="198" y="76"/>
                    </a:lnTo>
                    <a:lnTo>
                      <a:pt x="198" y="72"/>
                    </a:lnTo>
                    <a:lnTo>
                      <a:pt x="198" y="60"/>
                    </a:lnTo>
                    <a:lnTo>
                      <a:pt x="200" y="58"/>
                    </a:lnTo>
                    <a:lnTo>
                      <a:pt x="202" y="56"/>
                    </a:lnTo>
                    <a:lnTo>
                      <a:pt x="204" y="54"/>
                    </a:lnTo>
                    <a:lnTo>
                      <a:pt x="204" y="50"/>
                    </a:lnTo>
                    <a:lnTo>
                      <a:pt x="208" y="46"/>
                    </a:lnTo>
                    <a:lnTo>
                      <a:pt x="210" y="42"/>
                    </a:lnTo>
                    <a:lnTo>
                      <a:pt x="204" y="40"/>
                    </a:lnTo>
                    <a:lnTo>
                      <a:pt x="198" y="40"/>
                    </a:lnTo>
                    <a:close/>
                  </a:path>
                </a:pathLst>
              </a:custGeom>
              <a:solidFill>
                <a:srgbClr val="4966AC"/>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97" name="Finland" descr="© INSCALE GmbH, 05.05.2010&#10;http://www.presentationload.com/">
                <a:extLst>
                  <a:ext uri="{FF2B5EF4-FFF2-40B4-BE49-F238E27FC236}">
                    <a16:creationId xmlns:a16="http://schemas.microsoft.com/office/drawing/2014/main" id="{6662ED53-6697-4A2E-8776-CA3850DE8984}"/>
                  </a:ext>
                </a:extLst>
              </p:cNvPr>
              <p:cNvSpPr>
                <a:spLocks/>
              </p:cNvSpPr>
              <p:nvPr/>
            </p:nvSpPr>
            <p:spPr bwMode="gray">
              <a:xfrm>
                <a:off x="4716994" y="2142117"/>
                <a:ext cx="248026" cy="315351"/>
              </a:xfrm>
              <a:custGeom>
                <a:avLst/>
                <a:gdLst>
                  <a:gd name="T0" fmla="*/ 2147483647 w 630"/>
                  <a:gd name="T1" fmla="*/ 2147483647 h 714"/>
                  <a:gd name="T2" fmla="*/ 2147483647 w 630"/>
                  <a:gd name="T3" fmla="*/ 2147483647 h 714"/>
                  <a:gd name="T4" fmla="*/ 2147483647 w 630"/>
                  <a:gd name="T5" fmla="*/ 2147483647 h 714"/>
                  <a:gd name="T6" fmla="*/ 2147483647 w 630"/>
                  <a:gd name="T7" fmla="*/ 2147483647 h 714"/>
                  <a:gd name="T8" fmla="*/ 2147483647 w 630"/>
                  <a:gd name="T9" fmla="*/ 2147483647 h 714"/>
                  <a:gd name="T10" fmla="*/ 2147483647 w 630"/>
                  <a:gd name="T11" fmla="*/ 2147483647 h 714"/>
                  <a:gd name="T12" fmla="*/ 2147483647 w 630"/>
                  <a:gd name="T13" fmla="*/ 2147483647 h 714"/>
                  <a:gd name="T14" fmla="*/ 2147483647 w 630"/>
                  <a:gd name="T15" fmla="*/ 2147483647 h 714"/>
                  <a:gd name="T16" fmla="*/ 2147483647 w 630"/>
                  <a:gd name="T17" fmla="*/ 2147483647 h 714"/>
                  <a:gd name="T18" fmla="*/ 2147483647 w 630"/>
                  <a:gd name="T19" fmla="*/ 2147483647 h 714"/>
                  <a:gd name="T20" fmla="*/ 2147483647 w 630"/>
                  <a:gd name="T21" fmla="*/ 2147483647 h 714"/>
                  <a:gd name="T22" fmla="*/ 2147483647 w 630"/>
                  <a:gd name="T23" fmla="*/ 2147483647 h 714"/>
                  <a:gd name="T24" fmla="*/ 2147483647 w 630"/>
                  <a:gd name="T25" fmla="*/ 2147483647 h 714"/>
                  <a:gd name="T26" fmla="*/ 2147483647 w 630"/>
                  <a:gd name="T27" fmla="*/ 2147483647 h 714"/>
                  <a:gd name="T28" fmla="*/ 2147483647 w 630"/>
                  <a:gd name="T29" fmla="*/ 2147483647 h 714"/>
                  <a:gd name="T30" fmla="*/ 2147483647 w 630"/>
                  <a:gd name="T31" fmla="*/ 2147483647 h 714"/>
                  <a:gd name="T32" fmla="*/ 2147483647 w 630"/>
                  <a:gd name="T33" fmla="*/ 2147483647 h 714"/>
                  <a:gd name="T34" fmla="*/ 2147483647 w 630"/>
                  <a:gd name="T35" fmla="*/ 2147483647 h 714"/>
                  <a:gd name="T36" fmla="*/ 2147483647 w 630"/>
                  <a:gd name="T37" fmla="*/ 2147483647 h 714"/>
                  <a:gd name="T38" fmla="*/ 2147483647 w 630"/>
                  <a:gd name="T39" fmla="*/ 2147483647 h 714"/>
                  <a:gd name="T40" fmla="*/ 2147483647 w 630"/>
                  <a:gd name="T41" fmla="*/ 2147483647 h 714"/>
                  <a:gd name="T42" fmla="*/ 2147483647 w 630"/>
                  <a:gd name="T43" fmla="*/ 2147483647 h 714"/>
                  <a:gd name="T44" fmla="*/ 2147483647 w 630"/>
                  <a:gd name="T45" fmla="*/ 2147483647 h 714"/>
                  <a:gd name="T46" fmla="*/ 2147483647 w 630"/>
                  <a:gd name="T47" fmla="*/ 2147483647 h 714"/>
                  <a:gd name="T48" fmla="*/ 2147483647 w 630"/>
                  <a:gd name="T49" fmla="*/ 2147483647 h 714"/>
                  <a:gd name="T50" fmla="*/ 2147483647 w 630"/>
                  <a:gd name="T51" fmla="*/ 2147483647 h 714"/>
                  <a:gd name="T52" fmla="*/ 2147483647 w 630"/>
                  <a:gd name="T53" fmla="*/ 2147483647 h 714"/>
                  <a:gd name="T54" fmla="*/ 2147483647 w 630"/>
                  <a:gd name="T55" fmla="*/ 2147483647 h 714"/>
                  <a:gd name="T56" fmla="*/ 2147483647 w 630"/>
                  <a:gd name="T57" fmla="*/ 2147483647 h 714"/>
                  <a:gd name="T58" fmla="*/ 2147483647 w 630"/>
                  <a:gd name="T59" fmla="*/ 2147483647 h 714"/>
                  <a:gd name="T60" fmla="*/ 2147483647 w 630"/>
                  <a:gd name="T61" fmla="*/ 2147483647 h 714"/>
                  <a:gd name="T62" fmla="*/ 2147483647 w 630"/>
                  <a:gd name="T63" fmla="*/ 2147483647 h 714"/>
                  <a:gd name="T64" fmla="*/ 2147483647 w 630"/>
                  <a:gd name="T65" fmla="*/ 2147483647 h 714"/>
                  <a:gd name="T66" fmla="*/ 2147483647 w 630"/>
                  <a:gd name="T67" fmla="*/ 2147483647 h 714"/>
                  <a:gd name="T68" fmla="*/ 2147483647 w 630"/>
                  <a:gd name="T69" fmla="*/ 2147483647 h 714"/>
                  <a:gd name="T70" fmla="*/ 2147483647 w 630"/>
                  <a:gd name="T71" fmla="*/ 2147483647 h 714"/>
                  <a:gd name="T72" fmla="*/ 2147483647 w 630"/>
                  <a:gd name="T73" fmla="*/ 2147483647 h 714"/>
                  <a:gd name="T74" fmla="*/ 2147483647 w 630"/>
                  <a:gd name="T75" fmla="*/ 2147483647 h 714"/>
                  <a:gd name="T76" fmla="*/ 2147483647 w 630"/>
                  <a:gd name="T77" fmla="*/ 2147483647 h 714"/>
                  <a:gd name="T78" fmla="*/ 2147483647 w 630"/>
                  <a:gd name="T79" fmla="*/ 2147483647 h 714"/>
                  <a:gd name="T80" fmla="*/ 2147483647 w 630"/>
                  <a:gd name="T81" fmla="*/ 2147483647 h 714"/>
                  <a:gd name="T82" fmla="*/ 2147483647 w 630"/>
                  <a:gd name="T83" fmla="*/ 2147483647 h 714"/>
                  <a:gd name="T84" fmla="*/ 2147483647 w 630"/>
                  <a:gd name="T85" fmla="*/ 2147483647 h 714"/>
                  <a:gd name="T86" fmla="*/ 2147483647 w 630"/>
                  <a:gd name="T87" fmla="*/ 2147483647 h 714"/>
                  <a:gd name="T88" fmla="*/ 2147483647 w 630"/>
                  <a:gd name="T89" fmla="*/ 2147483647 h 714"/>
                  <a:gd name="T90" fmla="*/ 2147483647 w 630"/>
                  <a:gd name="T91" fmla="*/ 2147483647 h 714"/>
                  <a:gd name="T92" fmla="*/ 2147483647 w 630"/>
                  <a:gd name="T93" fmla="*/ 2147483647 h 714"/>
                  <a:gd name="T94" fmla="*/ 2147483647 w 630"/>
                  <a:gd name="T95" fmla="*/ 2147483647 h 714"/>
                  <a:gd name="T96" fmla="*/ 2147483647 w 630"/>
                  <a:gd name="T97" fmla="*/ 2147483647 h 714"/>
                  <a:gd name="T98" fmla="*/ 2147483647 w 630"/>
                  <a:gd name="T99" fmla="*/ 2147483647 h 714"/>
                  <a:gd name="T100" fmla="*/ 2147483647 w 630"/>
                  <a:gd name="T101" fmla="*/ 2147483647 h 714"/>
                  <a:gd name="T102" fmla="*/ 2147483647 w 630"/>
                  <a:gd name="T103" fmla="*/ 2147483647 h 714"/>
                  <a:gd name="T104" fmla="*/ 2147483647 w 630"/>
                  <a:gd name="T105" fmla="*/ 2147483647 h 714"/>
                  <a:gd name="T106" fmla="*/ 2147483647 w 630"/>
                  <a:gd name="T107" fmla="*/ 0 h 714"/>
                  <a:gd name="T108" fmla="*/ 2147483647 w 630"/>
                  <a:gd name="T109" fmla="*/ 2147483647 h 714"/>
                  <a:gd name="T110" fmla="*/ 2147483647 w 630"/>
                  <a:gd name="T111" fmla="*/ 2147483647 h 714"/>
                  <a:gd name="T112" fmla="*/ 2147483647 w 630"/>
                  <a:gd name="T113" fmla="*/ 2147483647 h 714"/>
                  <a:gd name="T114" fmla="*/ 2147483647 w 630"/>
                  <a:gd name="T115" fmla="*/ 2147483647 h 714"/>
                  <a:gd name="T116" fmla="*/ 2147483647 w 630"/>
                  <a:gd name="T117" fmla="*/ 2147483647 h 71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30"/>
                  <a:gd name="T178" fmla="*/ 0 h 714"/>
                  <a:gd name="T179" fmla="*/ 630 w 630"/>
                  <a:gd name="T180" fmla="*/ 714 h 71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30" h="714">
                    <a:moveTo>
                      <a:pt x="162" y="84"/>
                    </a:moveTo>
                    <a:lnTo>
                      <a:pt x="156" y="90"/>
                    </a:lnTo>
                    <a:lnTo>
                      <a:pt x="144" y="96"/>
                    </a:lnTo>
                    <a:lnTo>
                      <a:pt x="132" y="96"/>
                    </a:lnTo>
                    <a:lnTo>
                      <a:pt x="126" y="90"/>
                    </a:lnTo>
                    <a:lnTo>
                      <a:pt x="108" y="90"/>
                    </a:lnTo>
                    <a:lnTo>
                      <a:pt x="96" y="84"/>
                    </a:lnTo>
                    <a:lnTo>
                      <a:pt x="84" y="84"/>
                    </a:lnTo>
                    <a:lnTo>
                      <a:pt x="72" y="72"/>
                    </a:lnTo>
                    <a:lnTo>
                      <a:pt x="60" y="66"/>
                    </a:lnTo>
                    <a:lnTo>
                      <a:pt x="54" y="54"/>
                    </a:lnTo>
                    <a:lnTo>
                      <a:pt x="48" y="48"/>
                    </a:lnTo>
                    <a:lnTo>
                      <a:pt x="30" y="48"/>
                    </a:lnTo>
                    <a:lnTo>
                      <a:pt x="24" y="54"/>
                    </a:lnTo>
                    <a:lnTo>
                      <a:pt x="24" y="66"/>
                    </a:lnTo>
                    <a:lnTo>
                      <a:pt x="6" y="60"/>
                    </a:lnTo>
                    <a:lnTo>
                      <a:pt x="0" y="66"/>
                    </a:lnTo>
                    <a:lnTo>
                      <a:pt x="6" y="72"/>
                    </a:lnTo>
                    <a:lnTo>
                      <a:pt x="18" y="78"/>
                    </a:lnTo>
                    <a:lnTo>
                      <a:pt x="24" y="84"/>
                    </a:lnTo>
                    <a:lnTo>
                      <a:pt x="36" y="90"/>
                    </a:lnTo>
                    <a:lnTo>
                      <a:pt x="48" y="90"/>
                    </a:lnTo>
                    <a:lnTo>
                      <a:pt x="54" y="96"/>
                    </a:lnTo>
                    <a:lnTo>
                      <a:pt x="60" y="96"/>
                    </a:lnTo>
                    <a:lnTo>
                      <a:pt x="72" y="108"/>
                    </a:lnTo>
                    <a:lnTo>
                      <a:pt x="108" y="108"/>
                    </a:lnTo>
                    <a:lnTo>
                      <a:pt x="138" y="126"/>
                    </a:lnTo>
                    <a:lnTo>
                      <a:pt x="150" y="126"/>
                    </a:lnTo>
                    <a:lnTo>
                      <a:pt x="156" y="132"/>
                    </a:lnTo>
                    <a:lnTo>
                      <a:pt x="162" y="132"/>
                    </a:lnTo>
                    <a:lnTo>
                      <a:pt x="162" y="156"/>
                    </a:lnTo>
                    <a:lnTo>
                      <a:pt x="156" y="162"/>
                    </a:lnTo>
                    <a:lnTo>
                      <a:pt x="156" y="168"/>
                    </a:lnTo>
                    <a:lnTo>
                      <a:pt x="168" y="174"/>
                    </a:lnTo>
                    <a:lnTo>
                      <a:pt x="162" y="198"/>
                    </a:lnTo>
                    <a:lnTo>
                      <a:pt x="186" y="210"/>
                    </a:lnTo>
                    <a:lnTo>
                      <a:pt x="180" y="222"/>
                    </a:lnTo>
                    <a:lnTo>
                      <a:pt x="174" y="228"/>
                    </a:lnTo>
                    <a:lnTo>
                      <a:pt x="168" y="240"/>
                    </a:lnTo>
                    <a:lnTo>
                      <a:pt x="168" y="246"/>
                    </a:lnTo>
                    <a:lnTo>
                      <a:pt x="180" y="258"/>
                    </a:lnTo>
                    <a:lnTo>
                      <a:pt x="192" y="264"/>
                    </a:lnTo>
                    <a:lnTo>
                      <a:pt x="198" y="270"/>
                    </a:lnTo>
                    <a:lnTo>
                      <a:pt x="210" y="306"/>
                    </a:lnTo>
                    <a:lnTo>
                      <a:pt x="222" y="294"/>
                    </a:lnTo>
                    <a:lnTo>
                      <a:pt x="228" y="294"/>
                    </a:lnTo>
                    <a:lnTo>
                      <a:pt x="234" y="300"/>
                    </a:lnTo>
                    <a:lnTo>
                      <a:pt x="246" y="300"/>
                    </a:lnTo>
                    <a:lnTo>
                      <a:pt x="270" y="324"/>
                    </a:lnTo>
                    <a:lnTo>
                      <a:pt x="270" y="336"/>
                    </a:lnTo>
                    <a:lnTo>
                      <a:pt x="276" y="348"/>
                    </a:lnTo>
                    <a:lnTo>
                      <a:pt x="276" y="354"/>
                    </a:lnTo>
                    <a:lnTo>
                      <a:pt x="264" y="348"/>
                    </a:lnTo>
                    <a:lnTo>
                      <a:pt x="246" y="348"/>
                    </a:lnTo>
                    <a:lnTo>
                      <a:pt x="240" y="354"/>
                    </a:lnTo>
                    <a:lnTo>
                      <a:pt x="234" y="366"/>
                    </a:lnTo>
                    <a:lnTo>
                      <a:pt x="228" y="372"/>
                    </a:lnTo>
                    <a:lnTo>
                      <a:pt x="222" y="384"/>
                    </a:lnTo>
                    <a:lnTo>
                      <a:pt x="216" y="390"/>
                    </a:lnTo>
                    <a:lnTo>
                      <a:pt x="180" y="420"/>
                    </a:lnTo>
                    <a:lnTo>
                      <a:pt x="144" y="432"/>
                    </a:lnTo>
                    <a:lnTo>
                      <a:pt x="138" y="438"/>
                    </a:lnTo>
                    <a:lnTo>
                      <a:pt x="126" y="444"/>
                    </a:lnTo>
                    <a:lnTo>
                      <a:pt x="120" y="456"/>
                    </a:lnTo>
                    <a:lnTo>
                      <a:pt x="120" y="462"/>
                    </a:lnTo>
                    <a:lnTo>
                      <a:pt x="108" y="474"/>
                    </a:lnTo>
                    <a:lnTo>
                      <a:pt x="90" y="474"/>
                    </a:lnTo>
                    <a:lnTo>
                      <a:pt x="66" y="504"/>
                    </a:lnTo>
                    <a:lnTo>
                      <a:pt x="66" y="534"/>
                    </a:lnTo>
                    <a:lnTo>
                      <a:pt x="72" y="540"/>
                    </a:lnTo>
                    <a:lnTo>
                      <a:pt x="72" y="570"/>
                    </a:lnTo>
                    <a:lnTo>
                      <a:pt x="96" y="588"/>
                    </a:lnTo>
                    <a:lnTo>
                      <a:pt x="96" y="594"/>
                    </a:lnTo>
                    <a:lnTo>
                      <a:pt x="90" y="600"/>
                    </a:lnTo>
                    <a:lnTo>
                      <a:pt x="90" y="612"/>
                    </a:lnTo>
                    <a:lnTo>
                      <a:pt x="84" y="630"/>
                    </a:lnTo>
                    <a:lnTo>
                      <a:pt x="84" y="648"/>
                    </a:lnTo>
                    <a:lnTo>
                      <a:pt x="90" y="654"/>
                    </a:lnTo>
                    <a:lnTo>
                      <a:pt x="96" y="666"/>
                    </a:lnTo>
                    <a:lnTo>
                      <a:pt x="108" y="678"/>
                    </a:lnTo>
                    <a:lnTo>
                      <a:pt x="132" y="690"/>
                    </a:lnTo>
                    <a:lnTo>
                      <a:pt x="174" y="690"/>
                    </a:lnTo>
                    <a:lnTo>
                      <a:pt x="174" y="696"/>
                    </a:lnTo>
                    <a:lnTo>
                      <a:pt x="168" y="702"/>
                    </a:lnTo>
                    <a:lnTo>
                      <a:pt x="168" y="708"/>
                    </a:lnTo>
                    <a:lnTo>
                      <a:pt x="174" y="714"/>
                    </a:lnTo>
                    <a:lnTo>
                      <a:pt x="240" y="714"/>
                    </a:lnTo>
                    <a:lnTo>
                      <a:pt x="252" y="708"/>
                    </a:lnTo>
                    <a:lnTo>
                      <a:pt x="270" y="708"/>
                    </a:lnTo>
                    <a:lnTo>
                      <a:pt x="300" y="696"/>
                    </a:lnTo>
                    <a:lnTo>
                      <a:pt x="336" y="696"/>
                    </a:lnTo>
                    <a:lnTo>
                      <a:pt x="384" y="672"/>
                    </a:lnTo>
                    <a:lnTo>
                      <a:pt x="462" y="672"/>
                    </a:lnTo>
                    <a:lnTo>
                      <a:pt x="456" y="660"/>
                    </a:lnTo>
                    <a:lnTo>
                      <a:pt x="516" y="630"/>
                    </a:lnTo>
                    <a:lnTo>
                      <a:pt x="576" y="570"/>
                    </a:lnTo>
                    <a:lnTo>
                      <a:pt x="582" y="570"/>
                    </a:lnTo>
                    <a:lnTo>
                      <a:pt x="618" y="534"/>
                    </a:lnTo>
                    <a:lnTo>
                      <a:pt x="624" y="522"/>
                    </a:lnTo>
                    <a:lnTo>
                      <a:pt x="630" y="516"/>
                    </a:lnTo>
                    <a:lnTo>
                      <a:pt x="630" y="504"/>
                    </a:lnTo>
                    <a:lnTo>
                      <a:pt x="624" y="492"/>
                    </a:lnTo>
                    <a:lnTo>
                      <a:pt x="618" y="486"/>
                    </a:lnTo>
                    <a:lnTo>
                      <a:pt x="612" y="474"/>
                    </a:lnTo>
                    <a:lnTo>
                      <a:pt x="540" y="438"/>
                    </a:lnTo>
                    <a:lnTo>
                      <a:pt x="546" y="438"/>
                    </a:lnTo>
                    <a:lnTo>
                      <a:pt x="570" y="414"/>
                    </a:lnTo>
                    <a:lnTo>
                      <a:pt x="570" y="408"/>
                    </a:lnTo>
                    <a:lnTo>
                      <a:pt x="564" y="402"/>
                    </a:lnTo>
                    <a:lnTo>
                      <a:pt x="552" y="396"/>
                    </a:lnTo>
                    <a:lnTo>
                      <a:pt x="528" y="390"/>
                    </a:lnTo>
                    <a:lnTo>
                      <a:pt x="534" y="378"/>
                    </a:lnTo>
                    <a:lnTo>
                      <a:pt x="540" y="372"/>
                    </a:lnTo>
                    <a:lnTo>
                      <a:pt x="540" y="366"/>
                    </a:lnTo>
                    <a:lnTo>
                      <a:pt x="534" y="360"/>
                    </a:lnTo>
                    <a:lnTo>
                      <a:pt x="528" y="360"/>
                    </a:lnTo>
                    <a:lnTo>
                      <a:pt x="522" y="354"/>
                    </a:lnTo>
                    <a:lnTo>
                      <a:pt x="510" y="354"/>
                    </a:lnTo>
                    <a:lnTo>
                      <a:pt x="510" y="342"/>
                    </a:lnTo>
                    <a:lnTo>
                      <a:pt x="498" y="330"/>
                    </a:lnTo>
                    <a:lnTo>
                      <a:pt x="504" y="300"/>
                    </a:lnTo>
                    <a:lnTo>
                      <a:pt x="510" y="300"/>
                    </a:lnTo>
                    <a:lnTo>
                      <a:pt x="522" y="306"/>
                    </a:lnTo>
                    <a:lnTo>
                      <a:pt x="534" y="306"/>
                    </a:lnTo>
                    <a:lnTo>
                      <a:pt x="540" y="300"/>
                    </a:lnTo>
                    <a:lnTo>
                      <a:pt x="540" y="294"/>
                    </a:lnTo>
                    <a:lnTo>
                      <a:pt x="534" y="288"/>
                    </a:lnTo>
                    <a:lnTo>
                      <a:pt x="522" y="282"/>
                    </a:lnTo>
                    <a:lnTo>
                      <a:pt x="498" y="258"/>
                    </a:lnTo>
                    <a:lnTo>
                      <a:pt x="486" y="252"/>
                    </a:lnTo>
                    <a:lnTo>
                      <a:pt x="480" y="240"/>
                    </a:lnTo>
                    <a:lnTo>
                      <a:pt x="468" y="234"/>
                    </a:lnTo>
                    <a:lnTo>
                      <a:pt x="450" y="216"/>
                    </a:lnTo>
                    <a:lnTo>
                      <a:pt x="456" y="210"/>
                    </a:lnTo>
                    <a:lnTo>
                      <a:pt x="468" y="204"/>
                    </a:lnTo>
                    <a:lnTo>
                      <a:pt x="474" y="204"/>
                    </a:lnTo>
                    <a:lnTo>
                      <a:pt x="474" y="192"/>
                    </a:lnTo>
                    <a:lnTo>
                      <a:pt x="480" y="192"/>
                    </a:lnTo>
                    <a:lnTo>
                      <a:pt x="492" y="186"/>
                    </a:lnTo>
                    <a:lnTo>
                      <a:pt x="498" y="186"/>
                    </a:lnTo>
                    <a:lnTo>
                      <a:pt x="498" y="174"/>
                    </a:lnTo>
                    <a:lnTo>
                      <a:pt x="450" y="126"/>
                    </a:lnTo>
                    <a:lnTo>
                      <a:pt x="432" y="126"/>
                    </a:lnTo>
                    <a:lnTo>
                      <a:pt x="426" y="132"/>
                    </a:lnTo>
                    <a:lnTo>
                      <a:pt x="420" y="132"/>
                    </a:lnTo>
                    <a:lnTo>
                      <a:pt x="414" y="126"/>
                    </a:lnTo>
                    <a:lnTo>
                      <a:pt x="414" y="120"/>
                    </a:lnTo>
                    <a:lnTo>
                      <a:pt x="408" y="108"/>
                    </a:lnTo>
                    <a:lnTo>
                      <a:pt x="408" y="96"/>
                    </a:lnTo>
                    <a:lnTo>
                      <a:pt x="426" y="96"/>
                    </a:lnTo>
                    <a:lnTo>
                      <a:pt x="426" y="90"/>
                    </a:lnTo>
                    <a:lnTo>
                      <a:pt x="414" y="78"/>
                    </a:lnTo>
                    <a:lnTo>
                      <a:pt x="420" y="54"/>
                    </a:lnTo>
                    <a:lnTo>
                      <a:pt x="426" y="54"/>
                    </a:lnTo>
                    <a:lnTo>
                      <a:pt x="426" y="60"/>
                    </a:lnTo>
                    <a:lnTo>
                      <a:pt x="432" y="60"/>
                    </a:lnTo>
                    <a:lnTo>
                      <a:pt x="432" y="42"/>
                    </a:lnTo>
                    <a:lnTo>
                      <a:pt x="426" y="30"/>
                    </a:lnTo>
                    <a:lnTo>
                      <a:pt x="414" y="18"/>
                    </a:lnTo>
                    <a:lnTo>
                      <a:pt x="408" y="18"/>
                    </a:lnTo>
                    <a:lnTo>
                      <a:pt x="372" y="12"/>
                    </a:lnTo>
                    <a:lnTo>
                      <a:pt x="372" y="0"/>
                    </a:lnTo>
                    <a:lnTo>
                      <a:pt x="336" y="0"/>
                    </a:lnTo>
                    <a:lnTo>
                      <a:pt x="324" y="6"/>
                    </a:lnTo>
                    <a:lnTo>
                      <a:pt x="294" y="6"/>
                    </a:lnTo>
                    <a:lnTo>
                      <a:pt x="282" y="12"/>
                    </a:lnTo>
                    <a:lnTo>
                      <a:pt x="276" y="12"/>
                    </a:lnTo>
                    <a:lnTo>
                      <a:pt x="264" y="18"/>
                    </a:lnTo>
                    <a:lnTo>
                      <a:pt x="264" y="30"/>
                    </a:lnTo>
                    <a:lnTo>
                      <a:pt x="258" y="36"/>
                    </a:lnTo>
                    <a:lnTo>
                      <a:pt x="258" y="72"/>
                    </a:lnTo>
                    <a:lnTo>
                      <a:pt x="234" y="72"/>
                    </a:lnTo>
                    <a:lnTo>
                      <a:pt x="234" y="78"/>
                    </a:lnTo>
                    <a:lnTo>
                      <a:pt x="228" y="84"/>
                    </a:lnTo>
                    <a:lnTo>
                      <a:pt x="228" y="96"/>
                    </a:lnTo>
                    <a:lnTo>
                      <a:pt x="210" y="96"/>
                    </a:lnTo>
                    <a:lnTo>
                      <a:pt x="204" y="90"/>
                    </a:lnTo>
                    <a:lnTo>
                      <a:pt x="192" y="84"/>
                    </a:lnTo>
                    <a:lnTo>
                      <a:pt x="162" y="84"/>
                    </a:lnTo>
                    <a:close/>
                  </a:path>
                </a:pathLst>
              </a:custGeom>
              <a:solidFill>
                <a:srgbClr val="4966AC"/>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98" name="Estonia" descr="© INSCALE GmbH, 05.05.2010&#10;http://www.presentationload.com/">
                <a:extLst>
                  <a:ext uri="{FF2B5EF4-FFF2-40B4-BE49-F238E27FC236}">
                    <a16:creationId xmlns:a16="http://schemas.microsoft.com/office/drawing/2014/main" id="{5A2C242A-E8B8-45AE-9BC5-89D77B04F809}"/>
                  </a:ext>
                </a:extLst>
              </p:cNvPr>
              <p:cNvSpPr>
                <a:spLocks noEditPoints="1"/>
              </p:cNvSpPr>
              <p:nvPr/>
            </p:nvSpPr>
            <p:spPr bwMode="gray">
              <a:xfrm>
                <a:off x="4765351" y="2467865"/>
                <a:ext cx="137272" cy="67575"/>
              </a:xfrm>
              <a:custGeom>
                <a:avLst/>
                <a:gdLst>
                  <a:gd name="T0" fmla="*/ 2147483647 w 348"/>
                  <a:gd name="T1" fmla="*/ 2147483647 h 156"/>
                  <a:gd name="T2" fmla="*/ 2147483647 w 348"/>
                  <a:gd name="T3" fmla="*/ 2147483647 h 156"/>
                  <a:gd name="T4" fmla="*/ 2147483647 w 348"/>
                  <a:gd name="T5" fmla="*/ 2147483647 h 156"/>
                  <a:gd name="T6" fmla="*/ 2147483647 w 348"/>
                  <a:gd name="T7" fmla="*/ 2147483647 h 156"/>
                  <a:gd name="T8" fmla="*/ 2147483647 w 348"/>
                  <a:gd name="T9" fmla="*/ 2147483647 h 156"/>
                  <a:gd name="T10" fmla="*/ 2147483647 w 348"/>
                  <a:gd name="T11" fmla="*/ 2147483647 h 156"/>
                  <a:gd name="T12" fmla="*/ 2147483647 w 348"/>
                  <a:gd name="T13" fmla="*/ 2147483647 h 156"/>
                  <a:gd name="T14" fmla="*/ 2147483647 w 348"/>
                  <a:gd name="T15" fmla="*/ 0 h 156"/>
                  <a:gd name="T16" fmla="*/ 2147483647 w 348"/>
                  <a:gd name="T17" fmla="*/ 2147483647 h 156"/>
                  <a:gd name="T18" fmla="*/ 2147483647 w 348"/>
                  <a:gd name="T19" fmla="*/ 2147483647 h 156"/>
                  <a:gd name="T20" fmla="*/ 2147483647 w 348"/>
                  <a:gd name="T21" fmla="*/ 2147483647 h 156"/>
                  <a:gd name="T22" fmla="*/ 2147483647 w 348"/>
                  <a:gd name="T23" fmla="*/ 2147483647 h 156"/>
                  <a:gd name="T24" fmla="*/ 2147483647 w 348"/>
                  <a:gd name="T25" fmla="*/ 2147483647 h 156"/>
                  <a:gd name="T26" fmla="*/ 2147483647 w 348"/>
                  <a:gd name="T27" fmla="*/ 2147483647 h 156"/>
                  <a:gd name="T28" fmla="*/ 2147483647 w 348"/>
                  <a:gd name="T29" fmla="*/ 2147483647 h 156"/>
                  <a:gd name="T30" fmla="*/ 2147483647 w 348"/>
                  <a:gd name="T31" fmla="*/ 2147483647 h 156"/>
                  <a:gd name="T32" fmla="*/ 2147483647 w 348"/>
                  <a:gd name="T33" fmla="*/ 2147483647 h 156"/>
                  <a:gd name="T34" fmla="*/ 2147483647 w 348"/>
                  <a:gd name="T35" fmla="*/ 2147483647 h 156"/>
                  <a:gd name="T36" fmla="*/ 2147483647 w 348"/>
                  <a:gd name="T37" fmla="*/ 2147483647 h 156"/>
                  <a:gd name="T38" fmla="*/ 2147483647 w 348"/>
                  <a:gd name="T39" fmla="*/ 2147483647 h 156"/>
                  <a:gd name="T40" fmla="*/ 2147483647 w 348"/>
                  <a:gd name="T41" fmla="*/ 2147483647 h 156"/>
                  <a:gd name="T42" fmla="*/ 2147483647 w 348"/>
                  <a:gd name="T43" fmla="*/ 2147483647 h 156"/>
                  <a:gd name="T44" fmla="*/ 2147483647 w 348"/>
                  <a:gd name="T45" fmla="*/ 2147483647 h 156"/>
                  <a:gd name="T46" fmla="*/ 2147483647 w 348"/>
                  <a:gd name="T47" fmla="*/ 2147483647 h 156"/>
                  <a:gd name="T48" fmla="*/ 0 w 348"/>
                  <a:gd name="T49" fmla="*/ 2147483647 h 156"/>
                  <a:gd name="T50" fmla="*/ 2147483647 w 348"/>
                  <a:gd name="T51" fmla="*/ 2147483647 h 156"/>
                  <a:gd name="T52" fmla="*/ 2147483647 w 348"/>
                  <a:gd name="T53" fmla="*/ 2147483647 h 156"/>
                  <a:gd name="T54" fmla="*/ 2147483647 w 348"/>
                  <a:gd name="T55" fmla="*/ 2147483647 h 156"/>
                  <a:gd name="T56" fmla="*/ 2147483647 w 348"/>
                  <a:gd name="T57" fmla="*/ 2147483647 h 156"/>
                  <a:gd name="T58" fmla="*/ 2147483647 w 348"/>
                  <a:gd name="T59" fmla="*/ 2147483647 h 156"/>
                  <a:gd name="T60" fmla="*/ 2147483647 w 348"/>
                  <a:gd name="T61" fmla="*/ 2147483647 h 156"/>
                  <a:gd name="T62" fmla="*/ 2147483647 w 348"/>
                  <a:gd name="T63" fmla="*/ 2147483647 h 156"/>
                  <a:gd name="T64" fmla="*/ 2147483647 w 348"/>
                  <a:gd name="T65" fmla="*/ 2147483647 h 156"/>
                  <a:gd name="T66" fmla="*/ 2147483647 w 348"/>
                  <a:gd name="T67" fmla="*/ 2147483647 h 156"/>
                  <a:gd name="T68" fmla="*/ 2147483647 w 348"/>
                  <a:gd name="T69" fmla="*/ 2147483647 h 156"/>
                  <a:gd name="T70" fmla="*/ 2147483647 w 348"/>
                  <a:gd name="T71" fmla="*/ 2147483647 h 15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48"/>
                  <a:gd name="T109" fmla="*/ 0 h 156"/>
                  <a:gd name="T110" fmla="*/ 348 w 348"/>
                  <a:gd name="T111" fmla="*/ 156 h 15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48" h="156">
                    <a:moveTo>
                      <a:pt x="336" y="114"/>
                    </a:moveTo>
                    <a:lnTo>
                      <a:pt x="324" y="108"/>
                    </a:lnTo>
                    <a:lnTo>
                      <a:pt x="336" y="84"/>
                    </a:lnTo>
                    <a:lnTo>
                      <a:pt x="318" y="78"/>
                    </a:lnTo>
                    <a:lnTo>
                      <a:pt x="318" y="60"/>
                    </a:lnTo>
                    <a:lnTo>
                      <a:pt x="330" y="48"/>
                    </a:lnTo>
                    <a:lnTo>
                      <a:pt x="336" y="48"/>
                    </a:lnTo>
                    <a:lnTo>
                      <a:pt x="342" y="42"/>
                    </a:lnTo>
                    <a:lnTo>
                      <a:pt x="336" y="30"/>
                    </a:lnTo>
                    <a:lnTo>
                      <a:pt x="342" y="18"/>
                    </a:lnTo>
                    <a:lnTo>
                      <a:pt x="330" y="12"/>
                    </a:lnTo>
                    <a:lnTo>
                      <a:pt x="312" y="12"/>
                    </a:lnTo>
                    <a:lnTo>
                      <a:pt x="294" y="6"/>
                    </a:lnTo>
                    <a:lnTo>
                      <a:pt x="276" y="6"/>
                    </a:lnTo>
                    <a:lnTo>
                      <a:pt x="264" y="0"/>
                    </a:lnTo>
                    <a:lnTo>
                      <a:pt x="204" y="0"/>
                    </a:lnTo>
                    <a:lnTo>
                      <a:pt x="192" y="6"/>
                    </a:lnTo>
                    <a:lnTo>
                      <a:pt x="156" y="6"/>
                    </a:lnTo>
                    <a:lnTo>
                      <a:pt x="150" y="12"/>
                    </a:lnTo>
                    <a:lnTo>
                      <a:pt x="126" y="24"/>
                    </a:lnTo>
                    <a:lnTo>
                      <a:pt x="108" y="30"/>
                    </a:lnTo>
                    <a:lnTo>
                      <a:pt x="96" y="36"/>
                    </a:lnTo>
                    <a:lnTo>
                      <a:pt x="90" y="36"/>
                    </a:lnTo>
                    <a:lnTo>
                      <a:pt x="84" y="42"/>
                    </a:lnTo>
                    <a:lnTo>
                      <a:pt x="84" y="48"/>
                    </a:lnTo>
                    <a:lnTo>
                      <a:pt x="90" y="60"/>
                    </a:lnTo>
                    <a:lnTo>
                      <a:pt x="90" y="72"/>
                    </a:lnTo>
                    <a:lnTo>
                      <a:pt x="96" y="78"/>
                    </a:lnTo>
                    <a:lnTo>
                      <a:pt x="96" y="84"/>
                    </a:lnTo>
                    <a:lnTo>
                      <a:pt x="150" y="90"/>
                    </a:lnTo>
                    <a:lnTo>
                      <a:pt x="138" y="126"/>
                    </a:lnTo>
                    <a:lnTo>
                      <a:pt x="150" y="126"/>
                    </a:lnTo>
                    <a:lnTo>
                      <a:pt x="180" y="114"/>
                    </a:lnTo>
                    <a:lnTo>
                      <a:pt x="210" y="114"/>
                    </a:lnTo>
                    <a:lnTo>
                      <a:pt x="234" y="126"/>
                    </a:lnTo>
                    <a:lnTo>
                      <a:pt x="240" y="132"/>
                    </a:lnTo>
                    <a:lnTo>
                      <a:pt x="252" y="138"/>
                    </a:lnTo>
                    <a:lnTo>
                      <a:pt x="270" y="156"/>
                    </a:lnTo>
                    <a:lnTo>
                      <a:pt x="288" y="156"/>
                    </a:lnTo>
                    <a:lnTo>
                      <a:pt x="294" y="150"/>
                    </a:lnTo>
                    <a:lnTo>
                      <a:pt x="312" y="150"/>
                    </a:lnTo>
                    <a:lnTo>
                      <a:pt x="318" y="156"/>
                    </a:lnTo>
                    <a:lnTo>
                      <a:pt x="330" y="156"/>
                    </a:lnTo>
                    <a:lnTo>
                      <a:pt x="330" y="144"/>
                    </a:lnTo>
                    <a:lnTo>
                      <a:pt x="348" y="132"/>
                    </a:lnTo>
                    <a:lnTo>
                      <a:pt x="336" y="114"/>
                    </a:lnTo>
                    <a:close/>
                    <a:moveTo>
                      <a:pt x="36" y="78"/>
                    </a:moveTo>
                    <a:lnTo>
                      <a:pt x="6" y="78"/>
                    </a:lnTo>
                    <a:lnTo>
                      <a:pt x="0" y="84"/>
                    </a:lnTo>
                    <a:lnTo>
                      <a:pt x="0" y="102"/>
                    </a:lnTo>
                    <a:lnTo>
                      <a:pt x="6" y="108"/>
                    </a:lnTo>
                    <a:lnTo>
                      <a:pt x="18" y="132"/>
                    </a:lnTo>
                    <a:lnTo>
                      <a:pt x="24" y="126"/>
                    </a:lnTo>
                    <a:lnTo>
                      <a:pt x="30" y="114"/>
                    </a:lnTo>
                    <a:lnTo>
                      <a:pt x="42" y="108"/>
                    </a:lnTo>
                    <a:lnTo>
                      <a:pt x="54" y="108"/>
                    </a:lnTo>
                    <a:lnTo>
                      <a:pt x="60" y="102"/>
                    </a:lnTo>
                    <a:lnTo>
                      <a:pt x="72" y="96"/>
                    </a:lnTo>
                    <a:lnTo>
                      <a:pt x="78" y="90"/>
                    </a:lnTo>
                    <a:lnTo>
                      <a:pt x="72" y="72"/>
                    </a:lnTo>
                    <a:lnTo>
                      <a:pt x="36" y="78"/>
                    </a:lnTo>
                    <a:close/>
                    <a:moveTo>
                      <a:pt x="36" y="66"/>
                    </a:moveTo>
                    <a:lnTo>
                      <a:pt x="48" y="66"/>
                    </a:lnTo>
                    <a:lnTo>
                      <a:pt x="54" y="54"/>
                    </a:lnTo>
                    <a:lnTo>
                      <a:pt x="60" y="48"/>
                    </a:lnTo>
                    <a:lnTo>
                      <a:pt x="60" y="42"/>
                    </a:lnTo>
                    <a:lnTo>
                      <a:pt x="54" y="36"/>
                    </a:lnTo>
                    <a:lnTo>
                      <a:pt x="48" y="36"/>
                    </a:lnTo>
                    <a:lnTo>
                      <a:pt x="36" y="42"/>
                    </a:lnTo>
                    <a:lnTo>
                      <a:pt x="30" y="48"/>
                    </a:lnTo>
                    <a:lnTo>
                      <a:pt x="24" y="60"/>
                    </a:lnTo>
                    <a:lnTo>
                      <a:pt x="30" y="66"/>
                    </a:lnTo>
                    <a:lnTo>
                      <a:pt x="36" y="66"/>
                    </a:lnTo>
                    <a:close/>
                  </a:path>
                </a:pathLst>
              </a:custGeom>
              <a:solidFill>
                <a:srgbClr val="4966AC"/>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99" name="Denmark" descr="© INSCALE GmbH, 05.05.2010&#10;http://www.presentationload.com/">
                <a:extLst>
                  <a:ext uri="{FF2B5EF4-FFF2-40B4-BE49-F238E27FC236}">
                    <a16:creationId xmlns:a16="http://schemas.microsoft.com/office/drawing/2014/main" id="{DB0903CE-8D3B-4E5D-98A6-0F31317EFDA5}"/>
                  </a:ext>
                </a:extLst>
              </p:cNvPr>
              <p:cNvSpPr>
                <a:spLocks noEditPoints="1"/>
              </p:cNvSpPr>
              <p:nvPr/>
            </p:nvSpPr>
            <p:spPr bwMode="gray">
              <a:xfrm>
                <a:off x="4450249" y="2533707"/>
                <a:ext cx="109194" cy="102229"/>
              </a:xfrm>
              <a:custGeom>
                <a:avLst/>
                <a:gdLst>
                  <a:gd name="T0" fmla="*/ 2147483647 w 71"/>
                  <a:gd name="T1" fmla="*/ 2147483647 h 60"/>
                  <a:gd name="T2" fmla="*/ 2147483647 w 71"/>
                  <a:gd name="T3" fmla="*/ 2147483647 h 60"/>
                  <a:gd name="T4" fmla="*/ 2147483647 w 71"/>
                  <a:gd name="T5" fmla="*/ 2147483647 h 60"/>
                  <a:gd name="T6" fmla="*/ 2147483647 w 71"/>
                  <a:gd name="T7" fmla="*/ 2147483647 h 60"/>
                  <a:gd name="T8" fmla="*/ 2147483647 w 71"/>
                  <a:gd name="T9" fmla="*/ 2147483647 h 60"/>
                  <a:gd name="T10" fmla="*/ 2147483647 w 71"/>
                  <a:gd name="T11" fmla="*/ 2147483647 h 60"/>
                  <a:gd name="T12" fmla="*/ 2147483647 w 71"/>
                  <a:gd name="T13" fmla="*/ 2147483647 h 60"/>
                  <a:gd name="T14" fmla="*/ 2147483647 w 71"/>
                  <a:gd name="T15" fmla="*/ 2147483647 h 60"/>
                  <a:gd name="T16" fmla="*/ 2147483647 w 71"/>
                  <a:gd name="T17" fmla="*/ 2147483647 h 60"/>
                  <a:gd name="T18" fmla="*/ 2147483647 w 71"/>
                  <a:gd name="T19" fmla="*/ 2147483647 h 60"/>
                  <a:gd name="T20" fmla="*/ 2147483647 w 71"/>
                  <a:gd name="T21" fmla="*/ 2147483647 h 60"/>
                  <a:gd name="T22" fmla="*/ 2147483647 w 71"/>
                  <a:gd name="T23" fmla="*/ 2147483647 h 60"/>
                  <a:gd name="T24" fmla="*/ 2147483647 w 71"/>
                  <a:gd name="T25" fmla="*/ 2147483647 h 60"/>
                  <a:gd name="T26" fmla="*/ 2147483647 w 71"/>
                  <a:gd name="T27" fmla="*/ 2147483647 h 60"/>
                  <a:gd name="T28" fmla="*/ 2147483647 w 71"/>
                  <a:gd name="T29" fmla="*/ 2147483647 h 60"/>
                  <a:gd name="T30" fmla="*/ 2147483647 w 71"/>
                  <a:gd name="T31" fmla="*/ 2147483647 h 60"/>
                  <a:gd name="T32" fmla="*/ 2147483647 w 71"/>
                  <a:gd name="T33" fmla="*/ 2147483647 h 60"/>
                  <a:gd name="T34" fmla="*/ 2147483647 w 71"/>
                  <a:gd name="T35" fmla="*/ 2147483647 h 60"/>
                  <a:gd name="T36" fmla="*/ 2147483647 w 71"/>
                  <a:gd name="T37" fmla="*/ 2147483647 h 60"/>
                  <a:gd name="T38" fmla="*/ 2147483647 w 71"/>
                  <a:gd name="T39" fmla="*/ 2147483647 h 60"/>
                  <a:gd name="T40" fmla="*/ 2147483647 w 71"/>
                  <a:gd name="T41" fmla="*/ 2147483647 h 60"/>
                  <a:gd name="T42" fmla="*/ 2147483647 w 71"/>
                  <a:gd name="T43" fmla="*/ 2147483647 h 60"/>
                  <a:gd name="T44" fmla="*/ 2147483647 w 71"/>
                  <a:gd name="T45" fmla="*/ 2147483647 h 60"/>
                  <a:gd name="T46" fmla="*/ 2147483647 w 71"/>
                  <a:gd name="T47" fmla="*/ 2147483647 h 60"/>
                  <a:gd name="T48" fmla="*/ 2147483647 w 71"/>
                  <a:gd name="T49" fmla="*/ 2147483647 h 60"/>
                  <a:gd name="T50" fmla="*/ 2147483647 w 71"/>
                  <a:gd name="T51" fmla="*/ 2147483647 h 60"/>
                  <a:gd name="T52" fmla="*/ 2147483647 w 71"/>
                  <a:gd name="T53" fmla="*/ 2147483647 h 60"/>
                  <a:gd name="T54" fmla="*/ 2147483647 w 71"/>
                  <a:gd name="T55" fmla="*/ 2147483647 h 60"/>
                  <a:gd name="T56" fmla="*/ 2147483647 w 71"/>
                  <a:gd name="T57" fmla="*/ 2147483647 h 60"/>
                  <a:gd name="T58" fmla="*/ 2147483647 w 71"/>
                  <a:gd name="T59" fmla="*/ 2147483647 h 60"/>
                  <a:gd name="T60" fmla="*/ 2147483647 w 71"/>
                  <a:gd name="T61" fmla="*/ 2147483647 h 60"/>
                  <a:gd name="T62" fmla="*/ 2147483647 w 71"/>
                  <a:gd name="T63" fmla="*/ 0 h 60"/>
                  <a:gd name="T64" fmla="*/ 2147483647 w 71"/>
                  <a:gd name="T65" fmla="*/ 2147483647 h 60"/>
                  <a:gd name="T66" fmla="*/ 2147483647 w 71"/>
                  <a:gd name="T67" fmla="*/ 2147483647 h 60"/>
                  <a:gd name="T68" fmla="*/ 2147483647 w 71"/>
                  <a:gd name="T69" fmla="*/ 2147483647 h 60"/>
                  <a:gd name="T70" fmla="*/ 2147483647 w 71"/>
                  <a:gd name="T71" fmla="*/ 2147483647 h 60"/>
                  <a:gd name="T72" fmla="*/ 2147483647 w 71"/>
                  <a:gd name="T73" fmla="*/ 2147483647 h 60"/>
                  <a:gd name="T74" fmla="*/ 2147483647 w 71"/>
                  <a:gd name="T75" fmla="*/ 2147483647 h 60"/>
                  <a:gd name="T76" fmla="*/ 2147483647 w 71"/>
                  <a:gd name="T77" fmla="*/ 2147483647 h 60"/>
                  <a:gd name="T78" fmla="*/ 2147483647 w 71"/>
                  <a:gd name="T79" fmla="*/ 2147483647 h 60"/>
                  <a:gd name="T80" fmla="*/ 2147483647 w 71"/>
                  <a:gd name="T81" fmla="*/ 2147483647 h 60"/>
                  <a:gd name="T82" fmla="*/ 0 w 71"/>
                  <a:gd name="T83" fmla="*/ 2147483647 h 60"/>
                  <a:gd name="T84" fmla="*/ 0 w 71"/>
                  <a:gd name="T85" fmla="*/ 2147483647 h 60"/>
                  <a:gd name="T86" fmla="*/ 2147483647 w 71"/>
                  <a:gd name="T87" fmla="*/ 2147483647 h 60"/>
                  <a:gd name="T88" fmla="*/ 2147483647 w 71"/>
                  <a:gd name="T89" fmla="*/ 2147483647 h 60"/>
                  <a:gd name="T90" fmla="*/ 2147483647 w 71"/>
                  <a:gd name="T91" fmla="*/ 2147483647 h 60"/>
                  <a:gd name="T92" fmla="*/ 2147483647 w 71"/>
                  <a:gd name="T93" fmla="*/ 2147483647 h 60"/>
                  <a:gd name="T94" fmla="*/ 2147483647 w 71"/>
                  <a:gd name="T95" fmla="*/ 2147483647 h 60"/>
                  <a:gd name="T96" fmla="*/ 2147483647 w 71"/>
                  <a:gd name="T97" fmla="*/ 2147483647 h 60"/>
                  <a:gd name="T98" fmla="*/ 2147483647 w 71"/>
                  <a:gd name="T99" fmla="*/ 2147483647 h 60"/>
                  <a:gd name="T100" fmla="*/ 2147483647 w 71"/>
                  <a:gd name="T101" fmla="*/ 2147483647 h 60"/>
                  <a:gd name="T102" fmla="*/ 2147483647 w 71"/>
                  <a:gd name="T103" fmla="*/ 2147483647 h 60"/>
                  <a:gd name="T104" fmla="*/ 2147483647 w 71"/>
                  <a:gd name="T105" fmla="*/ 2147483647 h 60"/>
                  <a:gd name="T106" fmla="*/ 2147483647 w 71"/>
                  <a:gd name="T107" fmla="*/ 2147483647 h 60"/>
                  <a:gd name="T108" fmla="*/ 2147483647 w 71"/>
                  <a:gd name="T109" fmla="*/ 2147483647 h 60"/>
                  <a:gd name="T110" fmla="*/ 2147483647 w 71"/>
                  <a:gd name="T111" fmla="*/ 2147483647 h 60"/>
                  <a:gd name="T112" fmla="*/ 2147483647 w 71"/>
                  <a:gd name="T113" fmla="*/ 2147483647 h 60"/>
                  <a:gd name="T114" fmla="*/ 2147483647 w 71"/>
                  <a:gd name="T115" fmla="*/ 2147483647 h 60"/>
                  <a:gd name="T116" fmla="*/ 2147483647 w 71"/>
                  <a:gd name="T117" fmla="*/ 2147483647 h 60"/>
                  <a:gd name="T118" fmla="*/ 2147483647 w 71"/>
                  <a:gd name="T119" fmla="*/ 2147483647 h 60"/>
                  <a:gd name="T120" fmla="*/ 2147483647 w 71"/>
                  <a:gd name="T121" fmla="*/ 2147483647 h 6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71"/>
                  <a:gd name="T184" fmla="*/ 0 h 60"/>
                  <a:gd name="T185" fmla="*/ 71 w 71"/>
                  <a:gd name="T186" fmla="*/ 60 h 6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71" h="60">
                    <a:moveTo>
                      <a:pt x="62" y="48"/>
                    </a:moveTo>
                    <a:lnTo>
                      <a:pt x="67" y="46"/>
                    </a:lnTo>
                    <a:lnTo>
                      <a:pt x="69" y="46"/>
                    </a:lnTo>
                    <a:lnTo>
                      <a:pt x="69" y="43"/>
                    </a:lnTo>
                    <a:lnTo>
                      <a:pt x="67" y="43"/>
                    </a:lnTo>
                    <a:lnTo>
                      <a:pt x="62" y="41"/>
                    </a:lnTo>
                    <a:lnTo>
                      <a:pt x="62" y="38"/>
                    </a:lnTo>
                    <a:lnTo>
                      <a:pt x="64" y="38"/>
                    </a:lnTo>
                    <a:lnTo>
                      <a:pt x="64" y="36"/>
                    </a:lnTo>
                    <a:lnTo>
                      <a:pt x="67" y="34"/>
                    </a:lnTo>
                    <a:lnTo>
                      <a:pt x="67" y="29"/>
                    </a:lnTo>
                    <a:lnTo>
                      <a:pt x="64" y="29"/>
                    </a:lnTo>
                    <a:lnTo>
                      <a:pt x="62" y="29"/>
                    </a:lnTo>
                    <a:lnTo>
                      <a:pt x="60" y="31"/>
                    </a:lnTo>
                    <a:lnTo>
                      <a:pt x="60" y="34"/>
                    </a:lnTo>
                    <a:lnTo>
                      <a:pt x="57" y="36"/>
                    </a:lnTo>
                    <a:lnTo>
                      <a:pt x="57" y="34"/>
                    </a:lnTo>
                    <a:lnTo>
                      <a:pt x="55" y="31"/>
                    </a:lnTo>
                    <a:lnTo>
                      <a:pt x="52" y="34"/>
                    </a:lnTo>
                    <a:lnTo>
                      <a:pt x="45" y="38"/>
                    </a:lnTo>
                    <a:lnTo>
                      <a:pt x="48" y="38"/>
                    </a:lnTo>
                    <a:lnTo>
                      <a:pt x="50" y="41"/>
                    </a:lnTo>
                    <a:lnTo>
                      <a:pt x="50" y="43"/>
                    </a:lnTo>
                    <a:lnTo>
                      <a:pt x="50" y="46"/>
                    </a:lnTo>
                    <a:lnTo>
                      <a:pt x="50" y="48"/>
                    </a:lnTo>
                    <a:lnTo>
                      <a:pt x="48" y="48"/>
                    </a:lnTo>
                    <a:lnTo>
                      <a:pt x="50" y="48"/>
                    </a:lnTo>
                    <a:lnTo>
                      <a:pt x="50" y="50"/>
                    </a:lnTo>
                    <a:lnTo>
                      <a:pt x="55" y="50"/>
                    </a:lnTo>
                    <a:lnTo>
                      <a:pt x="55" y="48"/>
                    </a:lnTo>
                    <a:lnTo>
                      <a:pt x="57" y="48"/>
                    </a:lnTo>
                    <a:lnTo>
                      <a:pt x="57" y="50"/>
                    </a:lnTo>
                    <a:lnTo>
                      <a:pt x="60" y="53"/>
                    </a:lnTo>
                    <a:lnTo>
                      <a:pt x="60" y="55"/>
                    </a:lnTo>
                    <a:lnTo>
                      <a:pt x="62" y="55"/>
                    </a:lnTo>
                    <a:lnTo>
                      <a:pt x="62" y="53"/>
                    </a:lnTo>
                    <a:lnTo>
                      <a:pt x="62" y="48"/>
                    </a:lnTo>
                    <a:close/>
                    <a:moveTo>
                      <a:pt x="71" y="53"/>
                    </a:moveTo>
                    <a:lnTo>
                      <a:pt x="62" y="55"/>
                    </a:lnTo>
                    <a:lnTo>
                      <a:pt x="60" y="58"/>
                    </a:lnTo>
                    <a:lnTo>
                      <a:pt x="57" y="58"/>
                    </a:lnTo>
                    <a:lnTo>
                      <a:pt x="57" y="55"/>
                    </a:lnTo>
                    <a:lnTo>
                      <a:pt x="55" y="55"/>
                    </a:lnTo>
                    <a:lnTo>
                      <a:pt x="50" y="53"/>
                    </a:lnTo>
                    <a:lnTo>
                      <a:pt x="45" y="53"/>
                    </a:lnTo>
                    <a:lnTo>
                      <a:pt x="45" y="58"/>
                    </a:lnTo>
                    <a:lnTo>
                      <a:pt x="50" y="58"/>
                    </a:lnTo>
                    <a:lnTo>
                      <a:pt x="52" y="58"/>
                    </a:lnTo>
                    <a:lnTo>
                      <a:pt x="55" y="60"/>
                    </a:lnTo>
                    <a:lnTo>
                      <a:pt x="57" y="60"/>
                    </a:lnTo>
                    <a:lnTo>
                      <a:pt x="60" y="60"/>
                    </a:lnTo>
                    <a:lnTo>
                      <a:pt x="62" y="60"/>
                    </a:lnTo>
                    <a:lnTo>
                      <a:pt x="69" y="58"/>
                    </a:lnTo>
                    <a:lnTo>
                      <a:pt x="71" y="58"/>
                    </a:lnTo>
                    <a:lnTo>
                      <a:pt x="71" y="53"/>
                    </a:lnTo>
                    <a:close/>
                    <a:moveTo>
                      <a:pt x="31" y="12"/>
                    </a:moveTo>
                    <a:lnTo>
                      <a:pt x="36" y="7"/>
                    </a:lnTo>
                    <a:lnTo>
                      <a:pt x="36" y="3"/>
                    </a:lnTo>
                    <a:lnTo>
                      <a:pt x="36" y="0"/>
                    </a:lnTo>
                    <a:lnTo>
                      <a:pt x="26" y="0"/>
                    </a:lnTo>
                    <a:lnTo>
                      <a:pt x="26" y="3"/>
                    </a:lnTo>
                    <a:lnTo>
                      <a:pt x="21" y="7"/>
                    </a:lnTo>
                    <a:lnTo>
                      <a:pt x="21" y="10"/>
                    </a:lnTo>
                    <a:lnTo>
                      <a:pt x="19" y="10"/>
                    </a:lnTo>
                    <a:lnTo>
                      <a:pt x="19" y="19"/>
                    </a:lnTo>
                    <a:lnTo>
                      <a:pt x="14" y="14"/>
                    </a:lnTo>
                    <a:lnTo>
                      <a:pt x="12" y="7"/>
                    </a:lnTo>
                    <a:lnTo>
                      <a:pt x="7" y="10"/>
                    </a:lnTo>
                    <a:lnTo>
                      <a:pt x="5" y="10"/>
                    </a:lnTo>
                    <a:lnTo>
                      <a:pt x="5" y="12"/>
                    </a:lnTo>
                    <a:lnTo>
                      <a:pt x="5" y="14"/>
                    </a:lnTo>
                    <a:lnTo>
                      <a:pt x="7" y="14"/>
                    </a:lnTo>
                    <a:lnTo>
                      <a:pt x="12" y="19"/>
                    </a:lnTo>
                    <a:lnTo>
                      <a:pt x="12" y="22"/>
                    </a:lnTo>
                    <a:lnTo>
                      <a:pt x="5" y="19"/>
                    </a:lnTo>
                    <a:lnTo>
                      <a:pt x="2" y="24"/>
                    </a:lnTo>
                    <a:lnTo>
                      <a:pt x="0" y="24"/>
                    </a:lnTo>
                    <a:lnTo>
                      <a:pt x="0" y="29"/>
                    </a:lnTo>
                    <a:lnTo>
                      <a:pt x="0" y="31"/>
                    </a:lnTo>
                    <a:lnTo>
                      <a:pt x="5" y="34"/>
                    </a:lnTo>
                    <a:lnTo>
                      <a:pt x="7" y="34"/>
                    </a:lnTo>
                    <a:lnTo>
                      <a:pt x="2" y="38"/>
                    </a:lnTo>
                    <a:lnTo>
                      <a:pt x="2" y="41"/>
                    </a:lnTo>
                    <a:lnTo>
                      <a:pt x="5" y="43"/>
                    </a:lnTo>
                    <a:lnTo>
                      <a:pt x="7" y="43"/>
                    </a:lnTo>
                    <a:lnTo>
                      <a:pt x="7" y="48"/>
                    </a:lnTo>
                    <a:lnTo>
                      <a:pt x="5" y="53"/>
                    </a:lnTo>
                    <a:lnTo>
                      <a:pt x="7" y="53"/>
                    </a:lnTo>
                    <a:lnTo>
                      <a:pt x="17" y="53"/>
                    </a:lnTo>
                    <a:lnTo>
                      <a:pt x="17" y="55"/>
                    </a:lnTo>
                    <a:lnTo>
                      <a:pt x="24" y="55"/>
                    </a:lnTo>
                    <a:lnTo>
                      <a:pt x="26" y="58"/>
                    </a:lnTo>
                    <a:lnTo>
                      <a:pt x="26" y="55"/>
                    </a:lnTo>
                    <a:lnTo>
                      <a:pt x="24" y="53"/>
                    </a:lnTo>
                    <a:lnTo>
                      <a:pt x="24" y="48"/>
                    </a:lnTo>
                    <a:lnTo>
                      <a:pt x="26" y="43"/>
                    </a:lnTo>
                    <a:lnTo>
                      <a:pt x="24" y="41"/>
                    </a:lnTo>
                    <a:lnTo>
                      <a:pt x="24" y="38"/>
                    </a:lnTo>
                    <a:lnTo>
                      <a:pt x="21" y="38"/>
                    </a:lnTo>
                    <a:lnTo>
                      <a:pt x="24" y="38"/>
                    </a:lnTo>
                    <a:lnTo>
                      <a:pt x="31" y="34"/>
                    </a:lnTo>
                    <a:lnTo>
                      <a:pt x="33" y="26"/>
                    </a:lnTo>
                    <a:lnTo>
                      <a:pt x="38" y="26"/>
                    </a:lnTo>
                    <a:lnTo>
                      <a:pt x="41" y="19"/>
                    </a:lnTo>
                    <a:lnTo>
                      <a:pt x="31" y="19"/>
                    </a:lnTo>
                    <a:lnTo>
                      <a:pt x="31" y="12"/>
                    </a:lnTo>
                    <a:close/>
                    <a:moveTo>
                      <a:pt x="29" y="38"/>
                    </a:moveTo>
                    <a:lnTo>
                      <a:pt x="31" y="48"/>
                    </a:lnTo>
                    <a:lnTo>
                      <a:pt x="36" y="53"/>
                    </a:lnTo>
                    <a:lnTo>
                      <a:pt x="38" y="46"/>
                    </a:lnTo>
                    <a:lnTo>
                      <a:pt x="33" y="41"/>
                    </a:lnTo>
                    <a:lnTo>
                      <a:pt x="29" y="38"/>
                    </a:lnTo>
                    <a:close/>
                  </a:path>
                </a:pathLst>
              </a:custGeom>
              <a:solidFill>
                <a:srgbClr val="4966AC"/>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100" name="Czech Republic" descr="© INSCALE GmbH, 05.05.2010&#10;http://www.presentationload.com/">
                <a:extLst>
                  <a:ext uri="{FF2B5EF4-FFF2-40B4-BE49-F238E27FC236}">
                    <a16:creationId xmlns:a16="http://schemas.microsoft.com/office/drawing/2014/main" id="{EE40EDB2-9570-480C-9C68-1E8EFF84CA7E}"/>
                  </a:ext>
                </a:extLst>
              </p:cNvPr>
              <p:cNvSpPr>
                <a:spLocks/>
              </p:cNvSpPr>
              <p:nvPr/>
            </p:nvSpPr>
            <p:spPr bwMode="gray">
              <a:xfrm>
                <a:off x="4548524" y="2753760"/>
                <a:ext cx="166911" cy="84902"/>
              </a:xfrm>
              <a:custGeom>
                <a:avLst/>
                <a:gdLst>
                  <a:gd name="T0" fmla="*/ 2147483647 w 420"/>
                  <a:gd name="T1" fmla="*/ 2147483647 h 192"/>
                  <a:gd name="T2" fmla="*/ 2147483647 w 420"/>
                  <a:gd name="T3" fmla="*/ 2147483647 h 192"/>
                  <a:gd name="T4" fmla="*/ 2147483647 w 420"/>
                  <a:gd name="T5" fmla="*/ 2147483647 h 192"/>
                  <a:gd name="T6" fmla="*/ 2147483647 w 420"/>
                  <a:gd name="T7" fmla="*/ 2147483647 h 192"/>
                  <a:gd name="T8" fmla="*/ 2147483647 w 420"/>
                  <a:gd name="T9" fmla="*/ 2147483647 h 192"/>
                  <a:gd name="T10" fmla="*/ 2147483647 w 420"/>
                  <a:gd name="T11" fmla="*/ 2147483647 h 192"/>
                  <a:gd name="T12" fmla="*/ 2147483647 w 420"/>
                  <a:gd name="T13" fmla="*/ 2147483647 h 192"/>
                  <a:gd name="T14" fmla="*/ 2147483647 w 420"/>
                  <a:gd name="T15" fmla="*/ 2147483647 h 192"/>
                  <a:gd name="T16" fmla="*/ 2147483647 w 420"/>
                  <a:gd name="T17" fmla="*/ 2147483647 h 192"/>
                  <a:gd name="T18" fmla="*/ 2147483647 w 420"/>
                  <a:gd name="T19" fmla="*/ 2147483647 h 192"/>
                  <a:gd name="T20" fmla="*/ 2147483647 w 420"/>
                  <a:gd name="T21" fmla="*/ 2147483647 h 192"/>
                  <a:gd name="T22" fmla="*/ 2147483647 w 420"/>
                  <a:gd name="T23" fmla="*/ 2147483647 h 192"/>
                  <a:gd name="T24" fmla="*/ 2147483647 w 420"/>
                  <a:gd name="T25" fmla="*/ 2147483647 h 192"/>
                  <a:gd name="T26" fmla="*/ 2147483647 w 420"/>
                  <a:gd name="T27" fmla="*/ 2147483647 h 192"/>
                  <a:gd name="T28" fmla="*/ 2147483647 w 420"/>
                  <a:gd name="T29" fmla="*/ 0 h 192"/>
                  <a:gd name="T30" fmla="*/ 2147483647 w 420"/>
                  <a:gd name="T31" fmla="*/ 2147483647 h 192"/>
                  <a:gd name="T32" fmla="*/ 2147483647 w 420"/>
                  <a:gd name="T33" fmla="*/ 0 h 192"/>
                  <a:gd name="T34" fmla="*/ 2147483647 w 420"/>
                  <a:gd name="T35" fmla="*/ 2147483647 h 192"/>
                  <a:gd name="T36" fmla="*/ 2147483647 w 420"/>
                  <a:gd name="T37" fmla="*/ 2147483647 h 192"/>
                  <a:gd name="T38" fmla="*/ 2147483647 w 420"/>
                  <a:gd name="T39" fmla="*/ 2147483647 h 192"/>
                  <a:gd name="T40" fmla="*/ 2147483647 w 420"/>
                  <a:gd name="T41" fmla="*/ 2147483647 h 192"/>
                  <a:gd name="T42" fmla="*/ 2147483647 w 420"/>
                  <a:gd name="T43" fmla="*/ 2147483647 h 192"/>
                  <a:gd name="T44" fmla="*/ 2147483647 w 420"/>
                  <a:gd name="T45" fmla="*/ 2147483647 h 192"/>
                  <a:gd name="T46" fmla="*/ 2147483647 w 420"/>
                  <a:gd name="T47" fmla="*/ 2147483647 h 192"/>
                  <a:gd name="T48" fmla="*/ 2147483647 w 420"/>
                  <a:gd name="T49" fmla="*/ 2147483647 h 192"/>
                  <a:gd name="T50" fmla="*/ 2147483647 w 420"/>
                  <a:gd name="T51" fmla="*/ 2147483647 h 192"/>
                  <a:gd name="T52" fmla="*/ 0 w 420"/>
                  <a:gd name="T53" fmla="*/ 2147483647 h 192"/>
                  <a:gd name="T54" fmla="*/ 2147483647 w 420"/>
                  <a:gd name="T55" fmla="*/ 2147483647 h 192"/>
                  <a:gd name="T56" fmla="*/ 2147483647 w 420"/>
                  <a:gd name="T57" fmla="*/ 2147483647 h 192"/>
                  <a:gd name="T58" fmla="*/ 2147483647 w 420"/>
                  <a:gd name="T59" fmla="*/ 2147483647 h 192"/>
                  <a:gd name="T60" fmla="*/ 2147483647 w 420"/>
                  <a:gd name="T61" fmla="*/ 2147483647 h 192"/>
                  <a:gd name="T62" fmla="*/ 2147483647 w 420"/>
                  <a:gd name="T63" fmla="*/ 2147483647 h 192"/>
                  <a:gd name="T64" fmla="*/ 2147483647 w 420"/>
                  <a:gd name="T65" fmla="*/ 2147483647 h 192"/>
                  <a:gd name="T66" fmla="*/ 2147483647 w 420"/>
                  <a:gd name="T67" fmla="*/ 2147483647 h 192"/>
                  <a:gd name="T68" fmla="*/ 2147483647 w 420"/>
                  <a:gd name="T69" fmla="*/ 2147483647 h 192"/>
                  <a:gd name="T70" fmla="*/ 2147483647 w 420"/>
                  <a:gd name="T71" fmla="*/ 2147483647 h 192"/>
                  <a:gd name="T72" fmla="*/ 2147483647 w 420"/>
                  <a:gd name="T73" fmla="*/ 2147483647 h 192"/>
                  <a:gd name="T74" fmla="*/ 2147483647 w 420"/>
                  <a:gd name="T75" fmla="*/ 2147483647 h 192"/>
                  <a:gd name="T76" fmla="*/ 2147483647 w 420"/>
                  <a:gd name="T77" fmla="*/ 2147483647 h 192"/>
                  <a:gd name="T78" fmla="*/ 2147483647 w 420"/>
                  <a:gd name="T79" fmla="*/ 2147483647 h 192"/>
                  <a:gd name="T80" fmla="*/ 2147483647 w 420"/>
                  <a:gd name="T81" fmla="*/ 2147483647 h 192"/>
                  <a:gd name="T82" fmla="*/ 2147483647 w 420"/>
                  <a:gd name="T83" fmla="*/ 2147483647 h 192"/>
                  <a:gd name="T84" fmla="*/ 2147483647 w 420"/>
                  <a:gd name="T85" fmla="*/ 2147483647 h 192"/>
                  <a:gd name="T86" fmla="*/ 2147483647 w 420"/>
                  <a:gd name="T87" fmla="*/ 2147483647 h 192"/>
                  <a:gd name="T88" fmla="*/ 2147483647 w 420"/>
                  <a:gd name="T89" fmla="*/ 2147483647 h 192"/>
                  <a:gd name="T90" fmla="*/ 2147483647 w 420"/>
                  <a:gd name="T91" fmla="*/ 2147483647 h 192"/>
                  <a:gd name="T92" fmla="*/ 2147483647 w 420"/>
                  <a:gd name="T93" fmla="*/ 2147483647 h 192"/>
                  <a:gd name="T94" fmla="*/ 2147483647 w 420"/>
                  <a:gd name="T95" fmla="*/ 2147483647 h 192"/>
                  <a:gd name="T96" fmla="*/ 2147483647 w 420"/>
                  <a:gd name="T97" fmla="*/ 2147483647 h 192"/>
                  <a:gd name="T98" fmla="*/ 2147483647 w 420"/>
                  <a:gd name="T99" fmla="*/ 2147483647 h 192"/>
                  <a:gd name="T100" fmla="*/ 2147483647 w 420"/>
                  <a:gd name="T101" fmla="*/ 2147483647 h 192"/>
                  <a:gd name="T102" fmla="*/ 2147483647 w 420"/>
                  <a:gd name="T103" fmla="*/ 2147483647 h 192"/>
                  <a:gd name="T104" fmla="*/ 2147483647 w 420"/>
                  <a:gd name="T105" fmla="*/ 2147483647 h 19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20"/>
                  <a:gd name="T160" fmla="*/ 0 h 192"/>
                  <a:gd name="T161" fmla="*/ 420 w 420"/>
                  <a:gd name="T162" fmla="*/ 192 h 19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20" h="192">
                    <a:moveTo>
                      <a:pt x="408" y="108"/>
                    </a:moveTo>
                    <a:lnTo>
                      <a:pt x="402" y="96"/>
                    </a:lnTo>
                    <a:lnTo>
                      <a:pt x="402" y="90"/>
                    </a:lnTo>
                    <a:lnTo>
                      <a:pt x="390" y="84"/>
                    </a:lnTo>
                    <a:lnTo>
                      <a:pt x="372" y="84"/>
                    </a:lnTo>
                    <a:lnTo>
                      <a:pt x="372" y="78"/>
                    </a:lnTo>
                    <a:lnTo>
                      <a:pt x="366" y="72"/>
                    </a:lnTo>
                    <a:lnTo>
                      <a:pt x="360" y="84"/>
                    </a:lnTo>
                    <a:lnTo>
                      <a:pt x="354" y="78"/>
                    </a:lnTo>
                    <a:lnTo>
                      <a:pt x="348" y="66"/>
                    </a:lnTo>
                    <a:lnTo>
                      <a:pt x="342" y="60"/>
                    </a:lnTo>
                    <a:lnTo>
                      <a:pt x="324" y="60"/>
                    </a:lnTo>
                    <a:lnTo>
                      <a:pt x="330" y="54"/>
                    </a:lnTo>
                    <a:lnTo>
                      <a:pt x="312" y="54"/>
                    </a:lnTo>
                    <a:lnTo>
                      <a:pt x="300" y="60"/>
                    </a:lnTo>
                    <a:lnTo>
                      <a:pt x="294" y="60"/>
                    </a:lnTo>
                    <a:lnTo>
                      <a:pt x="294" y="66"/>
                    </a:lnTo>
                    <a:lnTo>
                      <a:pt x="276" y="66"/>
                    </a:lnTo>
                    <a:lnTo>
                      <a:pt x="270" y="60"/>
                    </a:lnTo>
                    <a:lnTo>
                      <a:pt x="264" y="60"/>
                    </a:lnTo>
                    <a:lnTo>
                      <a:pt x="264" y="48"/>
                    </a:lnTo>
                    <a:lnTo>
                      <a:pt x="252" y="42"/>
                    </a:lnTo>
                    <a:lnTo>
                      <a:pt x="264" y="36"/>
                    </a:lnTo>
                    <a:lnTo>
                      <a:pt x="258" y="30"/>
                    </a:lnTo>
                    <a:lnTo>
                      <a:pt x="234" y="30"/>
                    </a:lnTo>
                    <a:lnTo>
                      <a:pt x="234" y="24"/>
                    </a:lnTo>
                    <a:lnTo>
                      <a:pt x="228" y="24"/>
                    </a:lnTo>
                    <a:lnTo>
                      <a:pt x="216" y="18"/>
                    </a:lnTo>
                    <a:lnTo>
                      <a:pt x="198" y="18"/>
                    </a:lnTo>
                    <a:lnTo>
                      <a:pt x="192" y="0"/>
                    </a:lnTo>
                    <a:lnTo>
                      <a:pt x="174" y="0"/>
                    </a:lnTo>
                    <a:lnTo>
                      <a:pt x="162" y="12"/>
                    </a:lnTo>
                    <a:lnTo>
                      <a:pt x="156" y="12"/>
                    </a:lnTo>
                    <a:lnTo>
                      <a:pt x="144" y="0"/>
                    </a:lnTo>
                    <a:lnTo>
                      <a:pt x="138" y="6"/>
                    </a:lnTo>
                    <a:lnTo>
                      <a:pt x="132" y="6"/>
                    </a:lnTo>
                    <a:lnTo>
                      <a:pt x="126" y="12"/>
                    </a:lnTo>
                    <a:lnTo>
                      <a:pt x="126" y="18"/>
                    </a:lnTo>
                    <a:lnTo>
                      <a:pt x="108" y="18"/>
                    </a:lnTo>
                    <a:lnTo>
                      <a:pt x="108" y="24"/>
                    </a:lnTo>
                    <a:lnTo>
                      <a:pt x="84" y="24"/>
                    </a:lnTo>
                    <a:lnTo>
                      <a:pt x="84" y="30"/>
                    </a:lnTo>
                    <a:lnTo>
                      <a:pt x="66" y="36"/>
                    </a:lnTo>
                    <a:lnTo>
                      <a:pt x="54" y="48"/>
                    </a:lnTo>
                    <a:lnTo>
                      <a:pt x="42" y="42"/>
                    </a:lnTo>
                    <a:lnTo>
                      <a:pt x="36" y="42"/>
                    </a:lnTo>
                    <a:lnTo>
                      <a:pt x="30" y="48"/>
                    </a:lnTo>
                    <a:lnTo>
                      <a:pt x="30" y="54"/>
                    </a:lnTo>
                    <a:lnTo>
                      <a:pt x="18" y="54"/>
                    </a:lnTo>
                    <a:lnTo>
                      <a:pt x="18" y="60"/>
                    </a:lnTo>
                    <a:lnTo>
                      <a:pt x="6" y="60"/>
                    </a:lnTo>
                    <a:lnTo>
                      <a:pt x="6" y="54"/>
                    </a:lnTo>
                    <a:lnTo>
                      <a:pt x="0" y="54"/>
                    </a:lnTo>
                    <a:lnTo>
                      <a:pt x="0" y="66"/>
                    </a:lnTo>
                    <a:lnTo>
                      <a:pt x="6" y="72"/>
                    </a:lnTo>
                    <a:lnTo>
                      <a:pt x="12" y="72"/>
                    </a:lnTo>
                    <a:lnTo>
                      <a:pt x="24" y="84"/>
                    </a:lnTo>
                    <a:lnTo>
                      <a:pt x="18" y="90"/>
                    </a:lnTo>
                    <a:lnTo>
                      <a:pt x="12" y="90"/>
                    </a:lnTo>
                    <a:lnTo>
                      <a:pt x="12" y="96"/>
                    </a:lnTo>
                    <a:lnTo>
                      <a:pt x="24" y="108"/>
                    </a:lnTo>
                    <a:lnTo>
                      <a:pt x="30" y="120"/>
                    </a:lnTo>
                    <a:lnTo>
                      <a:pt x="36" y="120"/>
                    </a:lnTo>
                    <a:lnTo>
                      <a:pt x="36" y="126"/>
                    </a:lnTo>
                    <a:lnTo>
                      <a:pt x="48" y="132"/>
                    </a:lnTo>
                    <a:lnTo>
                      <a:pt x="60" y="132"/>
                    </a:lnTo>
                    <a:lnTo>
                      <a:pt x="66" y="144"/>
                    </a:lnTo>
                    <a:lnTo>
                      <a:pt x="72" y="144"/>
                    </a:lnTo>
                    <a:lnTo>
                      <a:pt x="78" y="156"/>
                    </a:lnTo>
                    <a:lnTo>
                      <a:pt x="90" y="156"/>
                    </a:lnTo>
                    <a:lnTo>
                      <a:pt x="96" y="162"/>
                    </a:lnTo>
                    <a:lnTo>
                      <a:pt x="102" y="162"/>
                    </a:lnTo>
                    <a:lnTo>
                      <a:pt x="102" y="174"/>
                    </a:lnTo>
                    <a:lnTo>
                      <a:pt x="120" y="192"/>
                    </a:lnTo>
                    <a:lnTo>
                      <a:pt x="132" y="192"/>
                    </a:lnTo>
                    <a:lnTo>
                      <a:pt x="144" y="186"/>
                    </a:lnTo>
                    <a:lnTo>
                      <a:pt x="150" y="186"/>
                    </a:lnTo>
                    <a:lnTo>
                      <a:pt x="162" y="192"/>
                    </a:lnTo>
                    <a:lnTo>
                      <a:pt x="162" y="174"/>
                    </a:lnTo>
                    <a:lnTo>
                      <a:pt x="168" y="174"/>
                    </a:lnTo>
                    <a:lnTo>
                      <a:pt x="174" y="162"/>
                    </a:lnTo>
                    <a:lnTo>
                      <a:pt x="180" y="156"/>
                    </a:lnTo>
                    <a:lnTo>
                      <a:pt x="198" y="156"/>
                    </a:lnTo>
                    <a:lnTo>
                      <a:pt x="210" y="162"/>
                    </a:lnTo>
                    <a:lnTo>
                      <a:pt x="222" y="174"/>
                    </a:lnTo>
                    <a:lnTo>
                      <a:pt x="234" y="168"/>
                    </a:lnTo>
                    <a:lnTo>
                      <a:pt x="246" y="180"/>
                    </a:lnTo>
                    <a:lnTo>
                      <a:pt x="258" y="174"/>
                    </a:lnTo>
                    <a:lnTo>
                      <a:pt x="264" y="168"/>
                    </a:lnTo>
                    <a:lnTo>
                      <a:pt x="276" y="168"/>
                    </a:lnTo>
                    <a:lnTo>
                      <a:pt x="282" y="174"/>
                    </a:lnTo>
                    <a:lnTo>
                      <a:pt x="288" y="174"/>
                    </a:lnTo>
                    <a:lnTo>
                      <a:pt x="300" y="180"/>
                    </a:lnTo>
                    <a:lnTo>
                      <a:pt x="306" y="174"/>
                    </a:lnTo>
                    <a:lnTo>
                      <a:pt x="324" y="174"/>
                    </a:lnTo>
                    <a:lnTo>
                      <a:pt x="330" y="168"/>
                    </a:lnTo>
                    <a:lnTo>
                      <a:pt x="330" y="174"/>
                    </a:lnTo>
                    <a:lnTo>
                      <a:pt x="348" y="174"/>
                    </a:lnTo>
                    <a:lnTo>
                      <a:pt x="360" y="168"/>
                    </a:lnTo>
                    <a:lnTo>
                      <a:pt x="366" y="162"/>
                    </a:lnTo>
                    <a:lnTo>
                      <a:pt x="378" y="156"/>
                    </a:lnTo>
                    <a:lnTo>
                      <a:pt x="378" y="132"/>
                    </a:lnTo>
                    <a:lnTo>
                      <a:pt x="402" y="126"/>
                    </a:lnTo>
                    <a:lnTo>
                      <a:pt x="420" y="114"/>
                    </a:lnTo>
                    <a:lnTo>
                      <a:pt x="414" y="108"/>
                    </a:lnTo>
                    <a:lnTo>
                      <a:pt x="408" y="108"/>
                    </a:lnTo>
                    <a:close/>
                  </a:path>
                </a:pathLst>
              </a:custGeom>
              <a:solidFill>
                <a:srgbClr val="4966AC"/>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101" name="Cyprus" descr="© INSCALE GmbH, 05.05.2010&#10;http://www.presentationload.com/">
                <a:extLst>
                  <a:ext uri="{FF2B5EF4-FFF2-40B4-BE49-F238E27FC236}">
                    <a16:creationId xmlns:a16="http://schemas.microsoft.com/office/drawing/2014/main" id="{AC23FBAB-5265-41A3-BBF9-417A03BA8B2B}"/>
                  </a:ext>
                </a:extLst>
              </p:cNvPr>
              <p:cNvSpPr>
                <a:spLocks/>
              </p:cNvSpPr>
              <p:nvPr/>
            </p:nvSpPr>
            <p:spPr bwMode="gray">
              <a:xfrm>
                <a:off x="5083573" y="3292630"/>
                <a:ext cx="59277" cy="38119"/>
              </a:xfrm>
              <a:custGeom>
                <a:avLst/>
                <a:gdLst>
                  <a:gd name="T0" fmla="*/ 0 w 150"/>
                  <a:gd name="T1" fmla="*/ 2147483647 h 84"/>
                  <a:gd name="T2" fmla="*/ 2147483647 w 150"/>
                  <a:gd name="T3" fmla="*/ 2147483647 h 84"/>
                  <a:gd name="T4" fmla="*/ 2147483647 w 150"/>
                  <a:gd name="T5" fmla="*/ 2147483647 h 84"/>
                  <a:gd name="T6" fmla="*/ 2147483647 w 150"/>
                  <a:gd name="T7" fmla="*/ 2147483647 h 84"/>
                  <a:gd name="T8" fmla="*/ 2147483647 w 150"/>
                  <a:gd name="T9" fmla="*/ 2147483647 h 84"/>
                  <a:gd name="T10" fmla="*/ 2147483647 w 150"/>
                  <a:gd name="T11" fmla="*/ 2147483647 h 84"/>
                  <a:gd name="T12" fmla="*/ 2147483647 w 150"/>
                  <a:gd name="T13" fmla="*/ 2147483647 h 84"/>
                  <a:gd name="T14" fmla="*/ 2147483647 w 150"/>
                  <a:gd name="T15" fmla="*/ 2147483647 h 84"/>
                  <a:gd name="T16" fmla="*/ 2147483647 w 150"/>
                  <a:gd name="T17" fmla="*/ 2147483647 h 84"/>
                  <a:gd name="T18" fmla="*/ 2147483647 w 150"/>
                  <a:gd name="T19" fmla="*/ 2147483647 h 84"/>
                  <a:gd name="T20" fmla="*/ 2147483647 w 150"/>
                  <a:gd name="T21" fmla="*/ 2147483647 h 84"/>
                  <a:gd name="T22" fmla="*/ 2147483647 w 150"/>
                  <a:gd name="T23" fmla="*/ 2147483647 h 84"/>
                  <a:gd name="T24" fmla="*/ 2147483647 w 150"/>
                  <a:gd name="T25" fmla="*/ 2147483647 h 84"/>
                  <a:gd name="T26" fmla="*/ 2147483647 w 150"/>
                  <a:gd name="T27" fmla="*/ 0 h 84"/>
                  <a:gd name="T28" fmla="*/ 2147483647 w 150"/>
                  <a:gd name="T29" fmla="*/ 2147483647 h 84"/>
                  <a:gd name="T30" fmla="*/ 2147483647 w 150"/>
                  <a:gd name="T31" fmla="*/ 2147483647 h 84"/>
                  <a:gd name="T32" fmla="*/ 2147483647 w 150"/>
                  <a:gd name="T33" fmla="*/ 2147483647 h 84"/>
                  <a:gd name="T34" fmla="*/ 2147483647 w 150"/>
                  <a:gd name="T35" fmla="*/ 2147483647 h 84"/>
                  <a:gd name="T36" fmla="*/ 2147483647 w 150"/>
                  <a:gd name="T37" fmla="*/ 2147483647 h 84"/>
                  <a:gd name="T38" fmla="*/ 0 w 150"/>
                  <a:gd name="T39" fmla="*/ 2147483647 h 84"/>
                  <a:gd name="T40" fmla="*/ 0 w 150"/>
                  <a:gd name="T41" fmla="*/ 2147483647 h 8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50"/>
                  <a:gd name="T64" fmla="*/ 0 h 84"/>
                  <a:gd name="T65" fmla="*/ 150 w 150"/>
                  <a:gd name="T66" fmla="*/ 84 h 8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50" h="84">
                    <a:moveTo>
                      <a:pt x="0" y="48"/>
                    </a:moveTo>
                    <a:lnTo>
                      <a:pt x="6" y="60"/>
                    </a:lnTo>
                    <a:lnTo>
                      <a:pt x="30" y="72"/>
                    </a:lnTo>
                    <a:lnTo>
                      <a:pt x="36" y="84"/>
                    </a:lnTo>
                    <a:lnTo>
                      <a:pt x="54" y="84"/>
                    </a:lnTo>
                    <a:lnTo>
                      <a:pt x="60" y="78"/>
                    </a:lnTo>
                    <a:lnTo>
                      <a:pt x="72" y="72"/>
                    </a:lnTo>
                    <a:lnTo>
                      <a:pt x="78" y="66"/>
                    </a:lnTo>
                    <a:lnTo>
                      <a:pt x="90" y="60"/>
                    </a:lnTo>
                    <a:lnTo>
                      <a:pt x="96" y="54"/>
                    </a:lnTo>
                    <a:lnTo>
                      <a:pt x="102" y="60"/>
                    </a:lnTo>
                    <a:lnTo>
                      <a:pt x="120" y="60"/>
                    </a:lnTo>
                    <a:lnTo>
                      <a:pt x="120" y="36"/>
                    </a:lnTo>
                    <a:lnTo>
                      <a:pt x="150" y="0"/>
                    </a:lnTo>
                    <a:lnTo>
                      <a:pt x="108" y="24"/>
                    </a:lnTo>
                    <a:lnTo>
                      <a:pt x="54" y="24"/>
                    </a:lnTo>
                    <a:lnTo>
                      <a:pt x="48" y="30"/>
                    </a:lnTo>
                    <a:lnTo>
                      <a:pt x="48" y="36"/>
                    </a:lnTo>
                    <a:lnTo>
                      <a:pt x="12" y="36"/>
                    </a:lnTo>
                    <a:lnTo>
                      <a:pt x="0" y="42"/>
                    </a:lnTo>
                    <a:lnTo>
                      <a:pt x="0" y="48"/>
                    </a:lnTo>
                    <a:close/>
                  </a:path>
                </a:pathLst>
              </a:custGeom>
              <a:solidFill>
                <a:schemeClr val="bg1">
                  <a:lumMod val="85000"/>
                </a:schemeClr>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102" name="Croatia" descr="© INSCALE GmbH, 05.05.2010&#10;http://www.presentationload.com/">
                <a:extLst>
                  <a:ext uri="{FF2B5EF4-FFF2-40B4-BE49-F238E27FC236}">
                    <a16:creationId xmlns:a16="http://schemas.microsoft.com/office/drawing/2014/main" id="{A2FD2704-AE7A-407B-AD2F-036BA80E4688}"/>
                  </a:ext>
                </a:extLst>
              </p:cNvPr>
              <p:cNvSpPr>
                <a:spLocks/>
              </p:cNvSpPr>
              <p:nvPr/>
            </p:nvSpPr>
            <p:spPr bwMode="gray">
              <a:xfrm>
                <a:off x="4587521" y="2911436"/>
                <a:ext cx="145072" cy="119556"/>
              </a:xfrm>
              <a:custGeom>
                <a:avLst/>
                <a:gdLst>
                  <a:gd name="T0" fmla="*/ 2147483647 w 366"/>
                  <a:gd name="T1" fmla="*/ 2147483647 h 276"/>
                  <a:gd name="T2" fmla="*/ 2147483647 w 366"/>
                  <a:gd name="T3" fmla="*/ 2147483647 h 276"/>
                  <a:gd name="T4" fmla="*/ 2147483647 w 366"/>
                  <a:gd name="T5" fmla="*/ 2147483647 h 276"/>
                  <a:gd name="T6" fmla="*/ 2147483647 w 366"/>
                  <a:gd name="T7" fmla="*/ 2147483647 h 276"/>
                  <a:gd name="T8" fmla="*/ 2147483647 w 366"/>
                  <a:gd name="T9" fmla="*/ 2147483647 h 276"/>
                  <a:gd name="T10" fmla="*/ 2147483647 w 366"/>
                  <a:gd name="T11" fmla="*/ 2147483647 h 276"/>
                  <a:gd name="T12" fmla="*/ 2147483647 w 366"/>
                  <a:gd name="T13" fmla="*/ 2147483647 h 276"/>
                  <a:gd name="T14" fmla="*/ 2147483647 w 366"/>
                  <a:gd name="T15" fmla="*/ 2147483647 h 276"/>
                  <a:gd name="T16" fmla="*/ 2147483647 w 366"/>
                  <a:gd name="T17" fmla="*/ 2147483647 h 276"/>
                  <a:gd name="T18" fmla="*/ 2147483647 w 366"/>
                  <a:gd name="T19" fmla="*/ 2147483647 h 276"/>
                  <a:gd name="T20" fmla="*/ 2147483647 w 366"/>
                  <a:gd name="T21" fmla="*/ 2147483647 h 276"/>
                  <a:gd name="T22" fmla="*/ 2147483647 w 366"/>
                  <a:gd name="T23" fmla="*/ 0 h 276"/>
                  <a:gd name="T24" fmla="*/ 2147483647 w 366"/>
                  <a:gd name="T25" fmla="*/ 2147483647 h 276"/>
                  <a:gd name="T26" fmla="*/ 2147483647 w 366"/>
                  <a:gd name="T27" fmla="*/ 2147483647 h 276"/>
                  <a:gd name="T28" fmla="*/ 2147483647 w 366"/>
                  <a:gd name="T29" fmla="*/ 2147483647 h 276"/>
                  <a:gd name="T30" fmla="*/ 2147483647 w 366"/>
                  <a:gd name="T31" fmla="*/ 2147483647 h 276"/>
                  <a:gd name="T32" fmla="*/ 2147483647 w 366"/>
                  <a:gd name="T33" fmla="*/ 2147483647 h 276"/>
                  <a:gd name="T34" fmla="*/ 2147483647 w 366"/>
                  <a:gd name="T35" fmla="*/ 2147483647 h 276"/>
                  <a:gd name="T36" fmla="*/ 2147483647 w 366"/>
                  <a:gd name="T37" fmla="*/ 2147483647 h 276"/>
                  <a:gd name="T38" fmla="*/ 2147483647 w 366"/>
                  <a:gd name="T39" fmla="*/ 2147483647 h 276"/>
                  <a:gd name="T40" fmla="*/ 0 w 366"/>
                  <a:gd name="T41" fmla="*/ 2147483647 h 276"/>
                  <a:gd name="T42" fmla="*/ 2147483647 w 366"/>
                  <a:gd name="T43" fmla="*/ 2147483647 h 276"/>
                  <a:gd name="T44" fmla="*/ 2147483647 w 366"/>
                  <a:gd name="T45" fmla="*/ 2147483647 h 276"/>
                  <a:gd name="T46" fmla="*/ 2147483647 w 366"/>
                  <a:gd name="T47" fmla="*/ 2147483647 h 276"/>
                  <a:gd name="T48" fmla="*/ 2147483647 w 366"/>
                  <a:gd name="T49" fmla="*/ 2147483647 h 276"/>
                  <a:gd name="T50" fmla="*/ 2147483647 w 366"/>
                  <a:gd name="T51" fmla="*/ 2147483647 h 276"/>
                  <a:gd name="T52" fmla="*/ 2147483647 w 366"/>
                  <a:gd name="T53" fmla="*/ 2147483647 h 276"/>
                  <a:gd name="T54" fmla="*/ 2147483647 w 366"/>
                  <a:gd name="T55" fmla="*/ 2147483647 h 276"/>
                  <a:gd name="T56" fmla="*/ 2147483647 w 366"/>
                  <a:gd name="T57" fmla="*/ 2147483647 h 276"/>
                  <a:gd name="T58" fmla="*/ 2147483647 w 366"/>
                  <a:gd name="T59" fmla="*/ 2147483647 h 276"/>
                  <a:gd name="T60" fmla="*/ 2147483647 w 366"/>
                  <a:gd name="T61" fmla="*/ 2147483647 h 276"/>
                  <a:gd name="T62" fmla="*/ 2147483647 w 366"/>
                  <a:gd name="T63" fmla="*/ 2147483647 h 276"/>
                  <a:gd name="T64" fmla="*/ 2147483647 w 366"/>
                  <a:gd name="T65" fmla="*/ 2147483647 h 276"/>
                  <a:gd name="T66" fmla="*/ 2147483647 w 366"/>
                  <a:gd name="T67" fmla="*/ 2147483647 h 276"/>
                  <a:gd name="T68" fmla="*/ 2147483647 w 366"/>
                  <a:gd name="T69" fmla="*/ 2147483647 h 276"/>
                  <a:gd name="T70" fmla="*/ 2147483647 w 366"/>
                  <a:gd name="T71" fmla="*/ 2147483647 h 276"/>
                  <a:gd name="T72" fmla="*/ 2147483647 w 366"/>
                  <a:gd name="T73" fmla="*/ 2147483647 h 276"/>
                  <a:gd name="T74" fmla="*/ 2147483647 w 366"/>
                  <a:gd name="T75" fmla="*/ 2147483647 h 276"/>
                  <a:gd name="T76" fmla="*/ 2147483647 w 366"/>
                  <a:gd name="T77" fmla="*/ 2147483647 h 276"/>
                  <a:gd name="T78" fmla="*/ 2147483647 w 366"/>
                  <a:gd name="T79" fmla="*/ 2147483647 h 276"/>
                  <a:gd name="T80" fmla="*/ 2147483647 w 366"/>
                  <a:gd name="T81" fmla="*/ 2147483647 h 276"/>
                  <a:gd name="T82" fmla="*/ 2147483647 w 366"/>
                  <a:gd name="T83" fmla="*/ 2147483647 h 276"/>
                  <a:gd name="T84" fmla="*/ 2147483647 w 366"/>
                  <a:gd name="T85" fmla="*/ 2147483647 h 276"/>
                  <a:gd name="T86" fmla="*/ 2147483647 w 366"/>
                  <a:gd name="T87" fmla="*/ 2147483647 h 276"/>
                  <a:gd name="T88" fmla="*/ 2147483647 w 366"/>
                  <a:gd name="T89" fmla="*/ 2147483647 h 276"/>
                  <a:gd name="T90" fmla="*/ 2147483647 w 366"/>
                  <a:gd name="T91" fmla="*/ 2147483647 h 27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66"/>
                  <a:gd name="T139" fmla="*/ 0 h 276"/>
                  <a:gd name="T140" fmla="*/ 366 w 366"/>
                  <a:gd name="T141" fmla="*/ 276 h 27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66" h="276">
                    <a:moveTo>
                      <a:pt x="342" y="126"/>
                    </a:moveTo>
                    <a:lnTo>
                      <a:pt x="342" y="114"/>
                    </a:lnTo>
                    <a:lnTo>
                      <a:pt x="348" y="114"/>
                    </a:lnTo>
                    <a:lnTo>
                      <a:pt x="354" y="108"/>
                    </a:lnTo>
                    <a:lnTo>
                      <a:pt x="360" y="108"/>
                    </a:lnTo>
                    <a:lnTo>
                      <a:pt x="366" y="102"/>
                    </a:lnTo>
                    <a:lnTo>
                      <a:pt x="360" y="102"/>
                    </a:lnTo>
                    <a:lnTo>
                      <a:pt x="348" y="96"/>
                    </a:lnTo>
                    <a:lnTo>
                      <a:pt x="336" y="96"/>
                    </a:lnTo>
                    <a:lnTo>
                      <a:pt x="342" y="78"/>
                    </a:lnTo>
                    <a:lnTo>
                      <a:pt x="336" y="78"/>
                    </a:lnTo>
                    <a:lnTo>
                      <a:pt x="330" y="48"/>
                    </a:lnTo>
                    <a:lnTo>
                      <a:pt x="324" y="48"/>
                    </a:lnTo>
                    <a:lnTo>
                      <a:pt x="312" y="54"/>
                    </a:lnTo>
                    <a:lnTo>
                      <a:pt x="270" y="60"/>
                    </a:lnTo>
                    <a:lnTo>
                      <a:pt x="264" y="48"/>
                    </a:lnTo>
                    <a:lnTo>
                      <a:pt x="246" y="48"/>
                    </a:lnTo>
                    <a:lnTo>
                      <a:pt x="234" y="42"/>
                    </a:lnTo>
                    <a:lnTo>
                      <a:pt x="228" y="36"/>
                    </a:lnTo>
                    <a:lnTo>
                      <a:pt x="216" y="30"/>
                    </a:lnTo>
                    <a:lnTo>
                      <a:pt x="204" y="18"/>
                    </a:lnTo>
                    <a:lnTo>
                      <a:pt x="204" y="12"/>
                    </a:lnTo>
                    <a:lnTo>
                      <a:pt x="198" y="6"/>
                    </a:lnTo>
                    <a:lnTo>
                      <a:pt x="186" y="0"/>
                    </a:lnTo>
                    <a:lnTo>
                      <a:pt x="162" y="0"/>
                    </a:lnTo>
                    <a:lnTo>
                      <a:pt x="162" y="12"/>
                    </a:lnTo>
                    <a:lnTo>
                      <a:pt x="150" y="18"/>
                    </a:lnTo>
                    <a:lnTo>
                      <a:pt x="120" y="18"/>
                    </a:lnTo>
                    <a:lnTo>
                      <a:pt x="120" y="30"/>
                    </a:lnTo>
                    <a:lnTo>
                      <a:pt x="126" y="36"/>
                    </a:lnTo>
                    <a:lnTo>
                      <a:pt x="126" y="42"/>
                    </a:lnTo>
                    <a:lnTo>
                      <a:pt x="114" y="54"/>
                    </a:lnTo>
                    <a:lnTo>
                      <a:pt x="102" y="60"/>
                    </a:lnTo>
                    <a:lnTo>
                      <a:pt x="102" y="78"/>
                    </a:lnTo>
                    <a:lnTo>
                      <a:pt x="60" y="78"/>
                    </a:lnTo>
                    <a:lnTo>
                      <a:pt x="54" y="72"/>
                    </a:lnTo>
                    <a:lnTo>
                      <a:pt x="54" y="66"/>
                    </a:lnTo>
                    <a:lnTo>
                      <a:pt x="48" y="78"/>
                    </a:lnTo>
                    <a:lnTo>
                      <a:pt x="30" y="78"/>
                    </a:lnTo>
                    <a:lnTo>
                      <a:pt x="18" y="72"/>
                    </a:lnTo>
                    <a:lnTo>
                      <a:pt x="18" y="84"/>
                    </a:lnTo>
                    <a:lnTo>
                      <a:pt x="0" y="84"/>
                    </a:lnTo>
                    <a:lnTo>
                      <a:pt x="0" y="132"/>
                    </a:lnTo>
                    <a:lnTo>
                      <a:pt x="6" y="132"/>
                    </a:lnTo>
                    <a:lnTo>
                      <a:pt x="12" y="120"/>
                    </a:lnTo>
                    <a:lnTo>
                      <a:pt x="24" y="114"/>
                    </a:lnTo>
                    <a:lnTo>
                      <a:pt x="30" y="102"/>
                    </a:lnTo>
                    <a:lnTo>
                      <a:pt x="42" y="102"/>
                    </a:lnTo>
                    <a:lnTo>
                      <a:pt x="48" y="114"/>
                    </a:lnTo>
                    <a:lnTo>
                      <a:pt x="48" y="132"/>
                    </a:lnTo>
                    <a:lnTo>
                      <a:pt x="78" y="126"/>
                    </a:lnTo>
                    <a:lnTo>
                      <a:pt x="78" y="132"/>
                    </a:lnTo>
                    <a:lnTo>
                      <a:pt x="72" y="144"/>
                    </a:lnTo>
                    <a:lnTo>
                      <a:pt x="72" y="150"/>
                    </a:lnTo>
                    <a:lnTo>
                      <a:pt x="84" y="162"/>
                    </a:lnTo>
                    <a:lnTo>
                      <a:pt x="96" y="168"/>
                    </a:lnTo>
                    <a:lnTo>
                      <a:pt x="96" y="180"/>
                    </a:lnTo>
                    <a:lnTo>
                      <a:pt x="144" y="216"/>
                    </a:lnTo>
                    <a:lnTo>
                      <a:pt x="144" y="240"/>
                    </a:lnTo>
                    <a:lnTo>
                      <a:pt x="198" y="240"/>
                    </a:lnTo>
                    <a:lnTo>
                      <a:pt x="210" y="246"/>
                    </a:lnTo>
                    <a:lnTo>
                      <a:pt x="216" y="252"/>
                    </a:lnTo>
                    <a:lnTo>
                      <a:pt x="216" y="276"/>
                    </a:lnTo>
                    <a:lnTo>
                      <a:pt x="246" y="276"/>
                    </a:lnTo>
                    <a:lnTo>
                      <a:pt x="252" y="270"/>
                    </a:lnTo>
                    <a:lnTo>
                      <a:pt x="252" y="264"/>
                    </a:lnTo>
                    <a:lnTo>
                      <a:pt x="246" y="252"/>
                    </a:lnTo>
                    <a:lnTo>
                      <a:pt x="234" y="246"/>
                    </a:lnTo>
                    <a:lnTo>
                      <a:pt x="216" y="234"/>
                    </a:lnTo>
                    <a:lnTo>
                      <a:pt x="204" y="228"/>
                    </a:lnTo>
                    <a:lnTo>
                      <a:pt x="192" y="216"/>
                    </a:lnTo>
                    <a:lnTo>
                      <a:pt x="180" y="186"/>
                    </a:lnTo>
                    <a:lnTo>
                      <a:pt x="162" y="180"/>
                    </a:lnTo>
                    <a:lnTo>
                      <a:pt x="162" y="162"/>
                    </a:lnTo>
                    <a:lnTo>
                      <a:pt x="156" y="156"/>
                    </a:lnTo>
                    <a:lnTo>
                      <a:pt x="150" y="156"/>
                    </a:lnTo>
                    <a:lnTo>
                      <a:pt x="150" y="144"/>
                    </a:lnTo>
                    <a:lnTo>
                      <a:pt x="132" y="138"/>
                    </a:lnTo>
                    <a:lnTo>
                      <a:pt x="120" y="126"/>
                    </a:lnTo>
                    <a:lnTo>
                      <a:pt x="138" y="120"/>
                    </a:lnTo>
                    <a:lnTo>
                      <a:pt x="138" y="96"/>
                    </a:lnTo>
                    <a:lnTo>
                      <a:pt x="144" y="96"/>
                    </a:lnTo>
                    <a:lnTo>
                      <a:pt x="150" y="102"/>
                    </a:lnTo>
                    <a:lnTo>
                      <a:pt x="162" y="108"/>
                    </a:lnTo>
                    <a:lnTo>
                      <a:pt x="186" y="102"/>
                    </a:lnTo>
                    <a:lnTo>
                      <a:pt x="210" y="102"/>
                    </a:lnTo>
                    <a:lnTo>
                      <a:pt x="228" y="108"/>
                    </a:lnTo>
                    <a:lnTo>
                      <a:pt x="240" y="102"/>
                    </a:lnTo>
                    <a:lnTo>
                      <a:pt x="252" y="102"/>
                    </a:lnTo>
                    <a:lnTo>
                      <a:pt x="258" y="108"/>
                    </a:lnTo>
                    <a:lnTo>
                      <a:pt x="312" y="108"/>
                    </a:lnTo>
                    <a:lnTo>
                      <a:pt x="324" y="126"/>
                    </a:lnTo>
                    <a:lnTo>
                      <a:pt x="342" y="126"/>
                    </a:lnTo>
                    <a:close/>
                  </a:path>
                </a:pathLst>
              </a:custGeom>
              <a:solidFill>
                <a:srgbClr val="4966AC"/>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103" name="Bulgaria" descr="© INSCALE GmbH, 05.05.2010&#10;http://www.presentationload.com/">
                <a:extLst>
                  <a:ext uri="{FF2B5EF4-FFF2-40B4-BE49-F238E27FC236}">
                    <a16:creationId xmlns:a16="http://schemas.microsoft.com/office/drawing/2014/main" id="{88BD9A68-069D-42E4-A7E0-A7F5B01B9547}"/>
                  </a:ext>
                </a:extLst>
              </p:cNvPr>
              <p:cNvSpPr>
                <a:spLocks/>
              </p:cNvSpPr>
              <p:nvPr/>
            </p:nvSpPr>
            <p:spPr bwMode="gray">
              <a:xfrm>
                <a:off x="4812149" y="2991140"/>
                <a:ext cx="155991" cy="100497"/>
              </a:xfrm>
              <a:custGeom>
                <a:avLst/>
                <a:gdLst>
                  <a:gd name="T0" fmla="*/ 2147483647 w 396"/>
                  <a:gd name="T1" fmla="*/ 2147483647 h 228"/>
                  <a:gd name="T2" fmla="*/ 2147483647 w 396"/>
                  <a:gd name="T3" fmla="*/ 2147483647 h 228"/>
                  <a:gd name="T4" fmla="*/ 2147483647 w 396"/>
                  <a:gd name="T5" fmla="*/ 2147483647 h 228"/>
                  <a:gd name="T6" fmla="*/ 2147483647 w 396"/>
                  <a:gd name="T7" fmla="*/ 2147483647 h 228"/>
                  <a:gd name="T8" fmla="*/ 2147483647 w 396"/>
                  <a:gd name="T9" fmla="*/ 2147483647 h 228"/>
                  <a:gd name="T10" fmla="*/ 2147483647 w 396"/>
                  <a:gd name="T11" fmla="*/ 2147483647 h 228"/>
                  <a:gd name="T12" fmla="*/ 2147483647 w 396"/>
                  <a:gd name="T13" fmla="*/ 2147483647 h 228"/>
                  <a:gd name="T14" fmla="*/ 2147483647 w 396"/>
                  <a:gd name="T15" fmla="*/ 0 h 228"/>
                  <a:gd name="T16" fmla="*/ 2147483647 w 396"/>
                  <a:gd name="T17" fmla="*/ 2147483647 h 228"/>
                  <a:gd name="T18" fmla="*/ 2147483647 w 396"/>
                  <a:gd name="T19" fmla="*/ 2147483647 h 228"/>
                  <a:gd name="T20" fmla="*/ 2147483647 w 396"/>
                  <a:gd name="T21" fmla="*/ 2147483647 h 228"/>
                  <a:gd name="T22" fmla="*/ 2147483647 w 396"/>
                  <a:gd name="T23" fmla="*/ 2147483647 h 228"/>
                  <a:gd name="T24" fmla="*/ 2147483647 w 396"/>
                  <a:gd name="T25" fmla="*/ 2147483647 h 228"/>
                  <a:gd name="T26" fmla="*/ 2147483647 w 396"/>
                  <a:gd name="T27" fmla="*/ 2147483647 h 228"/>
                  <a:gd name="T28" fmla="*/ 2147483647 w 396"/>
                  <a:gd name="T29" fmla="*/ 2147483647 h 228"/>
                  <a:gd name="T30" fmla="*/ 2147483647 w 396"/>
                  <a:gd name="T31" fmla="*/ 2147483647 h 228"/>
                  <a:gd name="T32" fmla="*/ 2147483647 w 396"/>
                  <a:gd name="T33" fmla="*/ 2147483647 h 228"/>
                  <a:gd name="T34" fmla="*/ 2147483647 w 396"/>
                  <a:gd name="T35" fmla="*/ 2147483647 h 228"/>
                  <a:gd name="T36" fmla="*/ 2147483647 w 396"/>
                  <a:gd name="T37" fmla="*/ 2147483647 h 228"/>
                  <a:gd name="T38" fmla="*/ 2147483647 w 396"/>
                  <a:gd name="T39" fmla="*/ 2147483647 h 228"/>
                  <a:gd name="T40" fmla="*/ 2147483647 w 396"/>
                  <a:gd name="T41" fmla="*/ 2147483647 h 228"/>
                  <a:gd name="T42" fmla="*/ 2147483647 w 396"/>
                  <a:gd name="T43" fmla="*/ 0 h 228"/>
                  <a:gd name="T44" fmla="*/ 0 w 396"/>
                  <a:gd name="T45" fmla="*/ 2147483647 h 228"/>
                  <a:gd name="T46" fmla="*/ 2147483647 w 396"/>
                  <a:gd name="T47" fmla="*/ 2147483647 h 228"/>
                  <a:gd name="T48" fmla="*/ 2147483647 w 396"/>
                  <a:gd name="T49" fmla="*/ 2147483647 h 228"/>
                  <a:gd name="T50" fmla="*/ 2147483647 w 396"/>
                  <a:gd name="T51" fmla="*/ 2147483647 h 228"/>
                  <a:gd name="T52" fmla="*/ 2147483647 w 396"/>
                  <a:gd name="T53" fmla="*/ 2147483647 h 228"/>
                  <a:gd name="T54" fmla="*/ 2147483647 w 396"/>
                  <a:gd name="T55" fmla="*/ 2147483647 h 228"/>
                  <a:gd name="T56" fmla="*/ 0 w 396"/>
                  <a:gd name="T57" fmla="*/ 2147483647 h 228"/>
                  <a:gd name="T58" fmla="*/ 2147483647 w 396"/>
                  <a:gd name="T59" fmla="*/ 2147483647 h 228"/>
                  <a:gd name="T60" fmla="*/ 2147483647 w 396"/>
                  <a:gd name="T61" fmla="*/ 2147483647 h 228"/>
                  <a:gd name="T62" fmla="*/ 2147483647 w 396"/>
                  <a:gd name="T63" fmla="*/ 2147483647 h 228"/>
                  <a:gd name="T64" fmla="*/ 2147483647 w 396"/>
                  <a:gd name="T65" fmla="*/ 2147483647 h 228"/>
                  <a:gd name="T66" fmla="*/ 2147483647 w 396"/>
                  <a:gd name="T67" fmla="*/ 2147483647 h 228"/>
                  <a:gd name="T68" fmla="*/ 2147483647 w 396"/>
                  <a:gd name="T69" fmla="*/ 2147483647 h 228"/>
                  <a:gd name="T70" fmla="*/ 2147483647 w 396"/>
                  <a:gd name="T71" fmla="*/ 2147483647 h 228"/>
                  <a:gd name="T72" fmla="*/ 2147483647 w 396"/>
                  <a:gd name="T73" fmla="*/ 2147483647 h 228"/>
                  <a:gd name="T74" fmla="*/ 2147483647 w 396"/>
                  <a:gd name="T75" fmla="*/ 2147483647 h 228"/>
                  <a:gd name="T76" fmla="*/ 2147483647 w 396"/>
                  <a:gd name="T77" fmla="*/ 2147483647 h 228"/>
                  <a:gd name="T78" fmla="*/ 2147483647 w 396"/>
                  <a:gd name="T79" fmla="*/ 2147483647 h 228"/>
                  <a:gd name="T80" fmla="*/ 2147483647 w 396"/>
                  <a:gd name="T81" fmla="*/ 2147483647 h 228"/>
                  <a:gd name="T82" fmla="*/ 2147483647 w 396"/>
                  <a:gd name="T83" fmla="*/ 2147483647 h 228"/>
                  <a:gd name="T84" fmla="*/ 2147483647 w 396"/>
                  <a:gd name="T85" fmla="*/ 2147483647 h 228"/>
                  <a:gd name="T86" fmla="*/ 2147483647 w 396"/>
                  <a:gd name="T87" fmla="*/ 2147483647 h 228"/>
                  <a:gd name="T88" fmla="*/ 2147483647 w 396"/>
                  <a:gd name="T89" fmla="*/ 2147483647 h 228"/>
                  <a:gd name="T90" fmla="*/ 2147483647 w 396"/>
                  <a:gd name="T91" fmla="*/ 2147483647 h 228"/>
                  <a:gd name="T92" fmla="*/ 2147483647 w 396"/>
                  <a:gd name="T93" fmla="*/ 2147483647 h 22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396"/>
                  <a:gd name="T142" fmla="*/ 0 h 228"/>
                  <a:gd name="T143" fmla="*/ 396 w 396"/>
                  <a:gd name="T144" fmla="*/ 228 h 22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396" h="228">
                    <a:moveTo>
                      <a:pt x="372" y="168"/>
                    </a:moveTo>
                    <a:lnTo>
                      <a:pt x="336" y="126"/>
                    </a:lnTo>
                    <a:lnTo>
                      <a:pt x="354" y="108"/>
                    </a:lnTo>
                    <a:lnTo>
                      <a:pt x="354" y="78"/>
                    </a:lnTo>
                    <a:lnTo>
                      <a:pt x="360" y="72"/>
                    </a:lnTo>
                    <a:lnTo>
                      <a:pt x="372" y="66"/>
                    </a:lnTo>
                    <a:lnTo>
                      <a:pt x="396" y="66"/>
                    </a:lnTo>
                    <a:lnTo>
                      <a:pt x="396" y="48"/>
                    </a:lnTo>
                    <a:lnTo>
                      <a:pt x="390" y="36"/>
                    </a:lnTo>
                    <a:lnTo>
                      <a:pt x="372" y="36"/>
                    </a:lnTo>
                    <a:lnTo>
                      <a:pt x="348" y="12"/>
                    </a:lnTo>
                    <a:lnTo>
                      <a:pt x="324" y="12"/>
                    </a:lnTo>
                    <a:lnTo>
                      <a:pt x="312" y="6"/>
                    </a:lnTo>
                    <a:lnTo>
                      <a:pt x="300" y="6"/>
                    </a:lnTo>
                    <a:lnTo>
                      <a:pt x="288" y="0"/>
                    </a:lnTo>
                    <a:lnTo>
                      <a:pt x="282" y="0"/>
                    </a:lnTo>
                    <a:lnTo>
                      <a:pt x="282" y="12"/>
                    </a:lnTo>
                    <a:lnTo>
                      <a:pt x="252" y="6"/>
                    </a:lnTo>
                    <a:lnTo>
                      <a:pt x="252" y="12"/>
                    </a:lnTo>
                    <a:lnTo>
                      <a:pt x="246" y="12"/>
                    </a:lnTo>
                    <a:lnTo>
                      <a:pt x="234" y="18"/>
                    </a:lnTo>
                    <a:lnTo>
                      <a:pt x="228" y="18"/>
                    </a:lnTo>
                    <a:lnTo>
                      <a:pt x="222" y="24"/>
                    </a:lnTo>
                    <a:lnTo>
                      <a:pt x="222" y="36"/>
                    </a:lnTo>
                    <a:lnTo>
                      <a:pt x="216" y="42"/>
                    </a:lnTo>
                    <a:lnTo>
                      <a:pt x="198" y="42"/>
                    </a:lnTo>
                    <a:lnTo>
                      <a:pt x="186" y="36"/>
                    </a:lnTo>
                    <a:lnTo>
                      <a:pt x="180" y="30"/>
                    </a:lnTo>
                    <a:lnTo>
                      <a:pt x="156" y="30"/>
                    </a:lnTo>
                    <a:lnTo>
                      <a:pt x="138" y="24"/>
                    </a:lnTo>
                    <a:lnTo>
                      <a:pt x="138" y="30"/>
                    </a:lnTo>
                    <a:lnTo>
                      <a:pt x="132" y="36"/>
                    </a:lnTo>
                    <a:lnTo>
                      <a:pt x="108" y="36"/>
                    </a:lnTo>
                    <a:lnTo>
                      <a:pt x="102" y="30"/>
                    </a:lnTo>
                    <a:lnTo>
                      <a:pt x="90" y="30"/>
                    </a:lnTo>
                    <a:lnTo>
                      <a:pt x="66" y="18"/>
                    </a:lnTo>
                    <a:lnTo>
                      <a:pt x="54" y="30"/>
                    </a:lnTo>
                    <a:lnTo>
                      <a:pt x="36" y="30"/>
                    </a:lnTo>
                    <a:lnTo>
                      <a:pt x="30" y="24"/>
                    </a:lnTo>
                    <a:lnTo>
                      <a:pt x="36" y="18"/>
                    </a:lnTo>
                    <a:lnTo>
                      <a:pt x="36" y="12"/>
                    </a:lnTo>
                    <a:lnTo>
                      <a:pt x="42" y="6"/>
                    </a:lnTo>
                    <a:lnTo>
                      <a:pt x="36" y="0"/>
                    </a:lnTo>
                    <a:lnTo>
                      <a:pt x="12" y="0"/>
                    </a:lnTo>
                    <a:lnTo>
                      <a:pt x="12" y="12"/>
                    </a:lnTo>
                    <a:lnTo>
                      <a:pt x="0" y="24"/>
                    </a:lnTo>
                    <a:lnTo>
                      <a:pt x="0" y="42"/>
                    </a:lnTo>
                    <a:lnTo>
                      <a:pt x="18" y="48"/>
                    </a:lnTo>
                    <a:lnTo>
                      <a:pt x="12" y="60"/>
                    </a:lnTo>
                    <a:lnTo>
                      <a:pt x="30" y="66"/>
                    </a:lnTo>
                    <a:lnTo>
                      <a:pt x="36" y="72"/>
                    </a:lnTo>
                    <a:lnTo>
                      <a:pt x="36" y="96"/>
                    </a:lnTo>
                    <a:lnTo>
                      <a:pt x="30" y="102"/>
                    </a:lnTo>
                    <a:lnTo>
                      <a:pt x="6" y="102"/>
                    </a:lnTo>
                    <a:lnTo>
                      <a:pt x="6" y="108"/>
                    </a:lnTo>
                    <a:lnTo>
                      <a:pt x="12" y="114"/>
                    </a:lnTo>
                    <a:lnTo>
                      <a:pt x="12" y="138"/>
                    </a:lnTo>
                    <a:lnTo>
                      <a:pt x="0" y="138"/>
                    </a:lnTo>
                    <a:lnTo>
                      <a:pt x="12" y="156"/>
                    </a:lnTo>
                    <a:lnTo>
                      <a:pt x="18" y="156"/>
                    </a:lnTo>
                    <a:lnTo>
                      <a:pt x="18" y="168"/>
                    </a:lnTo>
                    <a:lnTo>
                      <a:pt x="36" y="180"/>
                    </a:lnTo>
                    <a:lnTo>
                      <a:pt x="42" y="186"/>
                    </a:lnTo>
                    <a:lnTo>
                      <a:pt x="48" y="198"/>
                    </a:lnTo>
                    <a:lnTo>
                      <a:pt x="48" y="210"/>
                    </a:lnTo>
                    <a:lnTo>
                      <a:pt x="42" y="222"/>
                    </a:lnTo>
                    <a:lnTo>
                      <a:pt x="48" y="222"/>
                    </a:lnTo>
                    <a:lnTo>
                      <a:pt x="54" y="228"/>
                    </a:lnTo>
                    <a:lnTo>
                      <a:pt x="66" y="228"/>
                    </a:lnTo>
                    <a:lnTo>
                      <a:pt x="78" y="222"/>
                    </a:lnTo>
                    <a:lnTo>
                      <a:pt x="84" y="216"/>
                    </a:lnTo>
                    <a:lnTo>
                      <a:pt x="108" y="222"/>
                    </a:lnTo>
                    <a:lnTo>
                      <a:pt x="114" y="204"/>
                    </a:lnTo>
                    <a:lnTo>
                      <a:pt x="144" y="198"/>
                    </a:lnTo>
                    <a:lnTo>
                      <a:pt x="144" y="204"/>
                    </a:lnTo>
                    <a:lnTo>
                      <a:pt x="162" y="222"/>
                    </a:lnTo>
                    <a:lnTo>
                      <a:pt x="174" y="222"/>
                    </a:lnTo>
                    <a:lnTo>
                      <a:pt x="180" y="216"/>
                    </a:lnTo>
                    <a:lnTo>
                      <a:pt x="192" y="228"/>
                    </a:lnTo>
                    <a:lnTo>
                      <a:pt x="204" y="228"/>
                    </a:lnTo>
                    <a:lnTo>
                      <a:pt x="216" y="216"/>
                    </a:lnTo>
                    <a:lnTo>
                      <a:pt x="228" y="228"/>
                    </a:lnTo>
                    <a:lnTo>
                      <a:pt x="246" y="228"/>
                    </a:lnTo>
                    <a:lnTo>
                      <a:pt x="252" y="222"/>
                    </a:lnTo>
                    <a:lnTo>
                      <a:pt x="252" y="204"/>
                    </a:lnTo>
                    <a:lnTo>
                      <a:pt x="246" y="198"/>
                    </a:lnTo>
                    <a:lnTo>
                      <a:pt x="264" y="192"/>
                    </a:lnTo>
                    <a:lnTo>
                      <a:pt x="282" y="168"/>
                    </a:lnTo>
                    <a:lnTo>
                      <a:pt x="312" y="174"/>
                    </a:lnTo>
                    <a:lnTo>
                      <a:pt x="324" y="156"/>
                    </a:lnTo>
                    <a:lnTo>
                      <a:pt x="336" y="174"/>
                    </a:lnTo>
                    <a:lnTo>
                      <a:pt x="348" y="174"/>
                    </a:lnTo>
                    <a:lnTo>
                      <a:pt x="360" y="180"/>
                    </a:lnTo>
                    <a:lnTo>
                      <a:pt x="372" y="180"/>
                    </a:lnTo>
                    <a:lnTo>
                      <a:pt x="372" y="168"/>
                    </a:lnTo>
                    <a:close/>
                  </a:path>
                </a:pathLst>
              </a:custGeom>
              <a:solidFill>
                <a:srgbClr val="4966AC"/>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104" name="Bosnia and Herzegovina" descr="© INSCALE GmbH, 05.05.2010&#10;http://www.presentationload.com/">
                <a:extLst>
                  <a:ext uri="{FF2B5EF4-FFF2-40B4-BE49-F238E27FC236}">
                    <a16:creationId xmlns:a16="http://schemas.microsoft.com/office/drawing/2014/main" id="{45C1CD8C-3F85-44D4-96D7-560F53C5985D}"/>
                  </a:ext>
                </a:extLst>
              </p:cNvPr>
              <p:cNvSpPr>
                <a:spLocks/>
              </p:cNvSpPr>
              <p:nvPr/>
            </p:nvSpPr>
            <p:spPr bwMode="gray">
              <a:xfrm>
                <a:off x="4635879" y="2951288"/>
                <a:ext cx="104514" cy="103962"/>
              </a:xfrm>
              <a:custGeom>
                <a:avLst/>
                <a:gdLst>
                  <a:gd name="T0" fmla="*/ 2147483647 w 264"/>
                  <a:gd name="T1" fmla="*/ 2147483647 h 234"/>
                  <a:gd name="T2" fmla="*/ 2147483647 w 264"/>
                  <a:gd name="T3" fmla="*/ 2147483647 h 234"/>
                  <a:gd name="T4" fmla="*/ 2147483647 w 264"/>
                  <a:gd name="T5" fmla="*/ 2147483647 h 234"/>
                  <a:gd name="T6" fmla="*/ 2147483647 w 264"/>
                  <a:gd name="T7" fmla="*/ 2147483647 h 234"/>
                  <a:gd name="T8" fmla="*/ 2147483647 w 264"/>
                  <a:gd name="T9" fmla="*/ 2147483647 h 234"/>
                  <a:gd name="T10" fmla="*/ 2147483647 w 264"/>
                  <a:gd name="T11" fmla="*/ 2147483647 h 234"/>
                  <a:gd name="T12" fmla="*/ 2147483647 w 264"/>
                  <a:gd name="T13" fmla="*/ 2147483647 h 234"/>
                  <a:gd name="T14" fmla="*/ 2147483647 w 264"/>
                  <a:gd name="T15" fmla="*/ 2147483647 h 234"/>
                  <a:gd name="T16" fmla="*/ 2147483647 w 264"/>
                  <a:gd name="T17" fmla="*/ 2147483647 h 234"/>
                  <a:gd name="T18" fmla="*/ 2147483647 w 264"/>
                  <a:gd name="T19" fmla="*/ 2147483647 h 234"/>
                  <a:gd name="T20" fmla="*/ 2147483647 w 264"/>
                  <a:gd name="T21" fmla="*/ 2147483647 h 234"/>
                  <a:gd name="T22" fmla="*/ 2147483647 w 264"/>
                  <a:gd name="T23" fmla="*/ 2147483647 h 234"/>
                  <a:gd name="T24" fmla="*/ 2147483647 w 264"/>
                  <a:gd name="T25" fmla="*/ 2147483647 h 234"/>
                  <a:gd name="T26" fmla="*/ 2147483647 w 264"/>
                  <a:gd name="T27" fmla="*/ 2147483647 h 234"/>
                  <a:gd name="T28" fmla="*/ 2147483647 w 264"/>
                  <a:gd name="T29" fmla="*/ 2147483647 h 234"/>
                  <a:gd name="T30" fmla="*/ 2147483647 w 264"/>
                  <a:gd name="T31" fmla="*/ 2147483647 h 234"/>
                  <a:gd name="T32" fmla="*/ 2147483647 w 264"/>
                  <a:gd name="T33" fmla="*/ 2147483647 h 234"/>
                  <a:gd name="T34" fmla="*/ 2147483647 w 264"/>
                  <a:gd name="T35" fmla="*/ 2147483647 h 234"/>
                  <a:gd name="T36" fmla="*/ 2147483647 w 264"/>
                  <a:gd name="T37" fmla="*/ 2147483647 h 234"/>
                  <a:gd name="T38" fmla="*/ 2147483647 w 264"/>
                  <a:gd name="T39" fmla="*/ 0 h 234"/>
                  <a:gd name="T40" fmla="*/ 2147483647 w 264"/>
                  <a:gd name="T41" fmla="*/ 0 h 234"/>
                  <a:gd name="T42" fmla="*/ 2147483647 w 264"/>
                  <a:gd name="T43" fmla="*/ 2147483647 h 234"/>
                  <a:gd name="T44" fmla="*/ 0 w 264"/>
                  <a:gd name="T45" fmla="*/ 2147483647 h 234"/>
                  <a:gd name="T46" fmla="*/ 2147483647 w 264"/>
                  <a:gd name="T47" fmla="*/ 2147483647 h 234"/>
                  <a:gd name="T48" fmla="*/ 2147483647 w 264"/>
                  <a:gd name="T49" fmla="*/ 2147483647 h 234"/>
                  <a:gd name="T50" fmla="*/ 2147483647 w 264"/>
                  <a:gd name="T51" fmla="*/ 2147483647 h 234"/>
                  <a:gd name="T52" fmla="*/ 2147483647 w 264"/>
                  <a:gd name="T53" fmla="*/ 2147483647 h 234"/>
                  <a:gd name="T54" fmla="*/ 2147483647 w 264"/>
                  <a:gd name="T55" fmla="*/ 2147483647 h 234"/>
                  <a:gd name="T56" fmla="*/ 2147483647 w 264"/>
                  <a:gd name="T57" fmla="*/ 2147483647 h 234"/>
                  <a:gd name="T58" fmla="*/ 2147483647 w 264"/>
                  <a:gd name="T59" fmla="*/ 2147483647 h 234"/>
                  <a:gd name="T60" fmla="*/ 2147483647 w 264"/>
                  <a:gd name="T61" fmla="*/ 2147483647 h 234"/>
                  <a:gd name="T62" fmla="*/ 2147483647 w 264"/>
                  <a:gd name="T63" fmla="*/ 2147483647 h 234"/>
                  <a:gd name="T64" fmla="*/ 2147483647 w 264"/>
                  <a:gd name="T65" fmla="*/ 2147483647 h 234"/>
                  <a:gd name="T66" fmla="*/ 2147483647 w 264"/>
                  <a:gd name="T67" fmla="*/ 2147483647 h 234"/>
                  <a:gd name="T68" fmla="*/ 2147483647 w 264"/>
                  <a:gd name="T69" fmla="*/ 2147483647 h 234"/>
                  <a:gd name="T70" fmla="*/ 2147483647 w 264"/>
                  <a:gd name="T71" fmla="*/ 2147483647 h 234"/>
                  <a:gd name="T72" fmla="*/ 2147483647 w 264"/>
                  <a:gd name="T73" fmla="*/ 2147483647 h 234"/>
                  <a:gd name="T74" fmla="*/ 2147483647 w 264"/>
                  <a:gd name="T75" fmla="*/ 2147483647 h 234"/>
                  <a:gd name="T76" fmla="*/ 2147483647 w 264"/>
                  <a:gd name="T77" fmla="*/ 2147483647 h 234"/>
                  <a:gd name="T78" fmla="*/ 2147483647 w 264"/>
                  <a:gd name="T79" fmla="*/ 2147483647 h 234"/>
                  <a:gd name="T80" fmla="*/ 2147483647 w 264"/>
                  <a:gd name="T81" fmla="*/ 2147483647 h 234"/>
                  <a:gd name="T82" fmla="*/ 2147483647 w 264"/>
                  <a:gd name="T83" fmla="*/ 2147483647 h 234"/>
                  <a:gd name="T84" fmla="*/ 2147483647 w 264"/>
                  <a:gd name="T85" fmla="*/ 2147483647 h 234"/>
                  <a:gd name="T86" fmla="*/ 2147483647 w 264"/>
                  <a:gd name="T87" fmla="*/ 2147483647 h 234"/>
                  <a:gd name="T88" fmla="*/ 2147483647 w 264"/>
                  <a:gd name="T89" fmla="*/ 2147483647 h 234"/>
                  <a:gd name="T90" fmla="*/ 2147483647 w 264"/>
                  <a:gd name="T91" fmla="*/ 2147483647 h 234"/>
                  <a:gd name="T92" fmla="*/ 2147483647 w 264"/>
                  <a:gd name="T93" fmla="*/ 2147483647 h 234"/>
                  <a:gd name="T94" fmla="*/ 2147483647 w 264"/>
                  <a:gd name="T95" fmla="*/ 2147483647 h 234"/>
                  <a:gd name="T96" fmla="*/ 2147483647 w 264"/>
                  <a:gd name="T97" fmla="*/ 2147483647 h 234"/>
                  <a:gd name="T98" fmla="*/ 2147483647 w 264"/>
                  <a:gd name="T99" fmla="*/ 2147483647 h 234"/>
                  <a:gd name="T100" fmla="*/ 2147483647 w 264"/>
                  <a:gd name="T101" fmla="*/ 2147483647 h 234"/>
                  <a:gd name="T102" fmla="*/ 2147483647 w 264"/>
                  <a:gd name="T103" fmla="*/ 2147483647 h 234"/>
                  <a:gd name="T104" fmla="*/ 2147483647 w 264"/>
                  <a:gd name="T105" fmla="*/ 2147483647 h 234"/>
                  <a:gd name="T106" fmla="*/ 2147483647 w 264"/>
                  <a:gd name="T107" fmla="*/ 2147483647 h 234"/>
                  <a:gd name="T108" fmla="*/ 2147483647 w 264"/>
                  <a:gd name="T109" fmla="*/ 2147483647 h 234"/>
                  <a:gd name="T110" fmla="*/ 2147483647 w 264"/>
                  <a:gd name="T111" fmla="*/ 2147483647 h 234"/>
                  <a:gd name="T112" fmla="*/ 2147483647 w 264"/>
                  <a:gd name="T113" fmla="*/ 2147483647 h 234"/>
                  <a:gd name="T114" fmla="*/ 2147483647 w 264"/>
                  <a:gd name="T115" fmla="*/ 2147483647 h 234"/>
                  <a:gd name="T116" fmla="*/ 2147483647 w 264"/>
                  <a:gd name="T117" fmla="*/ 2147483647 h 234"/>
                  <a:gd name="T118" fmla="*/ 2147483647 w 264"/>
                  <a:gd name="T119" fmla="*/ 2147483647 h 234"/>
                  <a:gd name="T120" fmla="*/ 2147483647 w 264"/>
                  <a:gd name="T121" fmla="*/ 2147483647 h 234"/>
                  <a:gd name="T122" fmla="*/ 2147483647 w 264"/>
                  <a:gd name="T123" fmla="*/ 2147483647 h 234"/>
                  <a:gd name="T124" fmla="*/ 2147483647 w 264"/>
                  <a:gd name="T125" fmla="*/ 2147483647 h 23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64"/>
                  <a:gd name="T190" fmla="*/ 0 h 234"/>
                  <a:gd name="T191" fmla="*/ 264 w 264"/>
                  <a:gd name="T192" fmla="*/ 234 h 23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64" h="234">
                    <a:moveTo>
                      <a:pt x="246" y="78"/>
                    </a:moveTo>
                    <a:lnTo>
                      <a:pt x="228" y="78"/>
                    </a:lnTo>
                    <a:lnTo>
                      <a:pt x="228" y="60"/>
                    </a:lnTo>
                    <a:lnTo>
                      <a:pt x="246" y="42"/>
                    </a:lnTo>
                    <a:lnTo>
                      <a:pt x="246" y="30"/>
                    </a:lnTo>
                    <a:lnTo>
                      <a:pt x="234" y="30"/>
                    </a:lnTo>
                    <a:lnTo>
                      <a:pt x="222" y="36"/>
                    </a:lnTo>
                    <a:lnTo>
                      <a:pt x="216" y="36"/>
                    </a:lnTo>
                    <a:lnTo>
                      <a:pt x="216" y="30"/>
                    </a:lnTo>
                    <a:lnTo>
                      <a:pt x="204" y="30"/>
                    </a:lnTo>
                    <a:lnTo>
                      <a:pt x="192" y="12"/>
                    </a:lnTo>
                    <a:lnTo>
                      <a:pt x="138" y="12"/>
                    </a:lnTo>
                    <a:lnTo>
                      <a:pt x="132" y="6"/>
                    </a:lnTo>
                    <a:lnTo>
                      <a:pt x="120" y="6"/>
                    </a:lnTo>
                    <a:lnTo>
                      <a:pt x="108" y="12"/>
                    </a:lnTo>
                    <a:lnTo>
                      <a:pt x="90" y="6"/>
                    </a:lnTo>
                    <a:lnTo>
                      <a:pt x="66" y="6"/>
                    </a:lnTo>
                    <a:lnTo>
                      <a:pt x="42" y="12"/>
                    </a:lnTo>
                    <a:lnTo>
                      <a:pt x="30" y="6"/>
                    </a:lnTo>
                    <a:lnTo>
                      <a:pt x="24" y="0"/>
                    </a:lnTo>
                    <a:lnTo>
                      <a:pt x="18" y="0"/>
                    </a:lnTo>
                    <a:lnTo>
                      <a:pt x="18" y="24"/>
                    </a:lnTo>
                    <a:lnTo>
                      <a:pt x="0" y="30"/>
                    </a:lnTo>
                    <a:lnTo>
                      <a:pt x="12" y="42"/>
                    </a:lnTo>
                    <a:lnTo>
                      <a:pt x="30" y="48"/>
                    </a:lnTo>
                    <a:lnTo>
                      <a:pt x="30" y="60"/>
                    </a:lnTo>
                    <a:lnTo>
                      <a:pt x="36" y="60"/>
                    </a:lnTo>
                    <a:lnTo>
                      <a:pt x="42" y="66"/>
                    </a:lnTo>
                    <a:lnTo>
                      <a:pt x="42" y="84"/>
                    </a:lnTo>
                    <a:lnTo>
                      <a:pt x="60" y="90"/>
                    </a:lnTo>
                    <a:lnTo>
                      <a:pt x="72" y="120"/>
                    </a:lnTo>
                    <a:lnTo>
                      <a:pt x="84" y="132"/>
                    </a:lnTo>
                    <a:lnTo>
                      <a:pt x="96" y="138"/>
                    </a:lnTo>
                    <a:lnTo>
                      <a:pt x="114" y="150"/>
                    </a:lnTo>
                    <a:lnTo>
                      <a:pt x="126" y="156"/>
                    </a:lnTo>
                    <a:lnTo>
                      <a:pt x="132" y="168"/>
                    </a:lnTo>
                    <a:lnTo>
                      <a:pt x="132" y="174"/>
                    </a:lnTo>
                    <a:lnTo>
                      <a:pt x="126" y="180"/>
                    </a:lnTo>
                    <a:lnTo>
                      <a:pt x="138" y="180"/>
                    </a:lnTo>
                    <a:lnTo>
                      <a:pt x="156" y="198"/>
                    </a:lnTo>
                    <a:lnTo>
                      <a:pt x="162" y="210"/>
                    </a:lnTo>
                    <a:lnTo>
                      <a:pt x="174" y="216"/>
                    </a:lnTo>
                    <a:lnTo>
                      <a:pt x="192" y="234"/>
                    </a:lnTo>
                    <a:lnTo>
                      <a:pt x="210" y="204"/>
                    </a:lnTo>
                    <a:lnTo>
                      <a:pt x="198" y="198"/>
                    </a:lnTo>
                    <a:lnTo>
                      <a:pt x="192" y="198"/>
                    </a:lnTo>
                    <a:lnTo>
                      <a:pt x="186" y="192"/>
                    </a:lnTo>
                    <a:lnTo>
                      <a:pt x="186" y="186"/>
                    </a:lnTo>
                    <a:lnTo>
                      <a:pt x="192" y="180"/>
                    </a:lnTo>
                    <a:lnTo>
                      <a:pt x="198" y="180"/>
                    </a:lnTo>
                    <a:lnTo>
                      <a:pt x="204" y="168"/>
                    </a:lnTo>
                    <a:lnTo>
                      <a:pt x="204" y="162"/>
                    </a:lnTo>
                    <a:lnTo>
                      <a:pt x="210" y="156"/>
                    </a:lnTo>
                    <a:lnTo>
                      <a:pt x="228" y="156"/>
                    </a:lnTo>
                    <a:lnTo>
                      <a:pt x="228" y="132"/>
                    </a:lnTo>
                    <a:lnTo>
                      <a:pt x="258" y="132"/>
                    </a:lnTo>
                    <a:lnTo>
                      <a:pt x="258" y="126"/>
                    </a:lnTo>
                    <a:lnTo>
                      <a:pt x="252" y="114"/>
                    </a:lnTo>
                    <a:lnTo>
                      <a:pt x="240" y="102"/>
                    </a:lnTo>
                    <a:lnTo>
                      <a:pt x="264" y="96"/>
                    </a:lnTo>
                    <a:lnTo>
                      <a:pt x="258" y="84"/>
                    </a:lnTo>
                    <a:lnTo>
                      <a:pt x="252" y="78"/>
                    </a:lnTo>
                    <a:lnTo>
                      <a:pt x="246" y="78"/>
                    </a:lnTo>
                    <a:close/>
                  </a:path>
                </a:pathLst>
              </a:custGeom>
              <a:solidFill>
                <a:srgbClr val="4966AC"/>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105" name="Belgium" descr="© INSCALE GmbH, 05.05.2010&#10;http://www.presentationload.com/">
                <a:extLst>
                  <a:ext uri="{FF2B5EF4-FFF2-40B4-BE49-F238E27FC236}">
                    <a16:creationId xmlns:a16="http://schemas.microsoft.com/office/drawing/2014/main" id="{8790A1B5-96BC-4608-B870-9390C5F0B024}"/>
                  </a:ext>
                </a:extLst>
              </p:cNvPr>
              <p:cNvSpPr>
                <a:spLocks/>
              </p:cNvSpPr>
              <p:nvPr/>
            </p:nvSpPr>
            <p:spPr bwMode="gray">
              <a:xfrm>
                <a:off x="4320777" y="2739898"/>
                <a:ext cx="87355" cy="67575"/>
              </a:xfrm>
              <a:custGeom>
                <a:avLst/>
                <a:gdLst>
                  <a:gd name="T0" fmla="*/ 0 w 222"/>
                  <a:gd name="T1" fmla="*/ 2147483647 h 150"/>
                  <a:gd name="T2" fmla="*/ 2147483647 w 222"/>
                  <a:gd name="T3" fmla="*/ 2147483647 h 150"/>
                  <a:gd name="T4" fmla="*/ 2147483647 w 222"/>
                  <a:gd name="T5" fmla="*/ 2147483647 h 150"/>
                  <a:gd name="T6" fmla="*/ 2147483647 w 222"/>
                  <a:gd name="T7" fmla="*/ 2147483647 h 150"/>
                  <a:gd name="T8" fmla="*/ 2147483647 w 222"/>
                  <a:gd name="T9" fmla="*/ 2147483647 h 150"/>
                  <a:gd name="T10" fmla="*/ 2147483647 w 222"/>
                  <a:gd name="T11" fmla="*/ 2147483647 h 150"/>
                  <a:gd name="T12" fmla="*/ 2147483647 w 222"/>
                  <a:gd name="T13" fmla="*/ 2147483647 h 150"/>
                  <a:gd name="T14" fmla="*/ 2147483647 w 222"/>
                  <a:gd name="T15" fmla="*/ 2147483647 h 150"/>
                  <a:gd name="T16" fmla="*/ 2147483647 w 222"/>
                  <a:gd name="T17" fmla="*/ 2147483647 h 150"/>
                  <a:gd name="T18" fmla="*/ 2147483647 w 222"/>
                  <a:gd name="T19" fmla="*/ 2147483647 h 150"/>
                  <a:gd name="T20" fmla="*/ 2147483647 w 222"/>
                  <a:gd name="T21" fmla="*/ 2147483647 h 150"/>
                  <a:gd name="T22" fmla="*/ 2147483647 w 222"/>
                  <a:gd name="T23" fmla="*/ 2147483647 h 150"/>
                  <a:gd name="T24" fmla="*/ 2147483647 w 222"/>
                  <a:gd name="T25" fmla="*/ 2147483647 h 150"/>
                  <a:gd name="T26" fmla="*/ 2147483647 w 222"/>
                  <a:gd name="T27" fmla="*/ 2147483647 h 150"/>
                  <a:gd name="T28" fmla="*/ 2147483647 w 222"/>
                  <a:gd name="T29" fmla="*/ 2147483647 h 150"/>
                  <a:gd name="T30" fmla="*/ 2147483647 w 222"/>
                  <a:gd name="T31" fmla="*/ 2147483647 h 150"/>
                  <a:gd name="T32" fmla="*/ 2147483647 w 222"/>
                  <a:gd name="T33" fmla="*/ 2147483647 h 150"/>
                  <a:gd name="T34" fmla="*/ 2147483647 w 222"/>
                  <a:gd name="T35" fmla="*/ 2147483647 h 150"/>
                  <a:gd name="T36" fmla="*/ 2147483647 w 222"/>
                  <a:gd name="T37" fmla="*/ 2147483647 h 150"/>
                  <a:gd name="T38" fmla="*/ 2147483647 w 222"/>
                  <a:gd name="T39" fmla="*/ 2147483647 h 150"/>
                  <a:gd name="T40" fmla="*/ 2147483647 w 222"/>
                  <a:gd name="T41" fmla="*/ 2147483647 h 150"/>
                  <a:gd name="T42" fmla="*/ 2147483647 w 222"/>
                  <a:gd name="T43" fmla="*/ 2147483647 h 150"/>
                  <a:gd name="T44" fmla="*/ 2147483647 w 222"/>
                  <a:gd name="T45" fmla="*/ 2147483647 h 150"/>
                  <a:gd name="T46" fmla="*/ 2147483647 w 222"/>
                  <a:gd name="T47" fmla="*/ 2147483647 h 150"/>
                  <a:gd name="T48" fmla="*/ 2147483647 w 222"/>
                  <a:gd name="T49" fmla="*/ 2147483647 h 150"/>
                  <a:gd name="T50" fmla="*/ 2147483647 w 222"/>
                  <a:gd name="T51" fmla="*/ 2147483647 h 150"/>
                  <a:gd name="T52" fmla="*/ 2147483647 w 222"/>
                  <a:gd name="T53" fmla="*/ 2147483647 h 150"/>
                  <a:gd name="T54" fmla="*/ 2147483647 w 222"/>
                  <a:gd name="T55" fmla="*/ 2147483647 h 150"/>
                  <a:gd name="T56" fmla="*/ 2147483647 w 222"/>
                  <a:gd name="T57" fmla="*/ 2147483647 h 150"/>
                  <a:gd name="T58" fmla="*/ 2147483647 w 222"/>
                  <a:gd name="T59" fmla="*/ 2147483647 h 150"/>
                  <a:gd name="T60" fmla="*/ 2147483647 w 222"/>
                  <a:gd name="T61" fmla="*/ 2147483647 h 150"/>
                  <a:gd name="T62" fmla="*/ 2147483647 w 222"/>
                  <a:gd name="T63" fmla="*/ 2147483647 h 150"/>
                  <a:gd name="T64" fmla="*/ 2147483647 w 222"/>
                  <a:gd name="T65" fmla="*/ 2147483647 h 150"/>
                  <a:gd name="T66" fmla="*/ 2147483647 w 222"/>
                  <a:gd name="T67" fmla="*/ 2147483647 h 150"/>
                  <a:gd name="T68" fmla="*/ 2147483647 w 222"/>
                  <a:gd name="T69" fmla="*/ 2147483647 h 150"/>
                  <a:gd name="T70" fmla="*/ 2147483647 w 222"/>
                  <a:gd name="T71" fmla="*/ 2147483647 h 150"/>
                  <a:gd name="T72" fmla="*/ 2147483647 w 222"/>
                  <a:gd name="T73" fmla="*/ 2147483647 h 150"/>
                  <a:gd name="T74" fmla="*/ 2147483647 w 222"/>
                  <a:gd name="T75" fmla="*/ 2147483647 h 150"/>
                  <a:gd name="T76" fmla="*/ 2147483647 w 222"/>
                  <a:gd name="T77" fmla="*/ 2147483647 h 150"/>
                  <a:gd name="T78" fmla="*/ 2147483647 w 222"/>
                  <a:gd name="T79" fmla="*/ 2147483647 h 150"/>
                  <a:gd name="T80" fmla="*/ 2147483647 w 222"/>
                  <a:gd name="T81" fmla="*/ 0 h 150"/>
                  <a:gd name="T82" fmla="*/ 2147483647 w 222"/>
                  <a:gd name="T83" fmla="*/ 0 h 150"/>
                  <a:gd name="T84" fmla="*/ 2147483647 w 222"/>
                  <a:gd name="T85" fmla="*/ 2147483647 h 150"/>
                  <a:gd name="T86" fmla="*/ 2147483647 w 222"/>
                  <a:gd name="T87" fmla="*/ 0 h 150"/>
                  <a:gd name="T88" fmla="*/ 2147483647 w 222"/>
                  <a:gd name="T89" fmla="*/ 2147483647 h 150"/>
                  <a:gd name="T90" fmla="*/ 2147483647 w 222"/>
                  <a:gd name="T91" fmla="*/ 2147483647 h 150"/>
                  <a:gd name="T92" fmla="*/ 2147483647 w 222"/>
                  <a:gd name="T93" fmla="*/ 2147483647 h 150"/>
                  <a:gd name="T94" fmla="*/ 2147483647 w 222"/>
                  <a:gd name="T95" fmla="*/ 2147483647 h 150"/>
                  <a:gd name="T96" fmla="*/ 2147483647 w 222"/>
                  <a:gd name="T97" fmla="*/ 2147483647 h 150"/>
                  <a:gd name="T98" fmla="*/ 2147483647 w 222"/>
                  <a:gd name="T99" fmla="*/ 2147483647 h 150"/>
                  <a:gd name="T100" fmla="*/ 2147483647 w 222"/>
                  <a:gd name="T101" fmla="*/ 2147483647 h 150"/>
                  <a:gd name="T102" fmla="*/ 0 w 222"/>
                  <a:gd name="T103" fmla="*/ 2147483647 h 150"/>
                  <a:gd name="T104" fmla="*/ 0 w 222"/>
                  <a:gd name="T105" fmla="*/ 2147483647 h 15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22"/>
                  <a:gd name="T160" fmla="*/ 0 h 150"/>
                  <a:gd name="T161" fmla="*/ 222 w 222"/>
                  <a:gd name="T162" fmla="*/ 150 h 15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22" h="150">
                    <a:moveTo>
                      <a:pt x="0" y="42"/>
                    </a:moveTo>
                    <a:lnTo>
                      <a:pt x="6" y="60"/>
                    </a:lnTo>
                    <a:lnTo>
                      <a:pt x="30" y="66"/>
                    </a:lnTo>
                    <a:lnTo>
                      <a:pt x="42" y="78"/>
                    </a:lnTo>
                    <a:lnTo>
                      <a:pt x="66" y="78"/>
                    </a:lnTo>
                    <a:lnTo>
                      <a:pt x="78" y="84"/>
                    </a:lnTo>
                    <a:lnTo>
                      <a:pt x="84" y="90"/>
                    </a:lnTo>
                    <a:lnTo>
                      <a:pt x="84" y="114"/>
                    </a:lnTo>
                    <a:lnTo>
                      <a:pt x="108" y="114"/>
                    </a:lnTo>
                    <a:lnTo>
                      <a:pt x="120" y="102"/>
                    </a:lnTo>
                    <a:lnTo>
                      <a:pt x="120" y="126"/>
                    </a:lnTo>
                    <a:lnTo>
                      <a:pt x="132" y="126"/>
                    </a:lnTo>
                    <a:lnTo>
                      <a:pt x="144" y="132"/>
                    </a:lnTo>
                    <a:lnTo>
                      <a:pt x="150" y="132"/>
                    </a:lnTo>
                    <a:lnTo>
                      <a:pt x="162" y="144"/>
                    </a:lnTo>
                    <a:lnTo>
                      <a:pt x="180" y="144"/>
                    </a:lnTo>
                    <a:lnTo>
                      <a:pt x="192" y="150"/>
                    </a:lnTo>
                    <a:lnTo>
                      <a:pt x="192" y="144"/>
                    </a:lnTo>
                    <a:lnTo>
                      <a:pt x="186" y="132"/>
                    </a:lnTo>
                    <a:lnTo>
                      <a:pt x="174" y="120"/>
                    </a:lnTo>
                    <a:lnTo>
                      <a:pt x="174" y="114"/>
                    </a:lnTo>
                    <a:lnTo>
                      <a:pt x="180" y="114"/>
                    </a:lnTo>
                    <a:lnTo>
                      <a:pt x="192" y="108"/>
                    </a:lnTo>
                    <a:lnTo>
                      <a:pt x="198" y="102"/>
                    </a:lnTo>
                    <a:lnTo>
                      <a:pt x="204" y="102"/>
                    </a:lnTo>
                    <a:lnTo>
                      <a:pt x="204" y="96"/>
                    </a:lnTo>
                    <a:lnTo>
                      <a:pt x="210" y="90"/>
                    </a:lnTo>
                    <a:lnTo>
                      <a:pt x="222" y="90"/>
                    </a:lnTo>
                    <a:lnTo>
                      <a:pt x="216" y="84"/>
                    </a:lnTo>
                    <a:lnTo>
                      <a:pt x="216" y="66"/>
                    </a:lnTo>
                    <a:lnTo>
                      <a:pt x="204" y="54"/>
                    </a:lnTo>
                    <a:lnTo>
                      <a:pt x="180" y="54"/>
                    </a:lnTo>
                    <a:lnTo>
                      <a:pt x="180" y="42"/>
                    </a:lnTo>
                    <a:lnTo>
                      <a:pt x="186" y="36"/>
                    </a:lnTo>
                    <a:lnTo>
                      <a:pt x="186" y="18"/>
                    </a:lnTo>
                    <a:lnTo>
                      <a:pt x="180" y="12"/>
                    </a:lnTo>
                    <a:lnTo>
                      <a:pt x="174" y="12"/>
                    </a:lnTo>
                    <a:lnTo>
                      <a:pt x="162" y="18"/>
                    </a:lnTo>
                    <a:lnTo>
                      <a:pt x="150" y="18"/>
                    </a:lnTo>
                    <a:lnTo>
                      <a:pt x="144" y="12"/>
                    </a:lnTo>
                    <a:lnTo>
                      <a:pt x="144" y="0"/>
                    </a:lnTo>
                    <a:lnTo>
                      <a:pt x="108" y="0"/>
                    </a:lnTo>
                    <a:lnTo>
                      <a:pt x="108" y="6"/>
                    </a:lnTo>
                    <a:lnTo>
                      <a:pt x="96" y="0"/>
                    </a:lnTo>
                    <a:lnTo>
                      <a:pt x="96" y="12"/>
                    </a:lnTo>
                    <a:lnTo>
                      <a:pt x="78" y="6"/>
                    </a:lnTo>
                    <a:lnTo>
                      <a:pt x="72" y="18"/>
                    </a:lnTo>
                    <a:lnTo>
                      <a:pt x="66" y="12"/>
                    </a:lnTo>
                    <a:lnTo>
                      <a:pt x="42" y="12"/>
                    </a:lnTo>
                    <a:lnTo>
                      <a:pt x="36" y="6"/>
                    </a:lnTo>
                    <a:lnTo>
                      <a:pt x="24" y="6"/>
                    </a:lnTo>
                    <a:lnTo>
                      <a:pt x="0" y="24"/>
                    </a:lnTo>
                    <a:lnTo>
                      <a:pt x="0" y="42"/>
                    </a:lnTo>
                    <a:close/>
                  </a:path>
                </a:pathLst>
              </a:custGeom>
              <a:solidFill>
                <a:srgbClr val="4966AC"/>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106" name="Belarus" descr="© INSCALE GmbH, 05.05.2010&#10;http://www.presentationload.com/">
                <a:extLst>
                  <a:ext uri="{FF2B5EF4-FFF2-40B4-BE49-F238E27FC236}">
                    <a16:creationId xmlns:a16="http://schemas.microsoft.com/office/drawing/2014/main" id="{D0059AA3-2BD5-4AFF-A76B-26D2096E817F}"/>
                  </a:ext>
                </a:extLst>
              </p:cNvPr>
              <p:cNvSpPr>
                <a:spLocks/>
              </p:cNvSpPr>
              <p:nvPr/>
            </p:nvSpPr>
            <p:spPr bwMode="gray">
              <a:xfrm>
                <a:off x="4813708" y="2580490"/>
                <a:ext cx="226187" cy="162874"/>
              </a:xfrm>
              <a:custGeom>
                <a:avLst/>
                <a:gdLst>
                  <a:gd name="T0" fmla="*/ 2147483647 w 570"/>
                  <a:gd name="T1" fmla="*/ 2147483647 h 372"/>
                  <a:gd name="T2" fmla="*/ 2147483647 w 570"/>
                  <a:gd name="T3" fmla="*/ 2147483647 h 372"/>
                  <a:gd name="T4" fmla="*/ 2147483647 w 570"/>
                  <a:gd name="T5" fmla="*/ 2147483647 h 372"/>
                  <a:gd name="T6" fmla="*/ 2147483647 w 570"/>
                  <a:gd name="T7" fmla="*/ 2147483647 h 372"/>
                  <a:gd name="T8" fmla="*/ 2147483647 w 570"/>
                  <a:gd name="T9" fmla="*/ 2147483647 h 372"/>
                  <a:gd name="T10" fmla="*/ 2147483647 w 570"/>
                  <a:gd name="T11" fmla="*/ 2147483647 h 372"/>
                  <a:gd name="T12" fmla="*/ 2147483647 w 570"/>
                  <a:gd name="T13" fmla="*/ 2147483647 h 372"/>
                  <a:gd name="T14" fmla="*/ 2147483647 w 570"/>
                  <a:gd name="T15" fmla="*/ 2147483647 h 372"/>
                  <a:gd name="T16" fmla="*/ 2147483647 w 570"/>
                  <a:gd name="T17" fmla="*/ 2147483647 h 372"/>
                  <a:gd name="T18" fmla="*/ 2147483647 w 570"/>
                  <a:gd name="T19" fmla="*/ 2147483647 h 372"/>
                  <a:gd name="T20" fmla="*/ 2147483647 w 570"/>
                  <a:gd name="T21" fmla="*/ 2147483647 h 372"/>
                  <a:gd name="T22" fmla="*/ 2147483647 w 570"/>
                  <a:gd name="T23" fmla="*/ 2147483647 h 372"/>
                  <a:gd name="T24" fmla="*/ 2147483647 w 570"/>
                  <a:gd name="T25" fmla="*/ 2147483647 h 372"/>
                  <a:gd name="T26" fmla="*/ 2147483647 w 570"/>
                  <a:gd name="T27" fmla="*/ 2147483647 h 372"/>
                  <a:gd name="T28" fmla="*/ 2147483647 w 570"/>
                  <a:gd name="T29" fmla="*/ 2147483647 h 372"/>
                  <a:gd name="T30" fmla="*/ 2147483647 w 570"/>
                  <a:gd name="T31" fmla="*/ 2147483647 h 372"/>
                  <a:gd name="T32" fmla="*/ 2147483647 w 570"/>
                  <a:gd name="T33" fmla="*/ 2147483647 h 372"/>
                  <a:gd name="T34" fmla="*/ 2147483647 w 570"/>
                  <a:gd name="T35" fmla="*/ 2147483647 h 372"/>
                  <a:gd name="T36" fmla="*/ 2147483647 w 570"/>
                  <a:gd name="T37" fmla="*/ 2147483647 h 372"/>
                  <a:gd name="T38" fmla="*/ 2147483647 w 570"/>
                  <a:gd name="T39" fmla="*/ 2147483647 h 372"/>
                  <a:gd name="T40" fmla="*/ 2147483647 w 570"/>
                  <a:gd name="T41" fmla="*/ 2147483647 h 372"/>
                  <a:gd name="T42" fmla="*/ 2147483647 w 570"/>
                  <a:gd name="T43" fmla="*/ 2147483647 h 372"/>
                  <a:gd name="T44" fmla="*/ 2147483647 w 570"/>
                  <a:gd name="T45" fmla="*/ 2147483647 h 372"/>
                  <a:gd name="T46" fmla="*/ 2147483647 w 570"/>
                  <a:gd name="T47" fmla="*/ 2147483647 h 372"/>
                  <a:gd name="T48" fmla="*/ 2147483647 w 570"/>
                  <a:gd name="T49" fmla="*/ 2147483647 h 372"/>
                  <a:gd name="T50" fmla="*/ 2147483647 w 570"/>
                  <a:gd name="T51" fmla="*/ 2147483647 h 372"/>
                  <a:gd name="T52" fmla="*/ 2147483647 w 570"/>
                  <a:gd name="T53" fmla="*/ 2147483647 h 372"/>
                  <a:gd name="T54" fmla="*/ 2147483647 w 570"/>
                  <a:gd name="T55" fmla="*/ 2147483647 h 372"/>
                  <a:gd name="T56" fmla="*/ 2147483647 w 570"/>
                  <a:gd name="T57" fmla="*/ 0 h 372"/>
                  <a:gd name="T58" fmla="*/ 2147483647 w 570"/>
                  <a:gd name="T59" fmla="*/ 2147483647 h 372"/>
                  <a:gd name="T60" fmla="*/ 2147483647 w 570"/>
                  <a:gd name="T61" fmla="*/ 2147483647 h 372"/>
                  <a:gd name="T62" fmla="*/ 2147483647 w 570"/>
                  <a:gd name="T63" fmla="*/ 2147483647 h 372"/>
                  <a:gd name="T64" fmla="*/ 2147483647 w 570"/>
                  <a:gd name="T65" fmla="*/ 2147483647 h 372"/>
                  <a:gd name="T66" fmla="*/ 2147483647 w 570"/>
                  <a:gd name="T67" fmla="*/ 2147483647 h 372"/>
                  <a:gd name="T68" fmla="*/ 2147483647 w 570"/>
                  <a:gd name="T69" fmla="*/ 2147483647 h 372"/>
                  <a:gd name="T70" fmla="*/ 2147483647 w 570"/>
                  <a:gd name="T71" fmla="*/ 2147483647 h 372"/>
                  <a:gd name="T72" fmla="*/ 2147483647 w 570"/>
                  <a:gd name="T73" fmla="*/ 2147483647 h 372"/>
                  <a:gd name="T74" fmla="*/ 2147483647 w 570"/>
                  <a:gd name="T75" fmla="*/ 2147483647 h 372"/>
                  <a:gd name="T76" fmla="*/ 2147483647 w 570"/>
                  <a:gd name="T77" fmla="*/ 2147483647 h 372"/>
                  <a:gd name="T78" fmla="*/ 2147483647 w 570"/>
                  <a:gd name="T79" fmla="*/ 2147483647 h 372"/>
                  <a:gd name="T80" fmla="*/ 2147483647 w 570"/>
                  <a:gd name="T81" fmla="*/ 2147483647 h 372"/>
                  <a:gd name="T82" fmla="*/ 2147483647 w 570"/>
                  <a:gd name="T83" fmla="*/ 2147483647 h 372"/>
                  <a:gd name="T84" fmla="*/ 2147483647 w 570"/>
                  <a:gd name="T85" fmla="*/ 2147483647 h 372"/>
                  <a:gd name="T86" fmla="*/ 2147483647 w 570"/>
                  <a:gd name="T87" fmla="*/ 2147483647 h 372"/>
                  <a:gd name="T88" fmla="*/ 2147483647 w 570"/>
                  <a:gd name="T89" fmla="*/ 2147483647 h 372"/>
                  <a:gd name="T90" fmla="*/ 2147483647 w 570"/>
                  <a:gd name="T91" fmla="*/ 2147483647 h 372"/>
                  <a:gd name="T92" fmla="*/ 2147483647 w 570"/>
                  <a:gd name="T93" fmla="*/ 2147483647 h 372"/>
                  <a:gd name="T94" fmla="*/ 2147483647 w 570"/>
                  <a:gd name="T95" fmla="*/ 2147483647 h 372"/>
                  <a:gd name="T96" fmla="*/ 2147483647 w 570"/>
                  <a:gd name="T97" fmla="*/ 2147483647 h 372"/>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70"/>
                  <a:gd name="T148" fmla="*/ 0 h 372"/>
                  <a:gd name="T149" fmla="*/ 570 w 570"/>
                  <a:gd name="T150" fmla="*/ 372 h 372"/>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70" h="372">
                    <a:moveTo>
                      <a:pt x="24" y="312"/>
                    </a:moveTo>
                    <a:lnTo>
                      <a:pt x="24" y="342"/>
                    </a:lnTo>
                    <a:lnTo>
                      <a:pt x="30" y="354"/>
                    </a:lnTo>
                    <a:lnTo>
                      <a:pt x="36" y="360"/>
                    </a:lnTo>
                    <a:lnTo>
                      <a:pt x="48" y="360"/>
                    </a:lnTo>
                    <a:lnTo>
                      <a:pt x="60" y="354"/>
                    </a:lnTo>
                    <a:lnTo>
                      <a:pt x="72" y="342"/>
                    </a:lnTo>
                    <a:lnTo>
                      <a:pt x="72" y="336"/>
                    </a:lnTo>
                    <a:lnTo>
                      <a:pt x="108" y="336"/>
                    </a:lnTo>
                    <a:lnTo>
                      <a:pt x="120" y="330"/>
                    </a:lnTo>
                    <a:lnTo>
                      <a:pt x="126" y="324"/>
                    </a:lnTo>
                    <a:lnTo>
                      <a:pt x="174" y="324"/>
                    </a:lnTo>
                    <a:lnTo>
                      <a:pt x="174" y="330"/>
                    </a:lnTo>
                    <a:lnTo>
                      <a:pt x="180" y="336"/>
                    </a:lnTo>
                    <a:lnTo>
                      <a:pt x="216" y="336"/>
                    </a:lnTo>
                    <a:lnTo>
                      <a:pt x="240" y="342"/>
                    </a:lnTo>
                    <a:lnTo>
                      <a:pt x="258" y="354"/>
                    </a:lnTo>
                    <a:lnTo>
                      <a:pt x="264" y="348"/>
                    </a:lnTo>
                    <a:lnTo>
                      <a:pt x="282" y="360"/>
                    </a:lnTo>
                    <a:lnTo>
                      <a:pt x="294" y="348"/>
                    </a:lnTo>
                    <a:lnTo>
                      <a:pt x="300" y="360"/>
                    </a:lnTo>
                    <a:lnTo>
                      <a:pt x="318" y="354"/>
                    </a:lnTo>
                    <a:lnTo>
                      <a:pt x="324" y="360"/>
                    </a:lnTo>
                    <a:lnTo>
                      <a:pt x="336" y="354"/>
                    </a:lnTo>
                    <a:lnTo>
                      <a:pt x="348" y="366"/>
                    </a:lnTo>
                    <a:lnTo>
                      <a:pt x="348" y="360"/>
                    </a:lnTo>
                    <a:lnTo>
                      <a:pt x="354" y="354"/>
                    </a:lnTo>
                    <a:lnTo>
                      <a:pt x="372" y="354"/>
                    </a:lnTo>
                    <a:lnTo>
                      <a:pt x="378" y="360"/>
                    </a:lnTo>
                    <a:lnTo>
                      <a:pt x="378" y="372"/>
                    </a:lnTo>
                    <a:lnTo>
                      <a:pt x="384" y="372"/>
                    </a:lnTo>
                    <a:lnTo>
                      <a:pt x="396" y="366"/>
                    </a:lnTo>
                    <a:lnTo>
                      <a:pt x="420" y="366"/>
                    </a:lnTo>
                    <a:lnTo>
                      <a:pt x="426" y="372"/>
                    </a:lnTo>
                    <a:lnTo>
                      <a:pt x="444" y="372"/>
                    </a:lnTo>
                    <a:lnTo>
                      <a:pt x="450" y="366"/>
                    </a:lnTo>
                    <a:lnTo>
                      <a:pt x="450" y="354"/>
                    </a:lnTo>
                    <a:lnTo>
                      <a:pt x="444" y="348"/>
                    </a:lnTo>
                    <a:lnTo>
                      <a:pt x="450" y="336"/>
                    </a:lnTo>
                    <a:lnTo>
                      <a:pt x="456" y="330"/>
                    </a:lnTo>
                    <a:lnTo>
                      <a:pt x="468" y="324"/>
                    </a:lnTo>
                    <a:lnTo>
                      <a:pt x="474" y="312"/>
                    </a:lnTo>
                    <a:lnTo>
                      <a:pt x="498" y="312"/>
                    </a:lnTo>
                    <a:lnTo>
                      <a:pt x="516" y="318"/>
                    </a:lnTo>
                    <a:lnTo>
                      <a:pt x="516" y="300"/>
                    </a:lnTo>
                    <a:lnTo>
                      <a:pt x="510" y="288"/>
                    </a:lnTo>
                    <a:lnTo>
                      <a:pt x="504" y="282"/>
                    </a:lnTo>
                    <a:lnTo>
                      <a:pt x="504" y="264"/>
                    </a:lnTo>
                    <a:lnTo>
                      <a:pt x="480" y="240"/>
                    </a:lnTo>
                    <a:lnTo>
                      <a:pt x="480" y="234"/>
                    </a:lnTo>
                    <a:lnTo>
                      <a:pt x="486" y="228"/>
                    </a:lnTo>
                    <a:lnTo>
                      <a:pt x="510" y="228"/>
                    </a:lnTo>
                    <a:lnTo>
                      <a:pt x="510" y="234"/>
                    </a:lnTo>
                    <a:lnTo>
                      <a:pt x="516" y="234"/>
                    </a:lnTo>
                    <a:lnTo>
                      <a:pt x="522" y="240"/>
                    </a:lnTo>
                    <a:lnTo>
                      <a:pt x="528" y="240"/>
                    </a:lnTo>
                    <a:lnTo>
                      <a:pt x="552" y="228"/>
                    </a:lnTo>
                    <a:lnTo>
                      <a:pt x="558" y="216"/>
                    </a:lnTo>
                    <a:lnTo>
                      <a:pt x="570" y="210"/>
                    </a:lnTo>
                    <a:lnTo>
                      <a:pt x="546" y="198"/>
                    </a:lnTo>
                    <a:lnTo>
                      <a:pt x="552" y="192"/>
                    </a:lnTo>
                    <a:lnTo>
                      <a:pt x="552" y="186"/>
                    </a:lnTo>
                    <a:lnTo>
                      <a:pt x="546" y="186"/>
                    </a:lnTo>
                    <a:lnTo>
                      <a:pt x="540" y="180"/>
                    </a:lnTo>
                    <a:lnTo>
                      <a:pt x="504" y="180"/>
                    </a:lnTo>
                    <a:lnTo>
                      <a:pt x="504" y="156"/>
                    </a:lnTo>
                    <a:lnTo>
                      <a:pt x="474" y="144"/>
                    </a:lnTo>
                    <a:lnTo>
                      <a:pt x="474" y="132"/>
                    </a:lnTo>
                    <a:lnTo>
                      <a:pt x="456" y="114"/>
                    </a:lnTo>
                    <a:lnTo>
                      <a:pt x="444" y="108"/>
                    </a:lnTo>
                    <a:lnTo>
                      <a:pt x="438" y="102"/>
                    </a:lnTo>
                    <a:lnTo>
                      <a:pt x="444" y="84"/>
                    </a:lnTo>
                    <a:lnTo>
                      <a:pt x="432" y="66"/>
                    </a:lnTo>
                    <a:lnTo>
                      <a:pt x="438" y="60"/>
                    </a:lnTo>
                    <a:lnTo>
                      <a:pt x="438" y="48"/>
                    </a:lnTo>
                    <a:lnTo>
                      <a:pt x="432" y="42"/>
                    </a:lnTo>
                    <a:lnTo>
                      <a:pt x="396" y="24"/>
                    </a:lnTo>
                    <a:lnTo>
                      <a:pt x="390" y="18"/>
                    </a:lnTo>
                    <a:lnTo>
                      <a:pt x="384" y="18"/>
                    </a:lnTo>
                    <a:lnTo>
                      <a:pt x="354" y="36"/>
                    </a:lnTo>
                    <a:lnTo>
                      <a:pt x="348" y="18"/>
                    </a:lnTo>
                    <a:lnTo>
                      <a:pt x="312" y="12"/>
                    </a:lnTo>
                    <a:lnTo>
                      <a:pt x="300" y="18"/>
                    </a:lnTo>
                    <a:lnTo>
                      <a:pt x="300" y="12"/>
                    </a:lnTo>
                    <a:lnTo>
                      <a:pt x="294" y="6"/>
                    </a:lnTo>
                    <a:lnTo>
                      <a:pt x="276" y="6"/>
                    </a:lnTo>
                    <a:lnTo>
                      <a:pt x="270" y="0"/>
                    </a:lnTo>
                    <a:lnTo>
                      <a:pt x="258" y="0"/>
                    </a:lnTo>
                    <a:lnTo>
                      <a:pt x="252" y="6"/>
                    </a:lnTo>
                    <a:lnTo>
                      <a:pt x="246" y="18"/>
                    </a:lnTo>
                    <a:lnTo>
                      <a:pt x="240" y="24"/>
                    </a:lnTo>
                    <a:lnTo>
                      <a:pt x="234" y="24"/>
                    </a:lnTo>
                    <a:lnTo>
                      <a:pt x="228" y="30"/>
                    </a:lnTo>
                    <a:lnTo>
                      <a:pt x="222" y="24"/>
                    </a:lnTo>
                    <a:lnTo>
                      <a:pt x="198" y="24"/>
                    </a:lnTo>
                    <a:lnTo>
                      <a:pt x="192" y="30"/>
                    </a:lnTo>
                    <a:lnTo>
                      <a:pt x="180" y="36"/>
                    </a:lnTo>
                    <a:lnTo>
                      <a:pt x="174" y="42"/>
                    </a:lnTo>
                    <a:lnTo>
                      <a:pt x="174" y="54"/>
                    </a:lnTo>
                    <a:lnTo>
                      <a:pt x="192" y="72"/>
                    </a:lnTo>
                    <a:lnTo>
                      <a:pt x="186" y="78"/>
                    </a:lnTo>
                    <a:lnTo>
                      <a:pt x="168" y="78"/>
                    </a:lnTo>
                    <a:lnTo>
                      <a:pt x="162" y="72"/>
                    </a:lnTo>
                    <a:lnTo>
                      <a:pt x="156" y="72"/>
                    </a:lnTo>
                    <a:lnTo>
                      <a:pt x="162" y="90"/>
                    </a:lnTo>
                    <a:lnTo>
                      <a:pt x="144" y="90"/>
                    </a:lnTo>
                    <a:lnTo>
                      <a:pt x="138" y="96"/>
                    </a:lnTo>
                    <a:lnTo>
                      <a:pt x="138" y="102"/>
                    </a:lnTo>
                    <a:lnTo>
                      <a:pt x="144" y="114"/>
                    </a:lnTo>
                    <a:lnTo>
                      <a:pt x="144" y="120"/>
                    </a:lnTo>
                    <a:lnTo>
                      <a:pt x="132" y="120"/>
                    </a:lnTo>
                    <a:lnTo>
                      <a:pt x="132" y="126"/>
                    </a:lnTo>
                    <a:lnTo>
                      <a:pt x="138" y="132"/>
                    </a:lnTo>
                    <a:lnTo>
                      <a:pt x="138" y="144"/>
                    </a:lnTo>
                    <a:lnTo>
                      <a:pt x="144" y="150"/>
                    </a:lnTo>
                    <a:lnTo>
                      <a:pt x="144" y="156"/>
                    </a:lnTo>
                    <a:lnTo>
                      <a:pt x="132" y="156"/>
                    </a:lnTo>
                    <a:lnTo>
                      <a:pt x="138" y="150"/>
                    </a:lnTo>
                    <a:lnTo>
                      <a:pt x="138" y="144"/>
                    </a:lnTo>
                    <a:lnTo>
                      <a:pt x="120" y="144"/>
                    </a:lnTo>
                    <a:lnTo>
                      <a:pt x="108" y="150"/>
                    </a:lnTo>
                    <a:lnTo>
                      <a:pt x="102" y="156"/>
                    </a:lnTo>
                    <a:lnTo>
                      <a:pt x="96" y="168"/>
                    </a:lnTo>
                    <a:lnTo>
                      <a:pt x="84" y="156"/>
                    </a:lnTo>
                    <a:lnTo>
                      <a:pt x="84" y="174"/>
                    </a:lnTo>
                    <a:lnTo>
                      <a:pt x="54" y="174"/>
                    </a:lnTo>
                    <a:lnTo>
                      <a:pt x="54" y="168"/>
                    </a:lnTo>
                    <a:lnTo>
                      <a:pt x="48" y="162"/>
                    </a:lnTo>
                    <a:lnTo>
                      <a:pt x="42" y="162"/>
                    </a:lnTo>
                    <a:lnTo>
                      <a:pt x="30" y="168"/>
                    </a:lnTo>
                    <a:lnTo>
                      <a:pt x="18" y="168"/>
                    </a:lnTo>
                    <a:lnTo>
                      <a:pt x="12" y="174"/>
                    </a:lnTo>
                    <a:lnTo>
                      <a:pt x="6" y="174"/>
                    </a:lnTo>
                    <a:lnTo>
                      <a:pt x="12" y="186"/>
                    </a:lnTo>
                    <a:lnTo>
                      <a:pt x="18" y="192"/>
                    </a:lnTo>
                    <a:lnTo>
                      <a:pt x="18" y="204"/>
                    </a:lnTo>
                    <a:lnTo>
                      <a:pt x="24" y="210"/>
                    </a:lnTo>
                    <a:lnTo>
                      <a:pt x="36" y="234"/>
                    </a:lnTo>
                    <a:lnTo>
                      <a:pt x="42" y="240"/>
                    </a:lnTo>
                    <a:lnTo>
                      <a:pt x="42" y="246"/>
                    </a:lnTo>
                    <a:lnTo>
                      <a:pt x="36" y="252"/>
                    </a:lnTo>
                    <a:lnTo>
                      <a:pt x="36" y="264"/>
                    </a:lnTo>
                    <a:lnTo>
                      <a:pt x="12" y="270"/>
                    </a:lnTo>
                    <a:lnTo>
                      <a:pt x="12" y="288"/>
                    </a:lnTo>
                    <a:lnTo>
                      <a:pt x="0" y="288"/>
                    </a:lnTo>
                    <a:lnTo>
                      <a:pt x="0" y="294"/>
                    </a:lnTo>
                    <a:lnTo>
                      <a:pt x="6" y="300"/>
                    </a:lnTo>
                    <a:lnTo>
                      <a:pt x="12" y="300"/>
                    </a:lnTo>
                    <a:lnTo>
                      <a:pt x="24" y="312"/>
                    </a:lnTo>
                    <a:close/>
                  </a:path>
                </a:pathLst>
              </a:custGeom>
              <a:solidFill>
                <a:srgbClr val="4966AC"/>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107" name="Azerbaijan" descr="© INSCALE GmbH, 05.05.2010&#10;http://www.presentationload.com/">
                <a:extLst>
                  <a:ext uri="{FF2B5EF4-FFF2-40B4-BE49-F238E27FC236}">
                    <a16:creationId xmlns:a16="http://schemas.microsoft.com/office/drawing/2014/main" id="{EB1D5848-2418-44C3-B617-A62BC7F19734}"/>
                  </a:ext>
                </a:extLst>
              </p:cNvPr>
              <p:cNvSpPr>
                <a:spLocks noEditPoints="1"/>
              </p:cNvSpPr>
              <p:nvPr/>
            </p:nvSpPr>
            <p:spPr bwMode="gray">
              <a:xfrm>
                <a:off x="5400235" y="3070844"/>
                <a:ext cx="141952" cy="126487"/>
              </a:xfrm>
              <a:custGeom>
                <a:avLst/>
                <a:gdLst>
                  <a:gd name="T0" fmla="*/ 2147483647 w 360"/>
                  <a:gd name="T1" fmla="*/ 2147483647 h 288"/>
                  <a:gd name="T2" fmla="*/ 2147483647 w 360"/>
                  <a:gd name="T3" fmla="*/ 2147483647 h 288"/>
                  <a:gd name="T4" fmla="*/ 2147483647 w 360"/>
                  <a:gd name="T5" fmla="*/ 2147483647 h 288"/>
                  <a:gd name="T6" fmla="*/ 2147483647 w 360"/>
                  <a:gd name="T7" fmla="*/ 2147483647 h 288"/>
                  <a:gd name="T8" fmla="*/ 2147483647 w 360"/>
                  <a:gd name="T9" fmla="*/ 2147483647 h 288"/>
                  <a:gd name="T10" fmla="*/ 2147483647 w 360"/>
                  <a:gd name="T11" fmla="*/ 2147483647 h 288"/>
                  <a:gd name="T12" fmla="*/ 2147483647 w 360"/>
                  <a:gd name="T13" fmla="*/ 2147483647 h 288"/>
                  <a:gd name="T14" fmla="*/ 2147483647 w 360"/>
                  <a:gd name="T15" fmla="*/ 2147483647 h 288"/>
                  <a:gd name="T16" fmla="*/ 2147483647 w 360"/>
                  <a:gd name="T17" fmla="*/ 2147483647 h 288"/>
                  <a:gd name="T18" fmla="*/ 2147483647 w 360"/>
                  <a:gd name="T19" fmla="*/ 2147483647 h 288"/>
                  <a:gd name="T20" fmla="*/ 2147483647 w 360"/>
                  <a:gd name="T21" fmla="*/ 2147483647 h 288"/>
                  <a:gd name="T22" fmla="*/ 2147483647 w 360"/>
                  <a:gd name="T23" fmla="*/ 2147483647 h 288"/>
                  <a:gd name="T24" fmla="*/ 2147483647 w 360"/>
                  <a:gd name="T25" fmla="*/ 2147483647 h 288"/>
                  <a:gd name="T26" fmla="*/ 2147483647 w 360"/>
                  <a:gd name="T27" fmla="*/ 0 h 288"/>
                  <a:gd name="T28" fmla="*/ 2147483647 w 360"/>
                  <a:gd name="T29" fmla="*/ 2147483647 h 288"/>
                  <a:gd name="T30" fmla="*/ 2147483647 w 360"/>
                  <a:gd name="T31" fmla="*/ 2147483647 h 288"/>
                  <a:gd name="T32" fmla="*/ 2147483647 w 360"/>
                  <a:gd name="T33" fmla="*/ 2147483647 h 288"/>
                  <a:gd name="T34" fmla="*/ 2147483647 w 360"/>
                  <a:gd name="T35" fmla="*/ 2147483647 h 288"/>
                  <a:gd name="T36" fmla="*/ 2147483647 w 360"/>
                  <a:gd name="T37" fmla="*/ 2147483647 h 288"/>
                  <a:gd name="T38" fmla="*/ 2147483647 w 360"/>
                  <a:gd name="T39" fmla="*/ 0 h 288"/>
                  <a:gd name="T40" fmla="*/ 2147483647 w 360"/>
                  <a:gd name="T41" fmla="*/ 2147483647 h 288"/>
                  <a:gd name="T42" fmla="*/ 2147483647 w 360"/>
                  <a:gd name="T43" fmla="*/ 2147483647 h 288"/>
                  <a:gd name="T44" fmla="*/ 2147483647 w 360"/>
                  <a:gd name="T45" fmla="*/ 2147483647 h 288"/>
                  <a:gd name="T46" fmla="*/ 2147483647 w 360"/>
                  <a:gd name="T47" fmla="*/ 2147483647 h 288"/>
                  <a:gd name="T48" fmla="*/ 2147483647 w 360"/>
                  <a:gd name="T49" fmla="*/ 2147483647 h 288"/>
                  <a:gd name="T50" fmla="*/ 2147483647 w 360"/>
                  <a:gd name="T51" fmla="*/ 2147483647 h 288"/>
                  <a:gd name="T52" fmla="*/ 2147483647 w 360"/>
                  <a:gd name="T53" fmla="*/ 2147483647 h 288"/>
                  <a:gd name="T54" fmla="*/ 0 w 360"/>
                  <a:gd name="T55" fmla="*/ 2147483647 h 288"/>
                  <a:gd name="T56" fmla="*/ 2147483647 w 360"/>
                  <a:gd name="T57" fmla="*/ 2147483647 h 288"/>
                  <a:gd name="T58" fmla="*/ 2147483647 w 360"/>
                  <a:gd name="T59" fmla="*/ 2147483647 h 288"/>
                  <a:gd name="T60" fmla="*/ 2147483647 w 360"/>
                  <a:gd name="T61" fmla="*/ 2147483647 h 288"/>
                  <a:gd name="T62" fmla="*/ 2147483647 w 360"/>
                  <a:gd name="T63" fmla="*/ 2147483647 h 288"/>
                  <a:gd name="T64" fmla="*/ 2147483647 w 360"/>
                  <a:gd name="T65" fmla="*/ 2147483647 h 288"/>
                  <a:gd name="T66" fmla="*/ 2147483647 w 360"/>
                  <a:gd name="T67" fmla="*/ 2147483647 h 288"/>
                  <a:gd name="T68" fmla="*/ 2147483647 w 360"/>
                  <a:gd name="T69" fmla="*/ 2147483647 h 288"/>
                  <a:gd name="T70" fmla="*/ 2147483647 w 360"/>
                  <a:gd name="T71" fmla="*/ 2147483647 h 288"/>
                  <a:gd name="T72" fmla="*/ 2147483647 w 360"/>
                  <a:gd name="T73" fmla="*/ 2147483647 h 288"/>
                  <a:gd name="T74" fmla="*/ 2147483647 w 360"/>
                  <a:gd name="T75" fmla="*/ 2147483647 h 288"/>
                  <a:gd name="T76" fmla="*/ 2147483647 w 360"/>
                  <a:gd name="T77" fmla="*/ 2147483647 h 288"/>
                  <a:gd name="T78" fmla="*/ 2147483647 w 360"/>
                  <a:gd name="T79" fmla="*/ 2147483647 h 288"/>
                  <a:gd name="T80" fmla="*/ 2147483647 w 360"/>
                  <a:gd name="T81" fmla="*/ 2147483647 h 288"/>
                  <a:gd name="T82" fmla="*/ 2147483647 w 360"/>
                  <a:gd name="T83" fmla="*/ 2147483647 h 288"/>
                  <a:gd name="T84" fmla="*/ 2147483647 w 360"/>
                  <a:gd name="T85" fmla="*/ 2147483647 h 288"/>
                  <a:gd name="T86" fmla="*/ 2147483647 w 360"/>
                  <a:gd name="T87" fmla="*/ 2147483647 h 288"/>
                  <a:gd name="T88" fmla="*/ 2147483647 w 360"/>
                  <a:gd name="T89" fmla="*/ 2147483647 h 288"/>
                  <a:gd name="T90" fmla="*/ 2147483647 w 360"/>
                  <a:gd name="T91" fmla="*/ 2147483647 h 288"/>
                  <a:gd name="T92" fmla="*/ 2147483647 w 360"/>
                  <a:gd name="T93" fmla="*/ 2147483647 h 288"/>
                  <a:gd name="T94" fmla="*/ 2147483647 w 360"/>
                  <a:gd name="T95" fmla="*/ 2147483647 h 288"/>
                  <a:gd name="T96" fmla="*/ 2147483647 w 360"/>
                  <a:gd name="T97" fmla="*/ 2147483647 h 288"/>
                  <a:gd name="T98" fmla="*/ 2147483647 w 360"/>
                  <a:gd name="T99" fmla="*/ 2147483647 h 288"/>
                  <a:gd name="T100" fmla="*/ 2147483647 w 360"/>
                  <a:gd name="T101" fmla="*/ 2147483647 h 288"/>
                  <a:gd name="T102" fmla="*/ 2147483647 w 360"/>
                  <a:gd name="T103" fmla="*/ 2147483647 h 288"/>
                  <a:gd name="T104" fmla="*/ 2147483647 w 360"/>
                  <a:gd name="T105" fmla="*/ 2147483647 h 288"/>
                  <a:gd name="T106" fmla="*/ 2147483647 w 360"/>
                  <a:gd name="T107" fmla="*/ 2147483647 h 288"/>
                  <a:gd name="T108" fmla="*/ 2147483647 w 360"/>
                  <a:gd name="T109" fmla="*/ 2147483647 h 288"/>
                  <a:gd name="T110" fmla="*/ 2147483647 w 360"/>
                  <a:gd name="T111" fmla="*/ 2147483647 h 288"/>
                  <a:gd name="T112" fmla="*/ 2147483647 w 360"/>
                  <a:gd name="T113" fmla="*/ 2147483647 h 288"/>
                  <a:gd name="T114" fmla="*/ 2147483647 w 360"/>
                  <a:gd name="T115" fmla="*/ 2147483647 h 288"/>
                  <a:gd name="T116" fmla="*/ 2147483647 w 360"/>
                  <a:gd name="T117" fmla="*/ 2147483647 h 288"/>
                  <a:gd name="T118" fmla="*/ 2147483647 w 360"/>
                  <a:gd name="T119" fmla="*/ 2147483647 h 288"/>
                  <a:gd name="T120" fmla="*/ 2147483647 w 360"/>
                  <a:gd name="T121" fmla="*/ 2147483647 h 28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60"/>
                  <a:gd name="T184" fmla="*/ 0 h 288"/>
                  <a:gd name="T185" fmla="*/ 360 w 360"/>
                  <a:gd name="T186" fmla="*/ 288 h 28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60" h="288">
                    <a:moveTo>
                      <a:pt x="66" y="186"/>
                    </a:moveTo>
                    <a:lnTo>
                      <a:pt x="36" y="186"/>
                    </a:lnTo>
                    <a:lnTo>
                      <a:pt x="24" y="174"/>
                    </a:lnTo>
                    <a:lnTo>
                      <a:pt x="6" y="174"/>
                    </a:lnTo>
                    <a:lnTo>
                      <a:pt x="12" y="186"/>
                    </a:lnTo>
                    <a:lnTo>
                      <a:pt x="12" y="192"/>
                    </a:lnTo>
                    <a:lnTo>
                      <a:pt x="18" y="204"/>
                    </a:lnTo>
                    <a:lnTo>
                      <a:pt x="36" y="222"/>
                    </a:lnTo>
                    <a:lnTo>
                      <a:pt x="48" y="228"/>
                    </a:lnTo>
                    <a:lnTo>
                      <a:pt x="84" y="240"/>
                    </a:lnTo>
                    <a:lnTo>
                      <a:pt x="90" y="240"/>
                    </a:lnTo>
                    <a:lnTo>
                      <a:pt x="84" y="234"/>
                    </a:lnTo>
                    <a:lnTo>
                      <a:pt x="84" y="222"/>
                    </a:lnTo>
                    <a:lnTo>
                      <a:pt x="78" y="216"/>
                    </a:lnTo>
                    <a:lnTo>
                      <a:pt x="78" y="204"/>
                    </a:lnTo>
                    <a:lnTo>
                      <a:pt x="72" y="198"/>
                    </a:lnTo>
                    <a:lnTo>
                      <a:pt x="72" y="186"/>
                    </a:lnTo>
                    <a:lnTo>
                      <a:pt x="66" y="186"/>
                    </a:lnTo>
                    <a:close/>
                    <a:moveTo>
                      <a:pt x="354" y="108"/>
                    </a:moveTo>
                    <a:lnTo>
                      <a:pt x="348" y="102"/>
                    </a:lnTo>
                    <a:lnTo>
                      <a:pt x="330" y="102"/>
                    </a:lnTo>
                    <a:lnTo>
                      <a:pt x="318" y="108"/>
                    </a:lnTo>
                    <a:lnTo>
                      <a:pt x="306" y="108"/>
                    </a:lnTo>
                    <a:lnTo>
                      <a:pt x="288" y="90"/>
                    </a:lnTo>
                    <a:lnTo>
                      <a:pt x="288" y="84"/>
                    </a:lnTo>
                    <a:lnTo>
                      <a:pt x="264" y="54"/>
                    </a:lnTo>
                    <a:lnTo>
                      <a:pt x="264" y="42"/>
                    </a:lnTo>
                    <a:lnTo>
                      <a:pt x="216" y="0"/>
                    </a:lnTo>
                    <a:lnTo>
                      <a:pt x="216" y="30"/>
                    </a:lnTo>
                    <a:lnTo>
                      <a:pt x="210" y="36"/>
                    </a:lnTo>
                    <a:lnTo>
                      <a:pt x="192" y="36"/>
                    </a:lnTo>
                    <a:lnTo>
                      <a:pt x="192" y="48"/>
                    </a:lnTo>
                    <a:lnTo>
                      <a:pt x="186" y="54"/>
                    </a:lnTo>
                    <a:lnTo>
                      <a:pt x="162" y="54"/>
                    </a:lnTo>
                    <a:lnTo>
                      <a:pt x="156" y="48"/>
                    </a:lnTo>
                    <a:lnTo>
                      <a:pt x="144" y="42"/>
                    </a:lnTo>
                    <a:lnTo>
                      <a:pt x="138" y="30"/>
                    </a:lnTo>
                    <a:lnTo>
                      <a:pt x="120" y="12"/>
                    </a:lnTo>
                    <a:lnTo>
                      <a:pt x="84" y="0"/>
                    </a:lnTo>
                    <a:lnTo>
                      <a:pt x="72" y="0"/>
                    </a:lnTo>
                    <a:lnTo>
                      <a:pt x="60" y="12"/>
                    </a:lnTo>
                    <a:lnTo>
                      <a:pt x="78" y="30"/>
                    </a:lnTo>
                    <a:lnTo>
                      <a:pt x="84" y="30"/>
                    </a:lnTo>
                    <a:lnTo>
                      <a:pt x="90" y="36"/>
                    </a:lnTo>
                    <a:lnTo>
                      <a:pt x="96" y="48"/>
                    </a:lnTo>
                    <a:lnTo>
                      <a:pt x="102" y="54"/>
                    </a:lnTo>
                    <a:lnTo>
                      <a:pt x="108" y="66"/>
                    </a:lnTo>
                    <a:lnTo>
                      <a:pt x="102" y="72"/>
                    </a:lnTo>
                    <a:lnTo>
                      <a:pt x="84" y="54"/>
                    </a:lnTo>
                    <a:lnTo>
                      <a:pt x="72" y="54"/>
                    </a:lnTo>
                    <a:lnTo>
                      <a:pt x="60" y="60"/>
                    </a:lnTo>
                    <a:lnTo>
                      <a:pt x="42" y="42"/>
                    </a:lnTo>
                    <a:lnTo>
                      <a:pt x="42" y="36"/>
                    </a:lnTo>
                    <a:lnTo>
                      <a:pt x="36" y="30"/>
                    </a:lnTo>
                    <a:lnTo>
                      <a:pt x="12" y="30"/>
                    </a:lnTo>
                    <a:lnTo>
                      <a:pt x="0" y="42"/>
                    </a:lnTo>
                    <a:lnTo>
                      <a:pt x="0" y="48"/>
                    </a:lnTo>
                    <a:lnTo>
                      <a:pt x="6" y="48"/>
                    </a:lnTo>
                    <a:lnTo>
                      <a:pt x="12" y="54"/>
                    </a:lnTo>
                    <a:lnTo>
                      <a:pt x="12" y="66"/>
                    </a:lnTo>
                    <a:lnTo>
                      <a:pt x="30" y="66"/>
                    </a:lnTo>
                    <a:lnTo>
                      <a:pt x="36" y="72"/>
                    </a:lnTo>
                    <a:lnTo>
                      <a:pt x="36" y="96"/>
                    </a:lnTo>
                    <a:lnTo>
                      <a:pt x="30" y="102"/>
                    </a:lnTo>
                    <a:lnTo>
                      <a:pt x="36" y="102"/>
                    </a:lnTo>
                    <a:lnTo>
                      <a:pt x="42" y="108"/>
                    </a:lnTo>
                    <a:lnTo>
                      <a:pt x="66" y="120"/>
                    </a:lnTo>
                    <a:lnTo>
                      <a:pt x="72" y="126"/>
                    </a:lnTo>
                    <a:lnTo>
                      <a:pt x="72" y="132"/>
                    </a:lnTo>
                    <a:lnTo>
                      <a:pt x="54" y="150"/>
                    </a:lnTo>
                    <a:lnTo>
                      <a:pt x="42" y="150"/>
                    </a:lnTo>
                    <a:lnTo>
                      <a:pt x="72" y="162"/>
                    </a:lnTo>
                    <a:lnTo>
                      <a:pt x="84" y="180"/>
                    </a:lnTo>
                    <a:lnTo>
                      <a:pt x="114" y="186"/>
                    </a:lnTo>
                    <a:lnTo>
                      <a:pt x="114" y="198"/>
                    </a:lnTo>
                    <a:lnTo>
                      <a:pt x="120" y="210"/>
                    </a:lnTo>
                    <a:lnTo>
                      <a:pt x="120" y="240"/>
                    </a:lnTo>
                    <a:lnTo>
                      <a:pt x="132" y="240"/>
                    </a:lnTo>
                    <a:lnTo>
                      <a:pt x="138" y="228"/>
                    </a:lnTo>
                    <a:lnTo>
                      <a:pt x="144" y="222"/>
                    </a:lnTo>
                    <a:lnTo>
                      <a:pt x="144" y="216"/>
                    </a:lnTo>
                    <a:lnTo>
                      <a:pt x="156" y="204"/>
                    </a:lnTo>
                    <a:lnTo>
                      <a:pt x="174" y="192"/>
                    </a:lnTo>
                    <a:lnTo>
                      <a:pt x="186" y="186"/>
                    </a:lnTo>
                    <a:lnTo>
                      <a:pt x="198" y="174"/>
                    </a:lnTo>
                    <a:lnTo>
                      <a:pt x="210" y="168"/>
                    </a:lnTo>
                    <a:lnTo>
                      <a:pt x="222" y="168"/>
                    </a:lnTo>
                    <a:lnTo>
                      <a:pt x="228" y="180"/>
                    </a:lnTo>
                    <a:lnTo>
                      <a:pt x="234" y="186"/>
                    </a:lnTo>
                    <a:lnTo>
                      <a:pt x="234" y="204"/>
                    </a:lnTo>
                    <a:lnTo>
                      <a:pt x="228" y="210"/>
                    </a:lnTo>
                    <a:lnTo>
                      <a:pt x="228" y="222"/>
                    </a:lnTo>
                    <a:lnTo>
                      <a:pt x="234" y="222"/>
                    </a:lnTo>
                    <a:lnTo>
                      <a:pt x="240" y="228"/>
                    </a:lnTo>
                    <a:lnTo>
                      <a:pt x="240" y="234"/>
                    </a:lnTo>
                    <a:lnTo>
                      <a:pt x="234" y="240"/>
                    </a:lnTo>
                    <a:lnTo>
                      <a:pt x="222" y="240"/>
                    </a:lnTo>
                    <a:lnTo>
                      <a:pt x="222" y="246"/>
                    </a:lnTo>
                    <a:lnTo>
                      <a:pt x="234" y="258"/>
                    </a:lnTo>
                    <a:lnTo>
                      <a:pt x="246" y="264"/>
                    </a:lnTo>
                    <a:lnTo>
                      <a:pt x="252" y="270"/>
                    </a:lnTo>
                    <a:lnTo>
                      <a:pt x="258" y="270"/>
                    </a:lnTo>
                    <a:lnTo>
                      <a:pt x="264" y="276"/>
                    </a:lnTo>
                    <a:lnTo>
                      <a:pt x="264" y="282"/>
                    </a:lnTo>
                    <a:lnTo>
                      <a:pt x="282" y="282"/>
                    </a:lnTo>
                    <a:lnTo>
                      <a:pt x="282" y="288"/>
                    </a:lnTo>
                    <a:lnTo>
                      <a:pt x="288" y="282"/>
                    </a:lnTo>
                    <a:lnTo>
                      <a:pt x="288" y="258"/>
                    </a:lnTo>
                    <a:lnTo>
                      <a:pt x="282" y="252"/>
                    </a:lnTo>
                    <a:lnTo>
                      <a:pt x="276" y="252"/>
                    </a:lnTo>
                    <a:lnTo>
                      <a:pt x="270" y="246"/>
                    </a:lnTo>
                    <a:lnTo>
                      <a:pt x="288" y="240"/>
                    </a:lnTo>
                    <a:lnTo>
                      <a:pt x="288" y="210"/>
                    </a:lnTo>
                    <a:lnTo>
                      <a:pt x="300" y="222"/>
                    </a:lnTo>
                    <a:lnTo>
                      <a:pt x="306" y="222"/>
                    </a:lnTo>
                    <a:lnTo>
                      <a:pt x="318" y="210"/>
                    </a:lnTo>
                    <a:lnTo>
                      <a:pt x="300" y="192"/>
                    </a:lnTo>
                    <a:lnTo>
                      <a:pt x="300" y="138"/>
                    </a:lnTo>
                    <a:lnTo>
                      <a:pt x="318" y="138"/>
                    </a:lnTo>
                    <a:lnTo>
                      <a:pt x="330" y="126"/>
                    </a:lnTo>
                    <a:lnTo>
                      <a:pt x="360" y="132"/>
                    </a:lnTo>
                    <a:lnTo>
                      <a:pt x="360" y="120"/>
                    </a:lnTo>
                    <a:lnTo>
                      <a:pt x="354" y="108"/>
                    </a:lnTo>
                    <a:close/>
                  </a:path>
                </a:pathLst>
              </a:custGeom>
              <a:solidFill>
                <a:schemeClr val="bg1">
                  <a:lumMod val="85000"/>
                </a:schemeClr>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108" name="Austria" descr="© INSCALE GmbH, 05.05.2010&#10;http://www.presentationload.com/">
                <a:extLst>
                  <a:ext uri="{FF2B5EF4-FFF2-40B4-BE49-F238E27FC236}">
                    <a16:creationId xmlns:a16="http://schemas.microsoft.com/office/drawing/2014/main" id="{F7D077AD-7AE8-43FC-8031-883CFAD023E2}"/>
                  </a:ext>
                </a:extLst>
              </p:cNvPr>
              <p:cNvSpPr>
                <a:spLocks/>
              </p:cNvSpPr>
              <p:nvPr/>
            </p:nvSpPr>
            <p:spPr bwMode="gray">
              <a:xfrm>
                <a:off x="4486127" y="2823068"/>
                <a:ext cx="180950" cy="90100"/>
              </a:xfrm>
              <a:custGeom>
                <a:avLst/>
                <a:gdLst>
                  <a:gd name="T0" fmla="*/ 2147483647 w 456"/>
                  <a:gd name="T1" fmla="*/ 2147483647 h 204"/>
                  <a:gd name="T2" fmla="*/ 2147483647 w 456"/>
                  <a:gd name="T3" fmla="*/ 2147483647 h 204"/>
                  <a:gd name="T4" fmla="*/ 2147483647 w 456"/>
                  <a:gd name="T5" fmla="*/ 2147483647 h 204"/>
                  <a:gd name="T6" fmla="*/ 2147483647 w 456"/>
                  <a:gd name="T7" fmla="*/ 2147483647 h 204"/>
                  <a:gd name="T8" fmla="*/ 2147483647 w 456"/>
                  <a:gd name="T9" fmla="*/ 2147483647 h 204"/>
                  <a:gd name="T10" fmla="*/ 2147483647 w 456"/>
                  <a:gd name="T11" fmla="*/ 2147483647 h 204"/>
                  <a:gd name="T12" fmla="*/ 2147483647 w 456"/>
                  <a:gd name="T13" fmla="*/ 2147483647 h 204"/>
                  <a:gd name="T14" fmla="*/ 2147483647 w 456"/>
                  <a:gd name="T15" fmla="*/ 0 h 204"/>
                  <a:gd name="T16" fmla="*/ 2147483647 w 456"/>
                  <a:gd name="T17" fmla="*/ 2147483647 h 204"/>
                  <a:gd name="T18" fmla="*/ 2147483647 w 456"/>
                  <a:gd name="T19" fmla="*/ 2147483647 h 204"/>
                  <a:gd name="T20" fmla="*/ 2147483647 w 456"/>
                  <a:gd name="T21" fmla="*/ 2147483647 h 204"/>
                  <a:gd name="T22" fmla="*/ 2147483647 w 456"/>
                  <a:gd name="T23" fmla="*/ 2147483647 h 204"/>
                  <a:gd name="T24" fmla="*/ 2147483647 w 456"/>
                  <a:gd name="T25" fmla="*/ 2147483647 h 204"/>
                  <a:gd name="T26" fmla="*/ 2147483647 w 456"/>
                  <a:gd name="T27" fmla="*/ 2147483647 h 204"/>
                  <a:gd name="T28" fmla="*/ 2147483647 w 456"/>
                  <a:gd name="T29" fmla="*/ 2147483647 h 204"/>
                  <a:gd name="T30" fmla="*/ 2147483647 w 456"/>
                  <a:gd name="T31" fmla="*/ 2147483647 h 204"/>
                  <a:gd name="T32" fmla="*/ 2147483647 w 456"/>
                  <a:gd name="T33" fmla="*/ 2147483647 h 204"/>
                  <a:gd name="T34" fmla="*/ 2147483647 w 456"/>
                  <a:gd name="T35" fmla="*/ 2147483647 h 204"/>
                  <a:gd name="T36" fmla="*/ 2147483647 w 456"/>
                  <a:gd name="T37" fmla="*/ 2147483647 h 204"/>
                  <a:gd name="T38" fmla="*/ 2147483647 w 456"/>
                  <a:gd name="T39" fmla="*/ 2147483647 h 204"/>
                  <a:gd name="T40" fmla="*/ 2147483647 w 456"/>
                  <a:gd name="T41" fmla="*/ 2147483647 h 204"/>
                  <a:gd name="T42" fmla="*/ 2147483647 w 456"/>
                  <a:gd name="T43" fmla="*/ 2147483647 h 204"/>
                  <a:gd name="T44" fmla="*/ 2147483647 w 456"/>
                  <a:gd name="T45" fmla="*/ 2147483647 h 204"/>
                  <a:gd name="T46" fmla="*/ 2147483647 w 456"/>
                  <a:gd name="T47" fmla="*/ 2147483647 h 204"/>
                  <a:gd name="T48" fmla="*/ 2147483647 w 456"/>
                  <a:gd name="T49" fmla="*/ 2147483647 h 204"/>
                  <a:gd name="T50" fmla="*/ 2147483647 w 456"/>
                  <a:gd name="T51" fmla="*/ 2147483647 h 204"/>
                  <a:gd name="T52" fmla="*/ 2147483647 w 456"/>
                  <a:gd name="T53" fmla="*/ 2147483647 h 204"/>
                  <a:gd name="T54" fmla="*/ 0 w 456"/>
                  <a:gd name="T55" fmla="*/ 2147483647 h 204"/>
                  <a:gd name="T56" fmla="*/ 2147483647 w 456"/>
                  <a:gd name="T57" fmla="*/ 2147483647 h 204"/>
                  <a:gd name="T58" fmla="*/ 2147483647 w 456"/>
                  <a:gd name="T59" fmla="*/ 2147483647 h 204"/>
                  <a:gd name="T60" fmla="*/ 2147483647 w 456"/>
                  <a:gd name="T61" fmla="*/ 2147483647 h 204"/>
                  <a:gd name="T62" fmla="*/ 2147483647 w 456"/>
                  <a:gd name="T63" fmla="*/ 2147483647 h 204"/>
                  <a:gd name="T64" fmla="*/ 2147483647 w 456"/>
                  <a:gd name="T65" fmla="*/ 2147483647 h 204"/>
                  <a:gd name="T66" fmla="*/ 2147483647 w 456"/>
                  <a:gd name="T67" fmla="*/ 2147483647 h 204"/>
                  <a:gd name="T68" fmla="*/ 2147483647 w 456"/>
                  <a:gd name="T69" fmla="*/ 2147483647 h 204"/>
                  <a:gd name="T70" fmla="*/ 2147483647 w 456"/>
                  <a:gd name="T71" fmla="*/ 2147483647 h 204"/>
                  <a:gd name="T72" fmla="*/ 2147483647 w 456"/>
                  <a:gd name="T73" fmla="*/ 2147483647 h 204"/>
                  <a:gd name="T74" fmla="*/ 2147483647 w 456"/>
                  <a:gd name="T75" fmla="*/ 2147483647 h 204"/>
                  <a:gd name="T76" fmla="*/ 2147483647 w 456"/>
                  <a:gd name="T77" fmla="*/ 2147483647 h 204"/>
                  <a:gd name="T78" fmla="*/ 2147483647 w 456"/>
                  <a:gd name="T79" fmla="*/ 2147483647 h 204"/>
                  <a:gd name="T80" fmla="*/ 2147483647 w 456"/>
                  <a:gd name="T81" fmla="*/ 2147483647 h 204"/>
                  <a:gd name="T82" fmla="*/ 2147483647 w 456"/>
                  <a:gd name="T83" fmla="*/ 2147483647 h 204"/>
                  <a:gd name="T84" fmla="*/ 2147483647 w 456"/>
                  <a:gd name="T85" fmla="*/ 2147483647 h 204"/>
                  <a:gd name="T86" fmla="*/ 2147483647 w 456"/>
                  <a:gd name="T87" fmla="*/ 2147483647 h 204"/>
                  <a:gd name="T88" fmla="*/ 2147483647 w 456"/>
                  <a:gd name="T89" fmla="*/ 2147483647 h 204"/>
                  <a:gd name="T90" fmla="*/ 2147483647 w 456"/>
                  <a:gd name="T91" fmla="*/ 2147483647 h 20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56"/>
                  <a:gd name="T139" fmla="*/ 0 h 204"/>
                  <a:gd name="T140" fmla="*/ 456 w 456"/>
                  <a:gd name="T141" fmla="*/ 204 h 204"/>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56" h="204">
                    <a:moveTo>
                      <a:pt x="456" y="102"/>
                    </a:moveTo>
                    <a:lnTo>
                      <a:pt x="456" y="60"/>
                    </a:lnTo>
                    <a:lnTo>
                      <a:pt x="450" y="60"/>
                    </a:lnTo>
                    <a:lnTo>
                      <a:pt x="450" y="48"/>
                    </a:lnTo>
                    <a:lnTo>
                      <a:pt x="456" y="24"/>
                    </a:lnTo>
                    <a:lnTo>
                      <a:pt x="444" y="18"/>
                    </a:lnTo>
                    <a:lnTo>
                      <a:pt x="438" y="18"/>
                    </a:lnTo>
                    <a:lnTo>
                      <a:pt x="432" y="12"/>
                    </a:lnTo>
                    <a:lnTo>
                      <a:pt x="420" y="12"/>
                    </a:lnTo>
                    <a:lnTo>
                      <a:pt x="414" y="18"/>
                    </a:lnTo>
                    <a:lnTo>
                      <a:pt x="402" y="24"/>
                    </a:lnTo>
                    <a:lnTo>
                      <a:pt x="390" y="12"/>
                    </a:lnTo>
                    <a:lnTo>
                      <a:pt x="378" y="18"/>
                    </a:lnTo>
                    <a:lnTo>
                      <a:pt x="366" y="6"/>
                    </a:lnTo>
                    <a:lnTo>
                      <a:pt x="354" y="0"/>
                    </a:lnTo>
                    <a:lnTo>
                      <a:pt x="336" y="0"/>
                    </a:lnTo>
                    <a:lnTo>
                      <a:pt x="330" y="6"/>
                    </a:lnTo>
                    <a:lnTo>
                      <a:pt x="324" y="18"/>
                    </a:lnTo>
                    <a:lnTo>
                      <a:pt x="318" y="18"/>
                    </a:lnTo>
                    <a:lnTo>
                      <a:pt x="318" y="36"/>
                    </a:lnTo>
                    <a:lnTo>
                      <a:pt x="306" y="30"/>
                    </a:lnTo>
                    <a:lnTo>
                      <a:pt x="300" y="30"/>
                    </a:lnTo>
                    <a:lnTo>
                      <a:pt x="288" y="36"/>
                    </a:lnTo>
                    <a:lnTo>
                      <a:pt x="276" y="36"/>
                    </a:lnTo>
                    <a:lnTo>
                      <a:pt x="258" y="18"/>
                    </a:lnTo>
                    <a:lnTo>
                      <a:pt x="252" y="36"/>
                    </a:lnTo>
                    <a:lnTo>
                      <a:pt x="234" y="36"/>
                    </a:lnTo>
                    <a:lnTo>
                      <a:pt x="240" y="48"/>
                    </a:lnTo>
                    <a:lnTo>
                      <a:pt x="240" y="66"/>
                    </a:lnTo>
                    <a:lnTo>
                      <a:pt x="234" y="66"/>
                    </a:lnTo>
                    <a:lnTo>
                      <a:pt x="228" y="60"/>
                    </a:lnTo>
                    <a:lnTo>
                      <a:pt x="210" y="60"/>
                    </a:lnTo>
                    <a:lnTo>
                      <a:pt x="204" y="66"/>
                    </a:lnTo>
                    <a:lnTo>
                      <a:pt x="204" y="72"/>
                    </a:lnTo>
                    <a:lnTo>
                      <a:pt x="198" y="78"/>
                    </a:lnTo>
                    <a:lnTo>
                      <a:pt x="198" y="84"/>
                    </a:lnTo>
                    <a:lnTo>
                      <a:pt x="210" y="84"/>
                    </a:lnTo>
                    <a:lnTo>
                      <a:pt x="210" y="126"/>
                    </a:lnTo>
                    <a:lnTo>
                      <a:pt x="204" y="126"/>
                    </a:lnTo>
                    <a:lnTo>
                      <a:pt x="192" y="114"/>
                    </a:lnTo>
                    <a:lnTo>
                      <a:pt x="174" y="108"/>
                    </a:lnTo>
                    <a:lnTo>
                      <a:pt x="162" y="102"/>
                    </a:lnTo>
                    <a:lnTo>
                      <a:pt x="144" y="114"/>
                    </a:lnTo>
                    <a:lnTo>
                      <a:pt x="126" y="114"/>
                    </a:lnTo>
                    <a:lnTo>
                      <a:pt x="108" y="126"/>
                    </a:lnTo>
                    <a:lnTo>
                      <a:pt x="102" y="132"/>
                    </a:lnTo>
                    <a:lnTo>
                      <a:pt x="84" y="132"/>
                    </a:lnTo>
                    <a:lnTo>
                      <a:pt x="66" y="114"/>
                    </a:lnTo>
                    <a:lnTo>
                      <a:pt x="48" y="114"/>
                    </a:lnTo>
                    <a:lnTo>
                      <a:pt x="48" y="126"/>
                    </a:lnTo>
                    <a:lnTo>
                      <a:pt x="42" y="132"/>
                    </a:lnTo>
                    <a:lnTo>
                      <a:pt x="30" y="132"/>
                    </a:lnTo>
                    <a:lnTo>
                      <a:pt x="30" y="126"/>
                    </a:lnTo>
                    <a:lnTo>
                      <a:pt x="24" y="120"/>
                    </a:lnTo>
                    <a:lnTo>
                      <a:pt x="0" y="120"/>
                    </a:lnTo>
                    <a:lnTo>
                      <a:pt x="0" y="156"/>
                    </a:lnTo>
                    <a:lnTo>
                      <a:pt x="18" y="156"/>
                    </a:lnTo>
                    <a:lnTo>
                      <a:pt x="18" y="174"/>
                    </a:lnTo>
                    <a:lnTo>
                      <a:pt x="24" y="174"/>
                    </a:lnTo>
                    <a:lnTo>
                      <a:pt x="42" y="156"/>
                    </a:lnTo>
                    <a:lnTo>
                      <a:pt x="48" y="156"/>
                    </a:lnTo>
                    <a:lnTo>
                      <a:pt x="60" y="168"/>
                    </a:lnTo>
                    <a:lnTo>
                      <a:pt x="60" y="174"/>
                    </a:lnTo>
                    <a:lnTo>
                      <a:pt x="72" y="174"/>
                    </a:lnTo>
                    <a:lnTo>
                      <a:pt x="84" y="180"/>
                    </a:lnTo>
                    <a:lnTo>
                      <a:pt x="96" y="162"/>
                    </a:lnTo>
                    <a:lnTo>
                      <a:pt x="138" y="162"/>
                    </a:lnTo>
                    <a:lnTo>
                      <a:pt x="138" y="156"/>
                    </a:lnTo>
                    <a:lnTo>
                      <a:pt x="144" y="150"/>
                    </a:lnTo>
                    <a:lnTo>
                      <a:pt x="162" y="150"/>
                    </a:lnTo>
                    <a:lnTo>
                      <a:pt x="168" y="156"/>
                    </a:lnTo>
                    <a:lnTo>
                      <a:pt x="168" y="174"/>
                    </a:lnTo>
                    <a:lnTo>
                      <a:pt x="180" y="174"/>
                    </a:lnTo>
                    <a:lnTo>
                      <a:pt x="186" y="192"/>
                    </a:lnTo>
                    <a:lnTo>
                      <a:pt x="240" y="192"/>
                    </a:lnTo>
                    <a:lnTo>
                      <a:pt x="240" y="204"/>
                    </a:lnTo>
                    <a:lnTo>
                      <a:pt x="258" y="204"/>
                    </a:lnTo>
                    <a:lnTo>
                      <a:pt x="264" y="198"/>
                    </a:lnTo>
                    <a:lnTo>
                      <a:pt x="282" y="198"/>
                    </a:lnTo>
                    <a:lnTo>
                      <a:pt x="288" y="204"/>
                    </a:lnTo>
                    <a:lnTo>
                      <a:pt x="318" y="204"/>
                    </a:lnTo>
                    <a:lnTo>
                      <a:pt x="318" y="192"/>
                    </a:lnTo>
                    <a:lnTo>
                      <a:pt x="366" y="192"/>
                    </a:lnTo>
                    <a:lnTo>
                      <a:pt x="378" y="186"/>
                    </a:lnTo>
                    <a:lnTo>
                      <a:pt x="402" y="192"/>
                    </a:lnTo>
                    <a:lnTo>
                      <a:pt x="414" y="156"/>
                    </a:lnTo>
                    <a:lnTo>
                      <a:pt x="432" y="156"/>
                    </a:lnTo>
                    <a:lnTo>
                      <a:pt x="432" y="132"/>
                    </a:lnTo>
                    <a:lnTo>
                      <a:pt x="444" y="114"/>
                    </a:lnTo>
                    <a:lnTo>
                      <a:pt x="432" y="114"/>
                    </a:lnTo>
                    <a:lnTo>
                      <a:pt x="438" y="102"/>
                    </a:lnTo>
                    <a:lnTo>
                      <a:pt x="456" y="102"/>
                    </a:lnTo>
                    <a:close/>
                  </a:path>
                </a:pathLst>
              </a:custGeom>
              <a:solidFill>
                <a:srgbClr val="4966AC"/>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109" name="Armenia" descr="© INSCALE GmbH, 05.05.2010&#10;http://www.presentationload.com/">
                <a:extLst>
                  <a:ext uri="{FF2B5EF4-FFF2-40B4-BE49-F238E27FC236}">
                    <a16:creationId xmlns:a16="http://schemas.microsoft.com/office/drawing/2014/main" id="{A526A122-989E-4C5E-A1C9-0B8BF8CD2A45}"/>
                  </a:ext>
                </a:extLst>
              </p:cNvPr>
              <p:cNvSpPr>
                <a:spLocks/>
              </p:cNvSpPr>
              <p:nvPr/>
            </p:nvSpPr>
            <p:spPr bwMode="gray">
              <a:xfrm>
                <a:off x="5359677" y="3089904"/>
                <a:ext cx="87355" cy="91833"/>
              </a:xfrm>
              <a:custGeom>
                <a:avLst/>
                <a:gdLst>
                  <a:gd name="T0" fmla="*/ 2147483647 w 222"/>
                  <a:gd name="T1" fmla="*/ 2147483647 h 210"/>
                  <a:gd name="T2" fmla="*/ 2147483647 w 222"/>
                  <a:gd name="T3" fmla="*/ 2147483647 h 210"/>
                  <a:gd name="T4" fmla="*/ 2147483647 w 222"/>
                  <a:gd name="T5" fmla="*/ 2147483647 h 210"/>
                  <a:gd name="T6" fmla="*/ 2147483647 w 222"/>
                  <a:gd name="T7" fmla="*/ 2147483647 h 210"/>
                  <a:gd name="T8" fmla="*/ 2147483647 w 222"/>
                  <a:gd name="T9" fmla="*/ 2147483647 h 210"/>
                  <a:gd name="T10" fmla="*/ 2147483647 w 222"/>
                  <a:gd name="T11" fmla="*/ 2147483647 h 210"/>
                  <a:gd name="T12" fmla="*/ 2147483647 w 222"/>
                  <a:gd name="T13" fmla="*/ 2147483647 h 210"/>
                  <a:gd name="T14" fmla="*/ 2147483647 w 222"/>
                  <a:gd name="T15" fmla="*/ 2147483647 h 210"/>
                  <a:gd name="T16" fmla="*/ 2147483647 w 222"/>
                  <a:gd name="T17" fmla="*/ 2147483647 h 210"/>
                  <a:gd name="T18" fmla="*/ 2147483647 w 222"/>
                  <a:gd name="T19" fmla="*/ 2147483647 h 210"/>
                  <a:gd name="T20" fmla="*/ 2147483647 w 222"/>
                  <a:gd name="T21" fmla="*/ 2147483647 h 210"/>
                  <a:gd name="T22" fmla="*/ 2147483647 w 222"/>
                  <a:gd name="T23" fmla="*/ 2147483647 h 210"/>
                  <a:gd name="T24" fmla="*/ 2147483647 w 222"/>
                  <a:gd name="T25" fmla="*/ 2147483647 h 210"/>
                  <a:gd name="T26" fmla="*/ 2147483647 w 222"/>
                  <a:gd name="T27" fmla="*/ 2147483647 h 210"/>
                  <a:gd name="T28" fmla="*/ 2147483647 w 222"/>
                  <a:gd name="T29" fmla="*/ 2147483647 h 210"/>
                  <a:gd name="T30" fmla="*/ 2147483647 w 222"/>
                  <a:gd name="T31" fmla="*/ 2147483647 h 210"/>
                  <a:gd name="T32" fmla="*/ 2147483647 w 222"/>
                  <a:gd name="T33" fmla="*/ 2147483647 h 210"/>
                  <a:gd name="T34" fmla="*/ 2147483647 w 222"/>
                  <a:gd name="T35" fmla="*/ 2147483647 h 210"/>
                  <a:gd name="T36" fmla="*/ 2147483647 w 222"/>
                  <a:gd name="T37" fmla="*/ 2147483647 h 210"/>
                  <a:gd name="T38" fmla="*/ 2147483647 w 222"/>
                  <a:gd name="T39" fmla="*/ 0 h 210"/>
                  <a:gd name="T40" fmla="*/ 2147483647 w 222"/>
                  <a:gd name="T41" fmla="*/ 0 h 210"/>
                  <a:gd name="T42" fmla="*/ 2147483647 w 222"/>
                  <a:gd name="T43" fmla="*/ 2147483647 h 210"/>
                  <a:gd name="T44" fmla="*/ 2147483647 w 222"/>
                  <a:gd name="T45" fmla="*/ 2147483647 h 210"/>
                  <a:gd name="T46" fmla="*/ 2147483647 w 222"/>
                  <a:gd name="T47" fmla="*/ 2147483647 h 210"/>
                  <a:gd name="T48" fmla="*/ 0 w 222"/>
                  <a:gd name="T49" fmla="*/ 2147483647 h 210"/>
                  <a:gd name="T50" fmla="*/ 2147483647 w 222"/>
                  <a:gd name="T51" fmla="*/ 2147483647 h 210"/>
                  <a:gd name="T52" fmla="*/ 2147483647 w 222"/>
                  <a:gd name="T53" fmla="*/ 2147483647 h 210"/>
                  <a:gd name="T54" fmla="*/ 2147483647 w 222"/>
                  <a:gd name="T55" fmla="*/ 2147483647 h 210"/>
                  <a:gd name="T56" fmla="*/ 2147483647 w 222"/>
                  <a:gd name="T57" fmla="*/ 2147483647 h 210"/>
                  <a:gd name="T58" fmla="*/ 2147483647 w 222"/>
                  <a:gd name="T59" fmla="*/ 2147483647 h 210"/>
                  <a:gd name="T60" fmla="*/ 2147483647 w 222"/>
                  <a:gd name="T61" fmla="*/ 2147483647 h 210"/>
                  <a:gd name="T62" fmla="*/ 2147483647 w 222"/>
                  <a:gd name="T63" fmla="*/ 2147483647 h 210"/>
                  <a:gd name="T64" fmla="*/ 2147483647 w 222"/>
                  <a:gd name="T65" fmla="*/ 2147483647 h 210"/>
                  <a:gd name="T66" fmla="*/ 2147483647 w 222"/>
                  <a:gd name="T67" fmla="*/ 2147483647 h 210"/>
                  <a:gd name="T68" fmla="*/ 2147483647 w 222"/>
                  <a:gd name="T69" fmla="*/ 2147483647 h 210"/>
                  <a:gd name="T70" fmla="*/ 2147483647 w 222"/>
                  <a:gd name="T71" fmla="*/ 2147483647 h 210"/>
                  <a:gd name="T72" fmla="*/ 2147483647 w 222"/>
                  <a:gd name="T73" fmla="*/ 2147483647 h 210"/>
                  <a:gd name="T74" fmla="*/ 2147483647 w 222"/>
                  <a:gd name="T75" fmla="*/ 2147483647 h 210"/>
                  <a:gd name="T76" fmla="*/ 2147483647 w 222"/>
                  <a:gd name="T77" fmla="*/ 2147483647 h 210"/>
                  <a:gd name="T78" fmla="*/ 2147483647 w 222"/>
                  <a:gd name="T79" fmla="*/ 2147483647 h 210"/>
                  <a:gd name="T80" fmla="*/ 2147483647 w 222"/>
                  <a:gd name="T81" fmla="*/ 2147483647 h 210"/>
                  <a:gd name="T82" fmla="*/ 2147483647 w 222"/>
                  <a:gd name="T83" fmla="*/ 2147483647 h 210"/>
                  <a:gd name="T84" fmla="*/ 2147483647 w 222"/>
                  <a:gd name="T85" fmla="*/ 2147483647 h 210"/>
                  <a:gd name="T86" fmla="*/ 2147483647 w 222"/>
                  <a:gd name="T87" fmla="*/ 2147483647 h 210"/>
                  <a:gd name="T88" fmla="*/ 2147483647 w 222"/>
                  <a:gd name="T89" fmla="*/ 2147483647 h 210"/>
                  <a:gd name="T90" fmla="*/ 2147483647 w 222"/>
                  <a:gd name="T91" fmla="*/ 2147483647 h 210"/>
                  <a:gd name="T92" fmla="*/ 2147483647 w 222"/>
                  <a:gd name="T93" fmla="*/ 2147483647 h 210"/>
                  <a:gd name="T94" fmla="*/ 2147483647 w 222"/>
                  <a:gd name="T95" fmla="*/ 2147483647 h 210"/>
                  <a:gd name="T96" fmla="*/ 2147483647 w 222"/>
                  <a:gd name="T97" fmla="*/ 2147483647 h 210"/>
                  <a:gd name="T98" fmla="*/ 2147483647 w 222"/>
                  <a:gd name="T99" fmla="*/ 2147483647 h 210"/>
                  <a:gd name="T100" fmla="*/ 2147483647 w 222"/>
                  <a:gd name="T101" fmla="*/ 2147483647 h 210"/>
                  <a:gd name="T102" fmla="*/ 2147483647 w 222"/>
                  <a:gd name="T103" fmla="*/ 2147483647 h 210"/>
                  <a:gd name="T104" fmla="*/ 2147483647 w 222"/>
                  <a:gd name="T105" fmla="*/ 2147483647 h 210"/>
                  <a:gd name="T106" fmla="*/ 2147483647 w 222"/>
                  <a:gd name="T107" fmla="*/ 2147483647 h 21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22"/>
                  <a:gd name="T163" fmla="*/ 0 h 210"/>
                  <a:gd name="T164" fmla="*/ 222 w 222"/>
                  <a:gd name="T165" fmla="*/ 210 h 21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22" h="210">
                    <a:moveTo>
                      <a:pt x="222" y="168"/>
                    </a:moveTo>
                    <a:lnTo>
                      <a:pt x="216" y="156"/>
                    </a:lnTo>
                    <a:lnTo>
                      <a:pt x="216" y="144"/>
                    </a:lnTo>
                    <a:lnTo>
                      <a:pt x="186" y="138"/>
                    </a:lnTo>
                    <a:lnTo>
                      <a:pt x="174" y="120"/>
                    </a:lnTo>
                    <a:lnTo>
                      <a:pt x="144" y="108"/>
                    </a:lnTo>
                    <a:lnTo>
                      <a:pt x="156" y="108"/>
                    </a:lnTo>
                    <a:lnTo>
                      <a:pt x="174" y="90"/>
                    </a:lnTo>
                    <a:lnTo>
                      <a:pt x="174" y="84"/>
                    </a:lnTo>
                    <a:lnTo>
                      <a:pt x="168" y="78"/>
                    </a:lnTo>
                    <a:lnTo>
                      <a:pt x="144" y="66"/>
                    </a:lnTo>
                    <a:lnTo>
                      <a:pt x="138" y="60"/>
                    </a:lnTo>
                    <a:lnTo>
                      <a:pt x="132" y="60"/>
                    </a:lnTo>
                    <a:lnTo>
                      <a:pt x="138" y="54"/>
                    </a:lnTo>
                    <a:lnTo>
                      <a:pt x="138" y="30"/>
                    </a:lnTo>
                    <a:lnTo>
                      <a:pt x="132" y="24"/>
                    </a:lnTo>
                    <a:lnTo>
                      <a:pt x="114" y="24"/>
                    </a:lnTo>
                    <a:lnTo>
                      <a:pt x="114" y="12"/>
                    </a:lnTo>
                    <a:lnTo>
                      <a:pt x="102" y="6"/>
                    </a:lnTo>
                    <a:lnTo>
                      <a:pt x="96" y="0"/>
                    </a:lnTo>
                    <a:lnTo>
                      <a:pt x="84" y="0"/>
                    </a:lnTo>
                    <a:lnTo>
                      <a:pt x="84" y="18"/>
                    </a:lnTo>
                    <a:lnTo>
                      <a:pt x="30" y="12"/>
                    </a:lnTo>
                    <a:lnTo>
                      <a:pt x="24" y="18"/>
                    </a:lnTo>
                    <a:lnTo>
                      <a:pt x="0" y="24"/>
                    </a:lnTo>
                    <a:lnTo>
                      <a:pt x="6" y="30"/>
                    </a:lnTo>
                    <a:lnTo>
                      <a:pt x="6" y="42"/>
                    </a:lnTo>
                    <a:lnTo>
                      <a:pt x="18" y="78"/>
                    </a:lnTo>
                    <a:lnTo>
                      <a:pt x="18" y="90"/>
                    </a:lnTo>
                    <a:lnTo>
                      <a:pt x="24" y="102"/>
                    </a:lnTo>
                    <a:lnTo>
                      <a:pt x="30" y="108"/>
                    </a:lnTo>
                    <a:lnTo>
                      <a:pt x="42" y="114"/>
                    </a:lnTo>
                    <a:lnTo>
                      <a:pt x="54" y="114"/>
                    </a:lnTo>
                    <a:lnTo>
                      <a:pt x="66" y="108"/>
                    </a:lnTo>
                    <a:lnTo>
                      <a:pt x="72" y="108"/>
                    </a:lnTo>
                    <a:lnTo>
                      <a:pt x="72" y="114"/>
                    </a:lnTo>
                    <a:lnTo>
                      <a:pt x="78" y="120"/>
                    </a:lnTo>
                    <a:lnTo>
                      <a:pt x="78" y="132"/>
                    </a:lnTo>
                    <a:lnTo>
                      <a:pt x="84" y="144"/>
                    </a:lnTo>
                    <a:lnTo>
                      <a:pt x="84" y="150"/>
                    </a:lnTo>
                    <a:lnTo>
                      <a:pt x="90" y="156"/>
                    </a:lnTo>
                    <a:lnTo>
                      <a:pt x="108" y="132"/>
                    </a:lnTo>
                    <a:lnTo>
                      <a:pt x="126" y="132"/>
                    </a:lnTo>
                    <a:lnTo>
                      <a:pt x="138" y="144"/>
                    </a:lnTo>
                    <a:lnTo>
                      <a:pt x="174" y="144"/>
                    </a:lnTo>
                    <a:lnTo>
                      <a:pt x="174" y="156"/>
                    </a:lnTo>
                    <a:lnTo>
                      <a:pt x="180" y="162"/>
                    </a:lnTo>
                    <a:lnTo>
                      <a:pt x="180" y="174"/>
                    </a:lnTo>
                    <a:lnTo>
                      <a:pt x="186" y="186"/>
                    </a:lnTo>
                    <a:lnTo>
                      <a:pt x="186" y="198"/>
                    </a:lnTo>
                    <a:lnTo>
                      <a:pt x="192" y="204"/>
                    </a:lnTo>
                    <a:lnTo>
                      <a:pt x="192" y="210"/>
                    </a:lnTo>
                    <a:lnTo>
                      <a:pt x="222" y="210"/>
                    </a:lnTo>
                    <a:lnTo>
                      <a:pt x="222" y="168"/>
                    </a:lnTo>
                    <a:close/>
                  </a:path>
                </a:pathLst>
              </a:custGeom>
              <a:solidFill>
                <a:schemeClr val="bg1">
                  <a:lumMod val="85000"/>
                </a:schemeClr>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110" name="Andorra" descr="© INSCALE GmbH, 05.05.2010&#10;http://www.presentationload.com/">
                <a:extLst>
                  <a:ext uri="{FF2B5EF4-FFF2-40B4-BE49-F238E27FC236}">
                    <a16:creationId xmlns:a16="http://schemas.microsoft.com/office/drawing/2014/main" id="{0BBE507C-F248-4259-A514-E009947FBF53}"/>
                  </a:ext>
                </a:extLst>
              </p:cNvPr>
              <p:cNvSpPr>
                <a:spLocks/>
              </p:cNvSpPr>
              <p:nvPr/>
            </p:nvSpPr>
            <p:spPr bwMode="gray">
              <a:xfrm>
                <a:off x="4275539" y="3044854"/>
                <a:ext cx="12479" cy="6931"/>
              </a:xfrm>
              <a:custGeom>
                <a:avLst/>
                <a:gdLst>
                  <a:gd name="T0" fmla="*/ 2147483647 w 30"/>
                  <a:gd name="T1" fmla="*/ 2147483647 h 18"/>
                  <a:gd name="T2" fmla="*/ 2147483647 w 30"/>
                  <a:gd name="T3" fmla="*/ 2147483647 h 18"/>
                  <a:gd name="T4" fmla="*/ 2147483647 w 30"/>
                  <a:gd name="T5" fmla="*/ 2147483647 h 18"/>
                  <a:gd name="T6" fmla="*/ 2147483647 w 30"/>
                  <a:gd name="T7" fmla="*/ 0 h 18"/>
                  <a:gd name="T8" fmla="*/ 0 w 30"/>
                  <a:gd name="T9" fmla="*/ 0 h 18"/>
                  <a:gd name="T10" fmla="*/ 2147483647 w 30"/>
                  <a:gd name="T11" fmla="*/ 2147483647 h 18"/>
                  <a:gd name="T12" fmla="*/ 0 60000 65536"/>
                  <a:gd name="T13" fmla="*/ 0 60000 65536"/>
                  <a:gd name="T14" fmla="*/ 0 60000 65536"/>
                  <a:gd name="T15" fmla="*/ 0 60000 65536"/>
                  <a:gd name="T16" fmla="*/ 0 60000 65536"/>
                  <a:gd name="T17" fmla="*/ 0 60000 65536"/>
                  <a:gd name="T18" fmla="*/ 0 w 30"/>
                  <a:gd name="T19" fmla="*/ 0 h 18"/>
                  <a:gd name="T20" fmla="*/ 30 w 30"/>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30" h="18">
                    <a:moveTo>
                      <a:pt x="6" y="18"/>
                    </a:moveTo>
                    <a:lnTo>
                      <a:pt x="18" y="12"/>
                    </a:lnTo>
                    <a:lnTo>
                      <a:pt x="30" y="12"/>
                    </a:lnTo>
                    <a:lnTo>
                      <a:pt x="30" y="0"/>
                    </a:lnTo>
                    <a:lnTo>
                      <a:pt x="0" y="0"/>
                    </a:lnTo>
                    <a:lnTo>
                      <a:pt x="6" y="18"/>
                    </a:lnTo>
                    <a:close/>
                  </a:path>
                </a:pathLst>
              </a:custGeom>
              <a:solidFill>
                <a:srgbClr val="4966AC"/>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111" name="Albania" descr="© INSCALE GmbH, 05.05.2010&#10;http://www.presentationload.com/">
                <a:extLst>
                  <a:ext uri="{FF2B5EF4-FFF2-40B4-BE49-F238E27FC236}">
                    <a16:creationId xmlns:a16="http://schemas.microsoft.com/office/drawing/2014/main" id="{C342F990-95D4-431F-8E1E-6C2F8C559684}"/>
                  </a:ext>
                </a:extLst>
              </p:cNvPr>
              <p:cNvSpPr>
                <a:spLocks/>
              </p:cNvSpPr>
              <p:nvPr/>
            </p:nvSpPr>
            <p:spPr bwMode="gray">
              <a:xfrm>
                <a:off x="4726353" y="3044854"/>
                <a:ext cx="56157" cy="107427"/>
              </a:xfrm>
              <a:custGeom>
                <a:avLst/>
                <a:gdLst>
                  <a:gd name="T0" fmla="*/ 2147483647 w 144"/>
                  <a:gd name="T1" fmla="*/ 2147483647 h 246"/>
                  <a:gd name="T2" fmla="*/ 2147483647 w 144"/>
                  <a:gd name="T3" fmla="*/ 2147483647 h 246"/>
                  <a:gd name="T4" fmla="*/ 2147483647 w 144"/>
                  <a:gd name="T5" fmla="*/ 2147483647 h 246"/>
                  <a:gd name="T6" fmla="*/ 2147483647 w 144"/>
                  <a:gd name="T7" fmla="*/ 2147483647 h 246"/>
                  <a:gd name="T8" fmla="*/ 2147483647 w 144"/>
                  <a:gd name="T9" fmla="*/ 2147483647 h 246"/>
                  <a:gd name="T10" fmla="*/ 2147483647 w 144"/>
                  <a:gd name="T11" fmla="*/ 2147483647 h 246"/>
                  <a:gd name="T12" fmla="*/ 2147483647 w 144"/>
                  <a:gd name="T13" fmla="*/ 2147483647 h 246"/>
                  <a:gd name="T14" fmla="*/ 2147483647 w 144"/>
                  <a:gd name="T15" fmla="*/ 2147483647 h 246"/>
                  <a:gd name="T16" fmla="*/ 2147483647 w 144"/>
                  <a:gd name="T17" fmla="*/ 2147483647 h 246"/>
                  <a:gd name="T18" fmla="*/ 2147483647 w 144"/>
                  <a:gd name="T19" fmla="*/ 2147483647 h 246"/>
                  <a:gd name="T20" fmla="*/ 2147483647 w 144"/>
                  <a:gd name="T21" fmla="*/ 2147483647 h 246"/>
                  <a:gd name="T22" fmla="*/ 2147483647 w 144"/>
                  <a:gd name="T23" fmla="*/ 2147483647 h 246"/>
                  <a:gd name="T24" fmla="*/ 2147483647 w 144"/>
                  <a:gd name="T25" fmla="*/ 2147483647 h 246"/>
                  <a:gd name="T26" fmla="*/ 2147483647 w 144"/>
                  <a:gd name="T27" fmla="*/ 2147483647 h 246"/>
                  <a:gd name="T28" fmla="*/ 2147483647 w 144"/>
                  <a:gd name="T29" fmla="*/ 2147483647 h 246"/>
                  <a:gd name="T30" fmla="*/ 2147483647 w 144"/>
                  <a:gd name="T31" fmla="*/ 2147483647 h 246"/>
                  <a:gd name="T32" fmla="*/ 2147483647 w 144"/>
                  <a:gd name="T33" fmla="*/ 2147483647 h 246"/>
                  <a:gd name="T34" fmla="*/ 2147483647 w 144"/>
                  <a:gd name="T35" fmla="*/ 2147483647 h 246"/>
                  <a:gd name="T36" fmla="*/ 2147483647 w 144"/>
                  <a:gd name="T37" fmla="*/ 2147483647 h 246"/>
                  <a:gd name="T38" fmla="*/ 2147483647 w 144"/>
                  <a:gd name="T39" fmla="*/ 0 h 246"/>
                  <a:gd name="T40" fmla="*/ 2147483647 w 144"/>
                  <a:gd name="T41" fmla="*/ 2147483647 h 246"/>
                  <a:gd name="T42" fmla="*/ 2147483647 w 144"/>
                  <a:gd name="T43" fmla="*/ 2147483647 h 246"/>
                  <a:gd name="T44" fmla="*/ 0 w 144"/>
                  <a:gd name="T45" fmla="*/ 2147483647 h 246"/>
                  <a:gd name="T46" fmla="*/ 2147483647 w 144"/>
                  <a:gd name="T47" fmla="*/ 2147483647 h 246"/>
                  <a:gd name="T48" fmla="*/ 2147483647 w 144"/>
                  <a:gd name="T49" fmla="*/ 2147483647 h 246"/>
                  <a:gd name="T50" fmla="*/ 2147483647 w 144"/>
                  <a:gd name="T51" fmla="*/ 2147483647 h 246"/>
                  <a:gd name="T52" fmla="*/ 2147483647 w 144"/>
                  <a:gd name="T53" fmla="*/ 2147483647 h 246"/>
                  <a:gd name="T54" fmla="*/ 2147483647 w 144"/>
                  <a:gd name="T55" fmla="*/ 2147483647 h 246"/>
                  <a:gd name="T56" fmla="*/ 2147483647 w 144"/>
                  <a:gd name="T57" fmla="*/ 2147483647 h 246"/>
                  <a:gd name="T58" fmla="*/ 2147483647 w 144"/>
                  <a:gd name="T59" fmla="*/ 2147483647 h 246"/>
                  <a:gd name="T60" fmla="*/ 2147483647 w 144"/>
                  <a:gd name="T61" fmla="*/ 2147483647 h 246"/>
                  <a:gd name="T62" fmla="*/ 2147483647 w 144"/>
                  <a:gd name="T63" fmla="*/ 2147483647 h 246"/>
                  <a:gd name="T64" fmla="*/ 2147483647 w 144"/>
                  <a:gd name="T65" fmla="*/ 2147483647 h 246"/>
                  <a:gd name="T66" fmla="*/ 2147483647 w 144"/>
                  <a:gd name="T67" fmla="*/ 2147483647 h 246"/>
                  <a:gd name="T68" fmla="*/ 2147483647 w 144"/>
                  <a:gd name="T69" fmla="*/ 2147483647 h 246"/>
                  <a:gd name="T70" fmla="*/ 2147483647 w 144"/>
                  <a:gd name="T71" fmla="*/ 2147483647 h 246"/>
                  <a:gd name="T72" fmla="*/ 2147483647 w 144"/>
                  <a:gd name="T73" fmla="*/ 2147483647 h 246"/>
                  <a:gd name="T74" fmla="*/ 2147483647 w 144"/>
                  <a:gd name="T75" fmla="*/ 2147483647 h 246"/>
                  <a:gd name="T76" fmla="*/ 2147483647 w 144"/>
                  <a:gd name="T77" fmla="*/ 2147483647 h 246"/>
                  <a:gd name="T78" fmla="*/ 2147483647 w 144"/>
                  <a:gd name="T79" fmla="*/ 2147483647 h 246"/>
                  <a:gd name="T80" fmla="*/ 2147483647 w 144"/>
                  <a:gd name="T81" fmla="*/ 2147483647 h 246"/>
                  <a:gd name="T82" fmla="*/ 2147483647 w 144"/>
                  <a:gd name="T83" fmla="*/ 2147483647 h 246"/>
                  <a:gd name="T84" fmla="*/ 2147483647 w 144"/>
                  <a:gd name="T85" fmla="*/ 2147483647 h 246"/>
                  <a:gd name="T86" fmla="*/ 2147483647 w 144"/>
                  <a:gd name="T87" fmla="*/ 2147483647 h 246"/>
                  <a:gd name="T88" fmla="*/ 2147483647 w 144"/>
                  <a:gd name="T89" fmla="*/ 2147483647 h 24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44"/>
                  <a:gd name="T136" fmla="*/ 0 h 246"/>
                  <a:gd name="T137" fmla="*/ 144 w 144"/>
                  <a:gd name="T138" fmla="*/ 246 h 24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44" h="246">
                    <a:moveTo>
                      <a:pt x="96" y="210"/>
                    </a:moveTo>
                    <a:lnTo>
                      <a:pt x="96" y="204"/>
                    </a:lnTo>
                    <a:lnTo>
                      <a:pt x="108" y="204"/>
                    </a:lnTo>
                    <a:lnTo>
                      <a:pt x="120" y="198"/>
                    </a:lnTo>
                    <a:lnTo>
                      <a:pt x="120" y="174"/>
                    </a:lnTo>
                    <a:lnTo>
                      <a:pt x="138" y="174"/>
                    </a:lnTo>
                    <a:lnTo>
                      <a:pt x="144" y="168"/>
                    </a:lnTo>
                    <a:lnTo>
                      <a:pt x="144" y="138"/>
                    </a:lnTo>
                    <a:lnTo>
                      <a:pt x="120" y="144"/>
                    </a:lnTo>
                    <a:lnTo>
                      <a:pt x="120" y="126"/>
                    </a:lnTo>
                    <a:lnTo>
                      <a:pt x="114" y="126"/>
                    </a:lnTo>
                    <a:lnTo>
                      <a:pt x="108" y="120"/>
                    </a:lnTo>
                    <a:lnTo>
                      <a:pt x="108" y="96"/>
                    </a:lnTo>
                    <a:lnTo>
                      <a:pt x="102" y="84"/>
                    </a:lnTo>
                    <a:lnTo>
                      <a:pt x="102" y="42"/>
                    </a:lnTo>
                    <a:lnTo>
                      <a:pt x="96" y="24"/>
                    </a:lnTo>
                    <a:lnTo>
                      <a:pt x="84" y="24"/>
                    </a:lnTo>
                    <a:lnTo>
                      <a:pt x="72" y="6"/>
                    </a:lnTo>
                    <a:lnTo>
                      <a:pt x="66" y="12"/>
                    </a:lnTo>
                    <a:lnTo>
                      <a:pt x="36" y="0"/>
                    </a:lnTo>
                    <a:lnTo>
                      <a:pt x="36" y="18"/>
                    </a:lnTo>
                    <a:lnTo>
                      <a:pt x="24" y="24"/>
                    </a:lnTo>
                    <a:lnTo>
                      <a:pt x="0" y="24"/>
                    </a:lnTo>
                    <a:lnTo>
                      <a:pt x="18" y="36"/>
                    </a:lnTo>
                    <a:lnTo>
                      <a:pt x="24" y="30"/>
                    </a:lnTo>
                    <a:lnTo>
                      <a:pt x="30" y="48"/>
                    </a:lnTo>
                    <a:lnTo>
                      <a:pt x="18" y="60"/>
                    </a:lnTo>
                    <a:lnTo>
                      <a:pt x="24" y="66"/>
                    </a:lnTo>
                    <a:lnTo>
                      <a:pt x="48" y="66"/>
                    </a:lnTo>
                    <a:lnTo>
                      <a:pt x="48" y="84"/>
                    </a:lnTo>
                    <a:lnTo>
                      <a:pt x="42" y="96"/>
                    </a:lnTo>
                    <a:lnTo>
                      <a:pt x="42" y="114"/>
                    </a:lnTo>
                    <a:lnTo>
                      <a:pt x="36" y="132"/>
                    </a:lnTo>
                    <a:lnTo>
                      <a:pt x="36" y="156"/>
                    </a:lnTo>
                    <a:lnTo>
                      <a:pt x="24" y="180"/>
                    </a:lnTo>
                    <a:lnTo>
                      <a:pt x="24" y="186"/>
                    </a:lnTo>
                    <a:lnTo>
                      <a:pt x="42" y="204"/>
                    </a:lnTo>
                    <a:lnTo>
                      <a:pt x="54" y="210"/>
                    </a:lnTo>
                    <a:lnTo>
                      <a:pt x="60" y="216"/>
                    </a:lnTo>
                    <a:lnTo>
                      <a:pt x="60" y="234"/>
                    </a:lnTo>
                    <a:lnTo>
                      <a:pt x="66" y="240"/>
                    </a:lnTo>
                    <a:lnTo>
                      <a:pt x="84" y="240"/>
                    </a:lnTo>
                    <a:lnTo>
                      <a:pt x="90" y="246"/>
                    </a:lnTo>
                    <a:lnTo>
                      <a:pt x="96" y="246"/>
                    </a:lnTo>
                    <a:lnTo>
                      <a:pt x="96" y="210"/>
                    </a:lnTo>
                    <a:close/>
                  </a:path>
                </a:pathLst>
              </a:custGeom>
              <a:solidFill>
                <a:srgbClr val="4966AC"/>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112" name="Zimbabwe" descr="© INSCALE GmbH, 05.05.2010&#10;http://www.presentationload.com/">
                <a:extLst>
                  <a:ext uri="{FF2B5EF4-FFF2-40B4-BE49-F238E27FC236}">
                    <a16:creationId xmlns:a16="http://schemas.microsoft.com/office/drawing/2014/main" id="{10B46B86-48FD-41FF-8450-C69F604E3167}"/>
                  </a:ext>
                </a:extLst>
              </p:cNvPr>
              <p:cNvSpPr>
                <a:spLocks/>
              </p:cNvSpPr>
              <p:nvPr/>
            </p:nvSpPr>
            <p:spPr bwMode="gray">
              <a:xfrm>
                <a:off x="4919782" y="5106766"/>
                <a:ext cx="216828" cy="242578"/>
              </a:xfrm>
              <a:custGeom>
                <a:avLst/>
                <a:gdLst>
                  <a:gd name="T0" fmla="*/ 2147483647 w 552"/>
                  <a:gd name="T1" fmla="*/ 2147483647 h 552"/>
                  <a:gd name="T2" fmla="*/ 2147483647 w 552"/>
                  <a:gd name="T3" fmla="*/ 2147483647 h 552"/>
                  <a:gd name="T4" fmla="*/ 2147483647 w 552"/>
                  <a:gd name="T5" fmla="*/ 2147483647 h 552"/>
                  <a:gd name="T6" fmla="*/ 2147483647 w 552"/>
                  <a:gd name="T7" fmla="*/ 2147483647 h 552"/>
                  <a:gd name="T8" fmla="*/ 2147483647 w 552"/>
                  <a:gd name="T9" fmla="*/ 2147483647 h 552"/>
                  <a:gd name="T10" fmla="*/ 2147483647 w 552"/>
                  <a:gd name="T11" fmla="*/ 2147483647 h 552"/>
                  <a:gd name="T12" fmla="*/ 2147483647 w 552"/>
                  <a:gd name="T13" fmla="*/ 2147483647 h 552"/>
                  <a:gd name="T14" fmla="*/ 2147483647 w 552"/>
                  <a:gd name="T15" fmla="*/ 2147483647 h 552"/>
                  <a:gd name="T16" fmla="*/ 2147483647 w 552"/>
                  <a:gd name="T17" fmla="*/ 2147483647 h 552"/>
                  <a:gd name="T18" fmla="*/ 2147483647 w 552"/>
                  <a:gd name="T19" fmla="*/ 2147483647 h 552"/>
                  <a:gd name="T20" fmla="*/ 2147483647 w 552"/>
                  <a:gd name="T21" fmla="*/ 2147483647 h 552"/>
                  <a:gd name="T22" fmla="*/ 2147483647 w 552"/>
                  <a:gd name="T23" fmla="*/ 2147483647 h 552"/>
                  <a:gd name="T24" fmla="*/ 2147483647 w 552"/>
                  <a:gd name="T25" fmla="*/ 2147483647 h 552"/>
                  <a:gd name="T26" fmla="*/ 2147483647 w 552"/>
                  <a:gd name="T27" fmla="*/ 2147483647 h 552"/>
                  <a:gd name="T28" fmla="*/ 2147483647 w 552"/>
                  <a:gd name="T29" fmla="*/ 2147483647 h 552"/>
                  <a:gd name="T30" fmla="*/ 2147483647 w 552"/>
                  <a:gd name="T31" fmla="*/ 2147483647 h 552"/>
                  <a:gd name="T32" fmla="*/ 2147483647 w 552"/>
                  <a:gd name="T33" fmla="*/ 2147483647 h 552"/>
                  <a:gd name="T34" fmla="*/ 2147483647 w 552"/>
                  <a:gd name="T35" fmla="*/ 2147483647 h 552"/>
                  <a:gd name="T36" fmla="*/ 2147483647 w 552"/>
                  <a:gd name="T37" fmla="*/ 2147483647 h 552"/>
                  <a:gd name="T38" fmla="*/ 2147483647 w 552"/>
                  <a:gd name="T39" fmla="*/ 2147483647 h 552"/>
                  <a:gd name="T40" fmla="*/ 2147483647 w 552"/>
                  <a:gd name="T41" fmla="*/ 2147483647 h 552"/>
                  <a:gd name="T42" fmla="*/ 2147483647 w 552"/>
                  <a:gd name="T43" fmla="*/ 2147483647 h 552"/>
                  <a:gd name="T44" fmla="*/ 2147483647 w 552"/>
                  <a:gd name="T45" fmla="*/ 2147483647 h 552"/>
                  <a:gd name="T46" fmla="*/ 2147483647 w 552"/>
                  <a:gd name="T47" fmla="*/ 2147483647 h 552"/>
                  <a:gd name="T48" fmla="*/ 2147483647 w 552"/>
                  <a:gd name="T49" fmla="*/ 2147483647 h 552"/>
                  <a:gd name="T50" fmla="*/ 2147483647 w 552"/>
                  <a:gd name="T51" fmla="*/ 2147483647 h 552"/>
                  <a:gd name="T52" fmla="*/ 2147483647 w 552"/>
                  <a:gd name="T53" fmla="*/ 2147483647 h 552"/>
                  <a:gd name="T54" fmla="*/ 2147483647 w 552"/>
                  <a:gd name="T55" fmla="*/ 2147483647 h 552"/>
                  <a:gd name="T56" fmla="*/ 2147483647 w 552"/>
                  <a:gd name="T57" fmla="*/ 2147483647 h 552"/>
                  <a:gd name="T58" fmla="*/ 2147483647 w 552"/>
                  <a:gd name="T59" fmla="*/ 2147483647 h 552"/>
                  <a:gd name="T60" fmla="*/ 2147483647 w 552"/>
                  <a:gd name="T61" fmla="*/ 2147483647 h 552"/>
                  <a:gd name="T62" fmla="*/ 2147483647 w 552"/>
                  <a:gd name="T63" fmla="*/ 2147483647 h 552"/>
                  <a:gd name="T64" fmla="*/ 2147483647 w 552"/>
                  <a:gd name="T65" fmla="*/ 2147483647 h 552"/>
                  <a:gd name="T66" fmla="*/ 2147483647 w 552"/>
                  <a:gd name="T67" fmla="*/ 2147483647 h 552"/>
                  <a:gd name="T68" fmla="*/ 2147483647 w 552"/>
                  <a:gd name="T69" fmla="*/ 2147483647 h 552"/>
                  <a:gd name="T70" fmla="*/ 2147483647 w 552"/>
                  <a:gd name="T71" fmla="*/ 2147483647 h 552"/>
                  <a:gd name="T72" fmla="*/ 2147483647 w 552"/>
                  <a:gd name="T73" fmla="*/ 2147483647 h 552"/>
                  <a:gd name="T74" fmla="*/ 2147483647 w 552"/>
                  <a:gd name="T75" fmla="*/ 0 h 552"/>
                  <a:gd name="T76" fmla="*/ 2147483647 w 552"/>
                  <a:gd name="T77" fmla="*/ 2147483647 h 552"/>
                  <a:gd name="T78" fmla="*/ 2147483647 w 552"/>
                  <a:gd name="T79" fmla="*/ 2147483647 h 552"/>
                  <a:gd name="T80" fmla="*/ 2147483647 w 552"/>
                  <a:gd name="T81" fmla="*/ 2147483647 h 552"/>
                  <a:gd name="T82" fmla="*/ 2147483647 w 552"/>
                  <a:gd name="T83" fmla="*/ 2147483647 h 552"/>
                  <a:gd name="T84" fmla="*/ 2147483647 w 552"/>
                  <a:gd name="T85" fmla="*/ 2147483647 h 552"/>
                  <a:gd name="T86" fmla="*/ 2147483647 w 552"/>
                  <a:gd name="T87" fmla="*/ 2147483647 h 552"/>
                  <a:gd name="T88" fmla="*/ 2147483647 w 552"/>
                  <a:gd name="T89" fmla="*/ 2147483647 h 552"/>
                  <a:gd name="T90" fmla="*/ 2147483647 w 552"/>
                  <a:gd name="T91" fmla="*/ 2147483647 h 552"/>
                  <a:gd name="T92" fmla="*/ 2147483647 w 552"/>
                  <a:gd name="T93" fmla="*/ 2147483647 h 552"/>
                  <a:gd name="T94" fmla="*/ 2147483647 w 552"/>
                  <a:gd name="T95" fmla="*/ 2147483647 h 552"/>
                  <a:gd name="T96" fmla="*/ 2147483647 w 552"/>
                  <a:gd name="T97" fmla="*/ 2147483647 h 552"/>
                  <a:gd name="T98" fmla="*/ 2147483647 w 552"/>
                  <a:gd name="T99" fmla="*/ 2147483647 h 552"/>
                  <a:gd name="T100" fmla="*/ 2147483647 w 552"/>
                  <a:gd name="T101" fmla="*/ 2147483647 h 552"/>
                  <a:gd name="T102" fmla="*/ 2147483647 w 552"/>
                  <a:gd name="T103" fmla="*/ 2147483647 h 55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52"/>
                  <a:gd name="T157" fmla="*/ 0 h 552"/>
                  <a:gd name="T158" fmla="*/ 552 w 552"/>
                  <a:gd name="T159" fmla="*/ 552 h 55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52" h="552">
                    <a:moveTo>
                      <a:pt x="18" y="204"/>
                    </a:moveTo>
                    <a:lnTo>
                      <a:pt x="18" y="234"/>
                    </a:lnTo>
                    <a:lnTo>
                      <a:pt x="30" y="234"/>
                    </a:lnTo>
                    <a:lnTo>
                      <a:pt x="36" y="240"/>
                    </a:lnTo>
                    <a:lnTo>
                      <a:pt x="48" y="264"/>
                    </a:lnTo>
                    <a:lnTo>
                      <a:pt x="54" y="270"/>
                    </a:lnTo>
                    <a:lnTo>
                      <a:pt x="54" y="294"/>
                    </a:lnTo>
                    <a:lnTo>
                      <a:pt x="72" y="330"/>
                    </a:lnTo>
                    <a:lnTo>
                      <a:pt x="84" y="336"/>
                    </a:lnTo>
                    <a:lnTo>
                      <a:pt x="102" y="354"/>
                    </a:lnTo>
                    <a:lnTo>
                      <a:pt x="132" y="354"/>
                    </a:lnTo>
                    <a:lnTo>
                      <a:pt x="138" y="360"/>
                    </a:lnTo>
                    <a:lnTo>
                      <a:pt x="138" y="390"/>
                    </a:lnTo>
                    <a:lnTo>
                      <a:pt x="168" y="390"/>
                    </a:lnTo>
                    <a:lnTo>
                      <a:pt x="174" y="414"/>
                    </a:lnTo>
                    <a:lnTo>
                      <a:pt x="168" y="420"/>
                    </a:lnTo>
                    <a:lnTo>
                      <a:pt x="168" y="450"/>
                    </a:lnTo>
                    <a:lnTo>
                      <a:pt x="186" y="450"/>
                    </a:lnTo>
                    <a:lnTo>
                      <a:pt x="186" y="480"/>
                    </a:lnTo>
                    <a:lnTo>
                      <a:pt x="198" y="480"/>
                    </a:lnTo>
                    <a:lnTo>
                      <a:pt x="216" y="486"/>
                    </a:lnTo>
                    <a:lnTo>
                      <a:pt x="228" y="486"/>
                    </a:lnTo>
                    <a:lnTo>
                      <a:pt x="246" y="492"/>
                    </a:lnTo>
                    <a:lnTo>
                      <a:pt x="264" y="510"/>
                    </a:lnTo>
                    <a:lnTo>
                      <a:pt x="270" y="522"/>
                    </a:lnTo>
                    <a:lnTo>
                      <a:pt x="270" y="528"/>
                    </a:lnTo>
                    <a:lnTo>
                      <a:pt x="252" y="528"/>
                    </a:lnTo>
                    <a:lnTo>
                      <a:pt x="312" y="528"/>
                    </a:lnTo>
                    <a:lnTo>
                      <a:pt x="324" y="534"/>
                    </a:lnTo>
                    <a:lnTo>
                      <a:pt x="330" y="534"/>
                    </a:lnTo>
                    <a:lnTo>
                      <a:pt x="342" y="540"/>
                    </a:lnTo>
                    <a:lnTo>
                      <a:pt x="402" y="540"/>
                    </a:lnTo>
                    <a:lnTo>
                      <a:pt x="420" y="552"/>
                    </a:lnTo>
                    <a:lnTo>
                      <a:pt x="486" y="468"/>
                    </a:lnTo>
                    <a:lnTo>
                      <a:pt x="504" y="462"/>
                    </a:lnTo>
                    <a:lnTo>
                      <a:pt x="492" y="444"/>
                    </a:lnTo>
                    <a:lnTo>
                      <a:pt x="504" y="432"/>
                    </a:lnTo>
                    <a:lnTo>
                      <a:pt x="504" y="402"/>
                    </a:lnTo>
                    <a:lnTo>
                      <a:pt x="516" y="396"/>
                    </a:lnTo>
                    <a:lnTo>
                      <a:pt x="528" y="384"/>
                    </a:lnTo>
                    <a:lnTo>
                      <a:pt x="528" y="372"/>
                    </a:lnTo>
                    <a:lnTo>
                      <a:pt x="540" y="360"/>
                    </a:lnTo>
                    <a:lnTo>
                      <a:pt x="546" y="348"/>
                    </a:lnTo>
                    <a:lnTo>
                      <a:pt x="546" y="342"/>
                    </a:lnTo>
                    <a:lnTo>
                      <a:pt x="522" y="318"/>
                    </a:lnTo>
                    <a:lnTo>
                      <a:pt x="522" y="306"/>
                    </a:lnTo>
                    <a:lnTo>
                      <a:pt x="540" y="288"/>
                    </a:lnTo>
                    <a:lnTo>
                      <a:pt x="522" y="264"/>
                    </a:lnTo>
                    <a:lnTo>
                      <a:pt x="540" y="252"/>
                    </a:lnTo>
                    <a:lnTo>
                      <a:pt x="540" y="240"/>
                    </a:lnTo>
                    <a:lnTo>
                      <a:pt x="546" y="240"/>
                    </a:lnTo>
                    <a:lnTo>
                      <a:pt x="546" y="234"/>
                    </a:lnTo>
                    <a:lnTo>
                      <a:pt x="552" y="228"/>
                    </a:lnTo>
                    <a:lnTo>
                      <a:pt x="552" y="216"/>
                    </a:lnTo>
                    <a:lnTo>
                      <a:pt x="540" y="192"/>
                    </a:lnTo>
                    <a:lnTo>
                      <a:pt x="540" y="180"/>
                    </a:lnTo>
                    <a:lnTo>
                      <a:pt x="546" y="174"/>
                    </a:lnTo>
                    <a:lnTo>
                      <a:pt x="546" y="168"/>
                    </a:lnTo>
                    <a:lnTo>
                      <a:pt x="552" y="162"/>
                    </a:lnTo>
                    <a:lnTo>
                      <a:pt x="540" y="150"/>
                    </a:lnTo>
                    <a:lnTo>
                      <a:pt x="552" y="138"/>
                    </a:lnTo>
                    <a:lnTo>
                      <a:pt x="540" y="120"/>
                    </a:lnTo>
                    <a:lnTo>
                      <a:pt x="546" y="114"/>
                    </a:lnTo>
                    <a:lnTo>
                      <a:pt x="552" y="102"/>
                    </a:lnTo>
                    <a:lnTo>
                      <a:pt x="552" y="96"/>
                    </a:lnTo>
                    <a:lnTo>
                      <a:pt x="540" y="84"/>
                    </a:lnTo>
                    <a:lnTo>
                      <a:pt x="528" y="84"/>
                    </a:lnTo>
                    <a:lnTo>
                      <a:pt x="510" y="66"/>
                    </a:lnTo>
                    <a:lnTo>
                      <a:pt x="498" y="66"/>
                    </a:lnTo>
                    <a:lnTo>
                      <a:pt x="486" y="72"/>
                    </a:lnTo>
                    <a:lnTo>
                      <a:pt x="480" y="72"/>
                    </a:lnTo>
                    <a:lnTo>
                      <a:pt x="462" y="48"/>
                    </a:lnTo>
                    <a:lnTo>
                      <a:pt x="444" y="48"/>
                    </a:lnTo>
                    <a:lnTo>
                      <a:pt x="432" y="30"/>
                    </a:lnTo>
                    <a:lnTo>
                      <a:pt x="372" y="30"/>
                    </a:lnTo>
                    <a:lnTo>
                      <a:pt x="366" y="0"/>
                    </a:lnTo>
                    <a:lnTo>
                      <a:pt x="330" y="0"/>
                    </a:lnTo>
                    <a:lnTo>
                      <a:pt x="294" y="12"/>
                    </a:lnTo>
                    <a:lnTo>
                      <a:pt x="282" y="24"/>
                    </a:lnTo>
                    <a:lnTo>
                      <a:pt x="258" y="36"/>
                    </a:lnTo>
                    <a:lnTo>
                      <a:pt x="258" y="72"/>
                    </a:lnTo>
                    <a:lnTo>
                      <a:pt x="252" y="78"/>
                    </a:lnTo>
                    <a:lnTo>
                      <a:pt x="240" y="78"/>
                    </a:lnTo>
                    <a:lnTo>
                      <a:pt x="228" y="84"/>
                    </a:lnTo>
                    <a:lnTo>
                      <a:pt x="210" y="90"/>
                    </a:lnTo>
                    <a:lnTo>
                      <a:pt x="198" y="96"/>
                    </a:lnTo>
                    <a:lnTo>
                      <a:pt x="192" y="102"/>
                    </a:lnTo>
                    <a:lnTo>
                      <a:pt x="180" y="126"/>
                    </a:lnTo>
                    <a:lnTo>
                      <a:pt x="174" y="132"/>
                    </a:lnTo>
                    <a:lnTo>
                      <a:pt x="174" y="138"/>
                    </a:lnTo>
                    <a:lnTo>
                      <a:pt x="168" y="144"/>
                    </a:lnTo>
                    <a:lnTo>
                      <a:pt x="162" y="156"/>
                    </a:lnTo>
                    <a:lnTo>
                      <a:pt x="132" y="186"/>
                    </a:lnTo>
                    <a:lnTo>
                      <a:pt x="108" y="198"/>
                    </a:lnTo>
                    <a:lnTo>
                      <a:pt x="90" y="198"/>
                    </a:lnTo>
                    <a:lnTo>
                      <a:pt x="90" y="192"/>
                    </a:lnTo>
                    <a:lnTo>
                      <a:pt x="78" y="180"/>
                    </a:lnTo>
                    <a:lnTo>
                      <a:pt x="66" y="180"/>
                    </a:lnTo>
                    <a:lnTo>
                      <a:pt x="66" y="192"/>
                    </a:lnTo>
                    <a:lnTo>
                      <a:pt x="54" y="192"/>
                    </a:lnTo>
                    <a:lnTo>
                      <a:pt x="42" y="180"/>
                    </a:lnTo>
                    <a:lnTo>
                      <a:pt x="42" y="174"/>
                    </a:lnTo>
                    <a:lnTo>
                      <a:pt x="0" y="174"/>
                    </a:lnTo>
                    <a:lnTo>
                      <a:pt x="6" y="192"/>
                    </a:lnTo>
                    <a:lnTo>
                      <a:pt x="18" y="204"/>
                    </a:lnTo>
                    <a:close/>
                  </a:path>
                </a:pathLst>
              </a:custGeom>
              <a:solidFill>
                <a:srgbClr val="9D90A0">
                  <a:lumMod val="40000"/>
                  <a:lumOff val="60000"/>
                </a:srgbClr>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113" name="Zambia" descr="© INSCALE GmbH, 05.05.2010&#10;http://www.presentationload.com/">
                <a:extLst>
                  <a:ext uri="{FF2B5EF4-FFF2-40B4-BE49-F238E27FC236}">
                    <a16:creationId xmlns:a16="http://schemas.microsoft.com/office/drawing/2014/main" id="{6D02DE7F-8A13-4496-B87C-513EA7D247A0}"/>
                  </a:ext>
                </a:extLst>
              </p:cNvPr>
              <p:cNvSpPr>
                <a:spLocks/>
              </p:cNvSpPr>
              <p:nvPr/>
            </p:nvSpPr>
            <p:spPr bwMode="gray">
              <a:xfrm>
                <a:off x="4830868" y="4841663"/>
                <a:ext cx="329141" cy="350005"/>
              </a:xfrm>
              <a:custGeom>
                <a:avLst/>
                <a:gdLst>
                  <a:gd name="T0" fmla="*/ 2147483647 w 834"/>
                  <a:gd name="T1" fmla="*/ 2147483647 h 798"/>
                  <a:gd name="T2" fmla="*/ 2147483647 w 834"/>
                  <a:gd name="T3" fmla="*/ 2147483647 h 798"/>
                  <a:gd name="T4" fmla="*/ 2147483647 w 834"/>
                  <a:gd name="T5" fmla="*/ 2147483647 h 798"/>
                  <a:gd name="T6" fmla="*/ 2147483647 w 834"/>
                  <a:gd name="T7" fmla="*/ 2147483647 h 798"/>
                  <a:gd name="T8" fmla="*/ 2147483647 w 834"/>
                  <a:gd name="T9" fmla="*/ 2147483647 h 798"/>
                  <a:gd name="T10" fmla="*/ 2147483647 w 834"/>
                  <a:gd name="T11" fmla="*/ 2147483647 h 798"/>
                  <a:gd name="T12" fmla="*/ 2147483647 w 834"/>
                  <a:gd name="T13" fmla="*/ 2147483647 h 798"/>
                  <a:gd name="T14" fmla="*/ 2147483647 w 834"/>
                  <a:gd name="T15" fmla="*/ 2147483647 h 798"/>
                  <a:gd name="T16" fmla="*/ 2147483647 w 834"/>
                  <a:gd name="T17" fmla="*/ 2147483647 h 798"/>
                  <a:gd name="T18" fmla="*/ 2147483647 w 834"/>
                  <a:gd name="T19" fmla="*/ 2147483647 h 798"/>
                  <a:gd name="T20" fmla="*/ 2147483647 w 834"/>
                  <a:gd name="T21" fmla="*/ 2147483647 h 798"/>
                  <a:gd name="T22" fmla="*/ 2147483647 w 834"/>
                  <a:gd name="T23" fmla="*/ 2147483647 h 798"/>
                  <a:gd name="T24" fmla="*/ 2147483647 w 834"/>
                  <a:gd name="T25" fmla="*/ 2147483647 h 798"/>
                  <a:gd name="T26" fmla="*/ 2147483647 w 834"/>
                  <a:gd name="T27" fmla="*/ 2147483647 h 798"/>
                  <a:gd name="T28" fmla="*/ 2147483647 w 834"/>
                  <a:gd name="T29" fmla="*/ 2147483647 h 798"/>
                  <a:gd name="T30" fmla="*/ 2147483647 w 834"/>
                  <a:gd name="T31" fmla="*/ 2147483647 h 798"/>
                  <a:gd name="T32" fmla="*/ 2147483647 w 834"/>
                  <a:gd name="T33" fmla="*/ 2147483647 h 798"/>
                  <a:gd name="T34" fmla="*/ 2147483647 w 834"/>
                  <a:gd name="T35" fmla="*/ 2147483647 h 798"/>
                  <a:gd name="T36" fmla="*/ 2147483647 w 834"/>
                  <a:gd name="T37" fmla="*/ 2147483647 h 798"/>
                  <a:gd name="T38" fmla="*/ 2147483647 w 834"/>
                  <a:gd name="T39" fmla="*/ 2147483647 h 798"/>
                  <a:gd name="T40" fmla="*/ 2147483647 w 834"/>
                  <a:gd name="T41" fmla="*/ 2147483647 h 798"/>
                  <a:gd name="T42" fmla="*/ 2147483647 w 834"/>
                  <a:gd name="T43" fmla="*/ 2147483647 h 798"/>
                  <a:gd name="T44" fmla="*/ 2147483647 w 834"/>
                  <a:gd name="T45" fmla="*/ 2147483647 h 798"/>
                  <a:gd name="T46" fmla="*/ 2147483647 w 834"/>
                  <a:gd name="T47" fmla="*/ 2147483647 h 798"/>
                  <a:gd name="T48" fmla="*/ 2147483647 w 834"/>
                  <a:gd name="T49" fmla="*/ 2147483647 h 798"/>
                  <a:gd name="T50" fmla="*/ 2147483647 w 834"/>
                  <a:gd name="T51" fmla="*/ 2147483647 h 798"/>
                  <a:gd name="T52" fmla="*/ 2147483647 w 834"/>
                  <a:gd name="T53" fmla="*/ 2147483647 h 798"/>
                  <a:gd name="T54" fmla="*/ 2147483647 w 834"/>
                  <a:gd name="T55" fmla="*/ 2147483647 h 798"/>
                  <a:gd name="T56" fmla="*/ 2147483647 w 834"/>
                  <a:gd name="T57" fmla="*/ 2147483647 h 798"/>
                  <a:gd name="T58" fmla="*/ 2147483647 w 834"/>
                  <a:gd name="T59" fmla="*/ 2147483647 h 798"/>
                  <a:gd name="T60" fmla="*/ 2147483647 w 834"/>
                  <a:gd name="T61" fmla="*/ 2147483647 h 798"/>
                  <a:gd name="T62" fmla="*/ 2147483647 w 834"/>
                  <a:gd name="T63" fmla="*/ 2147483647 h 798"/>
                  <a:gd name="T64" fmla="*/ 2147483647 w 834"/>
                  <a:gd name="T65" fmla="*/ 2147483647 h 798"/>
                  <a:gd name="T66" fmla="*/ 2147483647 w 834"/>
                  <a:gd name="T67" fmla="*/ 2147483647 h 798"/>
                  <a:gd name="T68" fmla="*/ 2147483647 w 834"/>
                  <a:gd name="T69" fmla="*/ 2147483647 h 798"/>
                  <a:gd name="T70" fmla="*/ 2147483647 w 834"/>
                  <a:gd name="T71" fmla="*/ 2147483647 h 798"/>
                  <a:gd name="T72" fmla="*/ 2147483647 w 834"/>
                  <a:gd name="T73" fmla="*/ 2147483647 h 798"/>
                  <a:gd name="T74" fmla="*/ 2147483647 w 834"/>
                  <a:gd name="T75" fmla="*/ 2147483647 h 798"/>
                  <a:gd name="T76" fmla="*/ 2147483647 w 834"/>
                  <a:gd name="T77" fmla="*/ 2147483647 h 798"/>
                  <a:gd name="T78" fmla="*/ 2147483647 w 834"/>
                  <a:gd name="T79" fmla="*/ 2147483647 h 798"/>
                  <a:gd name="T80" fmla="*/ 2147483647 w 834"/>
                  <a:gd name="T81" fmla="*/ 2147483647 h 798"/>
                  <a:gd name="T82" fmla="*/ 2147483647 w 834"/>
                  <a:gd name="T83" fmla="*/ 2147483647 h 798"/>
                  <a:gd name="T84" fmla="*/ 2147483647 w 834"/>
                  <a:gd name="T85" fmla="*/ 2147483647 h 798"/>
                  <a:gd name="T86" fmla="*/ 2147483647 w 834"/>
                  <a:gd name="T87" fmla="*/ 2147483647 h 798"/>
                  <a:gd name="T88" fmla="*/ 2147483647 w 834"/>
                  <a:gd name="T89" fmla="*/ 2147483647 h 798"/>
                  <a:gd name="T90" fmla="*/ 2147483647 w 834"/>
                  <a:gd name="T91" fmla="*/ 2147483647 h 798"/>
                  <a:gd name="T92" fmla="*/ 2147483647 w 834"/>
                  <a:gd name="T93" fmla="*/ 2147483647 h 798"/>
                  <a:gd name="T94" fmla="*/ 2147483647 w 834"/>
                  <a:gd name="T95" fmla="*/ 2147483647 h 798"/>
                  <a:gd name="T96" fmla="*/ 2147483647 w 834"/>
                  <a:gd name="T97" fmla="*/ 2147483647 h 798"/>
                  <a:gd name="T98" fmla="*/ 2147483647 w 834"/>
                  <a:gd name="T99" fmla="*/ 2147483647 h 798"/>
                  <a:gd name="T100" fmla="*/ 2147483647 w 834"/>
                  <a:gd name="T101" fmla="*/ 2147483647 h 798"/>
                  <a:gd name="T102" fmla="*/ 2147483647 w 834"/>
                  <a:gd name="T103" fmla="*/ 2147483647 h 798"/>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834"/>
                  <a:gd name="T157" fmla="*/ 0 h 798"/>
                  <a:gd name="T158" fmla="*/ 834 w 834"/>
                  <a:gd name="T159" fmla="*/ 798 h 798"/>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834" h="798">
                    <a:moveTo>
                      <a:pt x="822" y="186"/>
                    </a:moveTo>
                    <a:lnTo>
                      <a:pt x="822" y="162"/>
                    </a:lnTo>
                    <a:lnTo>
                      <a:pt x="816" y="168"/>
                    </a:lnTo>
                    <a:lnTo>
                      <a:pt x="810" y="168"/>
                    </a:lnTo>
                    <a:lnTo>
                      <a:pt x="810" y="126"/>
                    </a:lnTo>
                    <a:lnTo>
                      <a:pt x="798" y="114"/>
                    </a:lnTo>
                    <a:lnTo>
                      <a:pt x="786" y="114"/>
                    </a:lnTo>
                    <a:lnTo>
                      <a:pt x="786" y="102"/>
                    </a:lnTo>
                    <a:lnTo>
                      <a:pt x="768" y="90"/>
                    </a:lnTo>
                    <a:lnTo>
                      <a:pt x="750" y="90"/>
                    </a:lnTo>
                    <a:lnTo>
                      <a:pt x="750" y="72"/>
                    </a:lnTo>
                    <a:lnTo>
                      <a:pt x="738" y="78"/>
                    </a:lnTo>
                    <a:lnTo>
                      <a:pt x="726" y="78"/>
                    </a:lnTo>
                    <a:lnTo>
                      <a:pt x="708" y="60"/>
                    </a:lnTo>
                    <a:lnTo>
                      <a:pt x="690" y="60"/>
                    </a:lnTo>
                    <a:lnTo>
                      <a:pt x="684" y="54"/>
                    </a:lnTo>
                    <a:lnTo>
                      <a:pt x="684" y="36"/>
                    </a:lnTo>
                    <a:lnTo>
                      <a:pt x="672" y="42"/>
                    </a:lnTo>
                    <a:lnTo>
                      <a:pt x="654" y="42"/>
                    </a:lnTo>
                    <a:lnTo>
                      <a:pt x="648" y="54"/>
                    </a:lnTo>
                    <a:lnTo>
                      <a:pt x="642" y="60"/>
                    </a:lnTo>
                    <a:lnTo>
                      <a:pt x="636" y="60"/>
                    </a:lnTo>
                    <a:lnTo>
                      <a:pt x="624" y="48"/>
                    </a:lnTo>
                    <a:lnTo>
                      <a:pt x="624" y="36"/>
                    </a:lnTo>
                    <a:lnTo>
                      <a:pt x="618" y="30"/>
                    </a:lnTo>
                    <a:lnTo>
                      <a:pt x="606" y="30"/>
                    </a:lnTo>
                    <a:lnTo>
                      <a:pt x="600" y="24"/>
                    </a:lnTo>
                    <a:lnTo>
                      <a:pt x="594" y="24"/>
                    </a:lnTo>
                    <a:lnTo>
                      <a:pt x="594" y="6"/>
                    </a:lnTo>
                    <a:lnTo>
                      <a:pt x="600" y="0"/>
                    </a:lnTo>
                    <a:lnTo>
                      <a:pt x="576" y="12"/>
                    </a:lnTo>
                    <a:lnTo>
                      <a:pt x="558" y="12"/>
                    </a:lnTo>
                    <a:lnTo>
                      <a:pt x="546" y="18"/>
                    </a:lnTo>
                    <a:lnTo>
                      <a:pt x="528" y="18"/>
                    </a:lnTo>
                    <a:lnTo>
                      <a:pt x="510" y="24"/>
                    </a:lnTo>
                    <a:lnTo>
                      <a:pt x="498" y="24"/>
                    </a:lnTo>
                    <a:lnTo>
                      <a:pt x="498" y="54"/>
                    </a:lnTo>
                    <a:lnTo>
                      <a:pt x="480" y="72"/>
                    </a:lnTo>
                    <a:lnTo>
                      <a:pt x="468" y="78"/>
                    </a:lnTo>
                    <a:lnTo>
                      <a:pt x="462" y="84"/>
                    </a:lnTo>
                    <a:lnTo>
                      <a:pt x="456" y="84"/>
                    </a:lnTo>
                    <a:lnTo>
                      <a:pt x="468" y="96"/>
                    </a:lnTo>
                    <a:lnTo>
                      <a:pt x="468" y="102"/>
                    </a:lnTo>
                    <a:lnTo>
                      <a:pt x="474" y="108"/>
                    </a:lnTo>
                    <a:lnTo>
                      <a:pt x="474" y="114"/>
                    </a:lnTo>
                    <a:lnTo>
                      <a:pt x="480" y="120"/>
                    </a:lnTo>
                    <a:lnTo>
                      <a:pt x="480" y="144"/>
                    </a:lnTo>
                    <a:lnTo>
                      <a:pt x="486" y="162"/>
                    </a:lnTo>
                    <a:lnTo>
                      <a:pt x="486" y="216"/>
                    </a:lnTo>
                    <a:lnTo>
                      <a:pt x="474" y="228"/>
                    </a:lnTo>
                    <a:lnTo>
                      <a:pt x="468" y="240"/>
                    </a:lnTo>
                    <a:lnTo>
                      <a:pt x="462" y="258"/>
                    </a:lnTo>
                    <a:lnTo>
                      <a:pt x="456" y="270"/>
                    </a:lnTo>
                    <a:lnTo>
                      <a:pt x="456" y="294"/>
                    </a:lnTo>
                    <a:lnTo>
                      <a:pt x="468" y="306"/>
                    </a:lnTo>
                    <a:lnTo>
                      <a:pt x="474" y="306"/>
                    </a:lnTo>
                    <a:lnTo>
                      <a:pt x="474" y="312"/>
                    </a:lnTo>
                    <a:lnTo>
                      <a:pt x="480" y="312"/>
                    </a:lnTo>
                    <a:lnTo>
                      <a:pt x="510" y="342"/>
                    </a:lnTo>
                    <a:lnTo>
                      <a:pt x="522" y="348"/>
                    </a:lnTo>
                    <a:lnTo>
                      <a:pt x="528" y="348"/>
                    </a:lnTo>
                    <a:lnTo>
                      <a:pt x="534" y="342"/>
                    </a:lnTo>
                    <a:lnTo>
                      <a:pt x="534" y="324"/>
                    </a:lnTo>
                    <a:lnTo>
                      <a:pt x="558" y="324"/>
                    </a:lnTo>
                    <a:lnTo>
                      <a:pt x="558" y="372"/>
                    </a:lnTo>
                    <a:lnTo>
                      <a:pt x="552" y="408"/>
                    </a:lnTo>
                    <a:lnTo>
                      <a:pt x="546" y="426"/>
                    </a:lnTo>
                    <a:lnTo>
                      <a:pt x="540" y="426"/>
                    </a:lnTo>
                    <a:lnTo>
                      <a:pt x="540" y="420"/>
                    </a:lnTo>
                    <a:lnTo>
                      <a:pt x="534" y="408"/>
                    </a:lnTo>
                    <a:lnTo>
                      <a:pt x="516" y="420"/>
                    </a:lnTo>
                    <a:lnTo>
                      <a:pt x="498" y="420"/>
                    </a:lnTo>
                    <a:lnTo>
                      <a:pt x="498" y="408"/>
                    </a:lnTo>
                    <a:lnTo>
                      <a:pt x="492" y="396"/>
                    </a:lnTo>
                    <a:lnTo>
                      <a:pt x="492" y="384"/>
                    </a:lnTo>
                    <a:lnTo>
                      <a:pt x="480" y="372"/>
                    </a:lnTo>
                    <a:lnTo>
                      <a:pt x="468" y="372"/>
                    </a:lnTo>
                    <a:lnTo>
                      <a:pt x="462" y="360"/>
                    </a:lnTo>
                    <a:lnTo>
                      <a:pt x="462" y="354"/>
                    </a:lnTo>
                    <a:lnTo>
                      <a:pt x="456" y="342"/>
                    </a:lnTo>
                    <a:lnTo>
                      <a:pt x="450" y="336"/>
                    </a:lnTo>
                    <a:lnTo>
                      <a:pt x="444" y="336"/>
                    </a:lnTo>
                    <a:lnTo>
                      <a:pt x="438" y="342"/>
                    </a:lnTo>
                    <a:lnTo>
                      <a:pt x="426" y="342"/>
                    </a:lnTo>
                    <a:lnTo>
                      <a:pt x="426" y="330"/>
                    </a:lnTo>
                    <a:lnTo>
                      <a:pt x="420" y="324"/>
                    </a:lnTo>
                    <a:lnTo>
                      <a:pt x="390" y="324"/>
                    </a:lnTo>
                    <a:lnTo>
                      <a:pt x="390" y="312"/>
                    </a:lnTo>
                    <a:lnTo>
                      <a:pt x="396" y="312"/>
                    </a:lnTo>
                    <a:lnTo>
                      <a:pt x="396" y="300"/>
                    </a:lnTo>
                    <a:lnTo>
                      <a:pt x="384" y="300"/>
                    </a:lnTo>
                    <a:lnTo>
                      <a:pt x="378" y="294"/>
                    </a:lnTo>
                    <a:lnTo>
                      <a:pt x="378" y="282"/>
                    </a:lnTo>
                    <a:lnTo>
                      <a:pt x="366" y="270"/>
                    </a:lnTo>
                    <a:lnTo>
                      <a:pt x="360" y="270"/>
                    </a:lnTo>
                    <a:lnTo>
                      <a:pt x="354" y="276"/>
                    </a:lnTo>
                    <a:lnTo>
                      <a:pt x="354" y="294"/>
                    </a:lnTo>
                    <a:lnTo>
                      <a:pt x="348" y="300"/>
                    </a:lnTo>
                    <a:lnTo>
                      <a:pt x="348" y="306"/>
                    </a:lnTo>
                    <a:lnTo>
                      <a:pt x="330" y="306"/>
                    </a:lnTo>
                    <a:lnTo>
                      <a:pt x="300" y="300"/>
                    </a:lnTo>
                    <a:lnTo>
                      <a:pt x="264" y="294"/>
                    </a:lnTo>
                    <a:lnTo>
                      <a:pt x="246" y="282"/>
                    </a:lnTo>
                    <a:lnTo>
                      <a:pt x="240" y="276"/>
                    </a:lnTo>
                    <a:lnTo>
                      <a:pt x="234" y="264"/>
                    </a:lnTo>
                    <a:lnTo>
                      <a:pt x="234" y="246"/>
                    </a:lnTo>
                    <a:lnTo>
                      <a:pt x="192" y="252"/>
                    </a:lnTo>
                    <a:lnTo>
                      <a:pt x="198" y="258"/>
                    </a:lnTo>
                    <a:lnTo>
                      <a:pt x="198" y="264"/>
                    </a:lnTo>
                    <a:lnTo>
                      <a:pt x="180" y="264"/>
                    </a:lnTo>
                    <a:lnTo>
                      <a:pt x="174" y="258"/>
                    </a:lnTo>
                    <a:lnTo>
                      <a:pt x="174" y="228"/>
                    </a:lnTo>
                    <a:lnTo>
                      <a:pt x="156" y="228"/>
                    </a:lnTo>
                    <a:lnTo>
                      <a:pt x="150" y="216"/>
                    </a:lnTo>
                    <a:lnTo>
                      <a:pt x="144" y="234"/>
                    </a:lnTo>
                    <a:lnTo>
                      <a:pt x="144" y="240"/>
                    </a:lnTo>
                    <a:lnTo>
                      <a:pt x="156" y="252"/>
                    </a:lnTo>
                    <a:lnTo>
                      <a:pt x="156" y="270"/>
                    </a:lnTo>
                    <a:lnTo>
                      <a:pt x="150" y="276"/>
                    </a:lnTo>
                    <a:lnTo>
                      <a:pt x="144" y="276"/>
                    </a:lnTo>
                    <a:lnTo>
                      <a:pt x="144" y="330"/>
                    </a:lnTo>
                    <a:lnTo>
                      <a:pt x="156" y="342"/>
                    </a:lnTo>
                    <a:lnTo>
                      <a:pt x="138" y="348"/>
                    </a:lnTo>
                    <a:lnTo>
                      <a:pt x="138" y="354"/>
                    </a:lnTo>
                    <a:lnTo>
                      <a:pt x="144" y="360"/>
                    </a:lnTo>
                    <a:lnTo>
                      <a:pt x="144" y="384"/>
                    </a:lnTo>
                    <a:lnTo>
                      <a:pt x="132" y="396"/>
                    </a:lnTo>
                    <a:lnTo>
                      <a:pt x="126" y="396"/>
                    </a:lnTo>
                    <a:lnTo>
                      <a:pt x="0" y="390"/>
                    </a:lnTo>
                    <a:lnTo>
                      <a:pt x="0" y="642"/>
                    </a:lnTo>
                    <a:lnTo>
                      <a:pt x="6" y="654"/>
                    </a:lnTo>
                    <a:lnTo>
                      <a:pt x="6" y="672"/>
                    </a:lnTo>
                    <a:lnTo>
                      <a:pt x="96" y="762"/>
                    </a:lnTo>
                    <a:lnTo>
                      <a:pt x="114" y="768"/>
                    </a:lnTo>
                    <a:lnTo>
                      <a:pt x="138" y="756"/>
                    </a:lnTo>
                    <a:lnTo>
                      <a:pt x="144" y="756"/>
                    </a:lnTo>
                    <a:lnTo>
                      <a:pt x="150" y="750"/>
                    </a:lnTo>
                    <a:lnTo>
                      <a:pt x="168" y="750"/>
                    </a:lnTo>
                    <a:lnTo>
                      <a:pt x="174" y="756"/>
                    </a:lnTo>
                    <a:lnTo>
                      <a:pt x="174" y="762"/>
                    </a:lnTo>
                    <a:lnTo>
                      <a:pt x="204" y="756"/>
                    </a:lnTo>
                    <a:lnTo>
                      <a:pt x="222" y="774"/>
                    </a:lnTo>
                    <a:lnTo>
                      <a:pt x="264" y="774"/>
                    </a:lnTo>
                    <a:lnTo>
                      <a:pt x="264" y="780"/>
                    </a:lnTo>
                    <a:lnTo>
                      <a:pt x="276" y="792"/>
                    </a:lnTo>
                    <a:lnTo>
                      <a:pt x="288" y="792"/>
                    </a:lnTo>
                    <a:lnTo>
                      <a:pt x="288" y="780"/>
                    </a:lnTo>
                    <a:lnTo>
                      <a:pt x="300" y="780"/>
                    </a:lnTo>
                    <a:lnTo>
                      <a:pt x="312" y="792"/>
                    </a:lnTo>
                    <a:lnTo>
                      <a:pt x="312" y="798"/>
                    </a:lnTo>
                    <a:lnTo>
                      <a:pt x="330" y="798"/>
                    </a:lnTo>
                    <a:lnTo>
                      <a:pt x="354" y="786"/>
                    </a:lnTo>
                    <a:lnTo>
                      <a:pt x="384" y="756"/>
                    </a:lnTo>
                    <a:lnTo>
                      <a:pt x="390" y="744"/>
                    </a:lnTo>
                    <a:lnTo>
                      <a:pt x="396" y="738"/>
                    </a:lnTo>
                    <a:lnTo>
                      <a:pt x="396" y="732"/>
                    </a:lnTo>
                    <a:lnTo>
                      <a:pt x="402" y="726"/>
                    </a:lnTo>
                    <a:lnTo>
                      <a:pt x="414" y="702"/>
                    </a:lnTo>
                    <a:lnTo>
                      <a:pt x="420" y="696"/>
                    </a:lnTo>
                    <a:lnTo>
                      <a:pt x="432" y="690"/>
                    </a:lnTo>
                    <a:lnTo>
                      <a:pt x="450" y="684"/>
                    </a:lnTo>
                    <a:lnTo>
                      <a:pt x="462" y="678"/>
                    </a:lnTo>
                    <a:lnTo>
                      <a:pt x="474" y="678"/>
                    </a:lnTo>
                    <a:lnTo>
                      <a:pt x="480" y="672"/>
                    </a:lnTo>
                    <a:lnTo>
                      <a:pt x="480" y="636"/>
                    </a:lnTo>
                    <a:lnTo>
                      <a:pt x="504" y="624"/>
                    </a:lnTo>
                    <a:lnTo>
                      <a:pt x="516" y="612"/>
                    </a:lnTo>
                    <a:lnTo>
                      <a:pt x="552" y="600"/>
                    </a:lnTo>
                    <a:lnTo>
                      <a:pt x="588" y="600"/>
                    </a:lnTo>
                    <a:lnTo>
                      <a:pt x="588" y="576"/>
                    </a:lnTo>
                    <a:lnTo>
                      <a:pt x="570" y="558"/>
                    </a:lnTo>
                    <a:lnTo>
                      <a:pt x="582" y="546"/>
                    </a:lnTo>
                    <a:lnTo>
                      <a:pt x="612" y="546"/>
                    </a:lnTo>
                    <a:lnTo>
                      <a:pt x="630" y="528"/>
                    </a:lnTo>
                    <a:lnTo>
                      <a:pt x="642" y="528"/>
                    </a:lnTo>
                    <a:lnTo>
                      <a:pt x="654" y="522"/>
                    </a:lnTo>
                    <a:lnTo>
                      <a:pt x="672" y="522"/>
                    </a:lnTo>
                    <a:lnTo>
                      <a:pt x="690" y="516"/>
                    </a:lnTo>
                    <a:lnTo>
                      <a:pt x="702" y="510"/>
                    </a:lnTo>
                    <a:lnTo>
                      <a:pt x="708" y="510"/>
                    </a:lnTo>
                    <a:lnTo>
                      <a:pt x="732" y="498"/>
                    </a:lnTo>
                    <a:lnTo>
                      <a:pt x="750" y="486"/>
                    </a:lnTo>
                    <a:lnTo>
                      <a:pt x="762" y="480"/>
                    </a:lnTo>
                    <a:lnTo>
                      <a:pt x="780" y="474"/>
                    </a:lnTo>
                    <a:lnTo>
                      <a:pt x="786" y="468"/>
                    </a:lnTo>
                    <a:lnTo>
                      <a:pt x="792" y="468"/>
                    </a:lnTo>
                    <a:lnTo>
                      <a:pt x="780" y="462"/>
                    </a:lnTo>
                    <a:lnTo>
                      <a:pt x="768" y="450"/>
                    </a:lnTo>
                    <a:lnTo>
                      <a:pt x="756" y="444"/>
                    </a:lnTo>
                    <a:lnTo>
                      <a:pt x="756" y="438"/>
                    </a:lnTo>
                    <a:lnTo>
                      <a:pt x="762" y="432"/>
                    </a:lnTo>
                    <a:lnTo>
                      <a:pt x="768" y="420"/>
                    </a:lnTo>
                    <a:lnTo>
                      <a:pt x="774" y="414"/>
                    </a:lnTo>
                    <a:lnTo>
                      <a:pt x="780" y="402"/>
                    </a:lnTo>
                    <a:lnTo>
                      <a:pt x="774" y="366"/>
                    </a:lnTo>
                    <a:lnTo>
                      <a:pt x="780" y="366"/>
                    </a:lnTo>
                    <a:lnTo>
                      <a:pt x="786" y="360"/>
                    </a:lnTo>
                    <a:lnTo>
                      <a:pt x="798" y="354"/>
                    </a:lnTo>
                    <a:lnTo>
                      <a:pt x="816" y="336"/>
                    </a:lnTo>
                    <a:lnTo>
                      <a:pt x="816" y="330"/>
                    </a:lnTo>
                    <a:lnTo>
                      <a:pt x="804" y="330"/>
                    </a:lnTo>
                    <a:lnTo>
                      <a:pt x="804" y="258"/>
                    </a:lnTo>
                    <a:lnTo>
                      <a:pt x="810" y="240"/>
                    </a:lnTo>
                    <a:lnTo>
                      <a:pt x="798" y="234"/>
                    </a:lnTo>
                    <a:lnTo>
                      <a:pt x="798" y="216"/>
                    </a:lnTo>
                    <a:lnTo>
                      <a:pt x="804" y="216"/>
                    </a:lnTo>
                    <a:lnTo>
                      <a:pt x="810" y="210"/>
                    </a:lnTo>
                    <a:lnTo>
                      <a:pt x="834" y="198"/>
                    </a:lnTo>
                    <a:lnTo>
                      <a:pt x="834" y="186"/>
                    </a:lnTo>
                    <a:lnTo>
                      <a:pt x="822" y="186"/>
                    </a:lnTo>
                    <a:close/>
                  </a:path>
                </a:pathLst>
              </a:custGeom>
              <a:solidFill>
                <a:srgbClr val="9D90A0">
                  <a:lumMod val="40000"/>
                  <a:lumOff val="60000"/>
                </a:srgbClr>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114" name="Yemen" descr="© INSCALE GmbH, 05.05.2010&#10;http://www.presentationload.com/">
                <a:extLst>
                  <a:ext uri="{FF2B5EF4-FFF2-40B4-BE49-F238E27FC236}">
                    <a16:creationId xmlns:a16="http://schemas.microsoft.com/office/drawing/2014/main" id="{BA1F3D29-9026-436B-BB17-A2E3DBAEC1DE}"/>
                  </a:ext>
                </a:extLst>
              </p:cNvPr>
              <p:cNvSpPr>
                <a:spLocks/>
              </p:cNvSpPr>
              <p:nvPr/>
            </p:nvSpPr>
            <p:spPr bwMode="gray">
              <a:xfrm>
                <a:off x="5404915" y="3880015"/>
                <a:ext cx="288584" cy="220053"/>
              </a:xfrm>
              <a:custGeom>
                <a:avLst/>
                <a:gdLst>
                  <a:gd name="T0" fmla="*/ 2147483647 w 732"/>
                  <a:gd name="T1" fmla="*/ 2147483647 h 498"/>
                  <a:gd name="T2" fmla="*/ 2147483647 w 732"/>
                  <a:gd name="T3" fmla="*/ 2147483647 h 498"/>
                  <a:gd name="T4" fmla="*/ 2147483647 w 732"/>
                  <a:gd name="T5" fmla="*/ 2147483647 h 498"/>
                  <a:gd name="T6" fmla="*/ 2147483647 w 732"/>
                  <a:gd name="T7" fmla="*/ 2147483647 h 498"/>
                  <a:gd name="T8" fmla="*/ 2147483647 w 732"/>
                  <a:gd name="T9" fmla="*/ 2147483647 h 498"/>
                  <a:gd name="T10" fmla="*/ 2147483647 w 732"/>
                  <a:gd name="T11" fmla="*/ 2147483647 h 498"/>
                  <a:gd name="T12" fmla="*/ 2147483647 w 732"/>
                  <a:gd name="T13" fmla="*/ 2147483647 h 498"/>
                  <a:gd name="T14" fmla="*/ 2147483647 w 732"/>
                  <a:gd name="T15" fmla="*/ 2147483647 h 498"/>
                  <a:gd name="T16" fmla="*/ 2147483647 w 732"/>
                  <a:gd name="T17" fmla="*/ 2147483647 h 498"/>
                  <a:gd name="T18" fmla="*/ 2147483647 w 732"/>
                  <a:gd name="T19" fmla="*/ 2147483647 h 498"/>
                  <a:gd name="T20" fmla="*/ 2147483647 w 732"/>
                  <a:gd name="T21" fmla="*/ 2147483647 h 498"/>
                  <a:gd name="T22" fmla="*/ 2147483647 w 732"/>
                  <a:gd name="T23" fmla="*/ 2147483647 h 498"/>
                  <a:gd name="T24" fmla="*/ 2147483647 w 732"/>
                  <a:gd name="T25" fmla="*/ 2147483647 h 498"/>
                  <a:gd name="T26" fmla="*/ 2147483647 w 732"/>
                  <a:gd name="T27" fmla="*/ 2147483647 h 498"/>
                  <a:gd name="T28" fmla="*/ 2147483647 w 732"/>
                  <a:gd name="T29" fmla="*/ 2147483647 h 498"/>
                  <a:gd name="T30" fmla="*/ 0 w 732"/>
                  <a:gd name="T31" fmla="*/ 2147483647 h 498"/>
                  <a:gd name="T32" fmla="*/ 2147483647 w 732"/>
                  <a:gd name="T33" fmla="*/ 2147483647 h 498"/>
                  <a:gd name="T34" fmla="*/ 2147483647 w 732"/>
                  <a:gd name="T35" fmla="*/ 2147483647 h 498"/>
                  <a:gd name="T36" fmla="*/ 2147483647 w 732"/>
                  <a:gd name="T37" fmla="*/ 2147483647 h 498"/>
                  <a:gd name="T38" fmla="*/ 2147483647 w 732"/>
                  <a:gd name="T39" fmla="*/ 2147483647 h 498"/>
                  <a:gd name="T40" fmla="*/ 2147483647 w 732"/>
                  <a:gd name="T41" fmla="*/ 2147483647 h 498"/>
                  <a:gd name="T42" fmla="*/ 2147483647 w 732"/>
                  <a:gd name="T43" fmla="*/ 2147483647 h 498"/>
                  <a:gd name="T44" fmla="*/ 2147483647 w 732"/>
                  <a:gd name="T45" fmla="*/ 2147483647 h 498"/>
                  <a:gd name="T46" fmla="*/ 2147483647 w 732"/>
                  <a:gd name="T47" fmla="*/ 2147483647 h 498"/>
                  <a:gd name="T48" fmla="*/ 2147483647 w 732"/>
                  <a:gd name="T49" fmla="*/ 2147483647 h 498"/>
                  <a:gd name="T50" fmla="*/ 2147483647 w 732"/>
                  <a:gd name="T51" fmla="*/ 2147483647 h 498"/>
                  <a:gd name="T52" fmla="*/ 2147483647 w 732"/>
                  <a:gd name="T53" fmla="*/ 2147483647 h 498"/>
                  <a:gd name="T54" fmla="*/ 2147483647 w 732"/>
                  <a:gd name="T55" fmla="*/ 2147483647 h 498"/>
                  <a:gd name="T56" fmla="*/ 2147483647 w 732"/>
                  <a:gd name="T57" fmla="*/ 2147483647 h 498"/>
                  <a:gd name="T58" fmla="*/ 2147483647 w 732"/>
                  <a:gd name="T59" fmla="*/ 2147483647 h 498"/>
                  <a:gd name="T60" fmla="*/ 2147483647 w 732"/>
                  <a:gd name="T61" fmla="*/ 2147483647 h 498"/>
                  <a:gd name="T62" fmla="*/ 2147483647 w 732"/>
                  <a:gd name="T63" fmla="*/ 2147483647 h 498"/>
                  <a:gd name="T64" fmla="*/ 2147483647 w 732"/>
                  <a:gd name="T65" fmla="*/ 2147483647 h 498"/>
                  <a:gd name="T66" fmla="*/ 2147483647 w 732"/>
                  <a:gd name="T67" fmla="*/ 2147483647 h 498"/>
                  <a:gd name="T68" fmla="*/ 2147483647 w 732"/>
                  <a:gd name="T69" fmla="*/ 2147483647 h 498"/>
                  <a:gd name="T70" fmla="*/ 2147483647 w 732"/>
                  <a:gd name="T71" fmla="*/ 2147483647 h 498"/>
                  <a:gd name="T72" fmla="*/ 2147483647 w 732"/>
                  <a:gd name="T73" fmla="*/ 2147483647 h 498"/>
                  <a:gd name="T74" fmla="*/ 2147483647 w 732"/>
                  <a:gd name="T75" fmla="*/ 2147483647 h 498"/>
                  <a:gd name="T76" fmla="*/ 2147483647 w 732"/>
                  <a:gd name="T77" fmla="*/ 0 h 498"/>
                  <a:gd name="T78" fmla="*/ 2147483647 w 732"/>
                  <a:gd name="T79" fmla="*/ 2147483647 h 498"/>
                  <a:gd name="T80" fmla="*/ 2147483647 w 732"/>
                  <a:gd name="T81" fmla="*/ 2147483647 h 4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732"/>
                  <a:gd name="T124" fmla="*/ 0 h 498"/>
                  <a:gd name="T125" fmla="*/ 732 w 732"/>
                  <a:gd name="T126" fmla="*/ 498 h 49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732" h="498">
                    <a:moveTo>
                      <a:pt x="468" y="24"/>
                    </a:moveTo>
                    <a:lnTo>
                      <a:pt x="450" y="30"/>
                    </a:lnTo>
                    <a:lnTo>
                      <a:pt x="420" y="36"/>
                    </a:lnTo>
                    <a:lnTo>
                      <a:pt x="390" y="54"/>
                    </a:lnTo>
                    <a:lnTo>
                      <a:pt x="372" y="72"/>
                    </a:lnTo>
                    <a:lnTo>
                      <a:pt x="366" y="84"/>
                    </a:lnTo>
                    <a:lnTo>
                      <a:pt x="354" y="96"/>
                    </a:lnTo>
                    <a:lnTo>
                      <a:pt x="348" y="108"/>
                    </a:lnTo>
                    <a:lnTo>
                      <a:pt x="342" y="114"/>
                    </a:lnTo>
                    <a:lnTo>
                      <a:pt x="336" y="126"/>
                    </a:lnTo>
                    <a:lnTo>
                      <a:pt x="336" y="144"/>
                    </a:lnTo>
                    <a:lnTo>
                      <a:pt x="330" y="150"/>
                    </a:lnTo>
                    <a:lnTo>
                      <a:pt x="324" y="162"/>
                    </a:lnTo>
                    <a:lnTo>
                      <a:pt x="312" y="162"/>
                    </a:lnTo>
                    <a:lnTo>
                      <a:pt x="300" y="156"/>
                    </a:lnTo>
                    <a:lnTo>
                      <a:pt x="294" y="144"/>
                    </a:lnTo>
                    <a:lnTo>
                      <a:pt x="288" y="138"/>
                    </a:lnTo>
                    <a:lnTo>
                      <a:pt x="210" y="138"/>
                    </a:lnTo>
                    <a:lnTo>
                      <a:pt x="204" y="132"/>
                    </a:lnTo>
                    <a:lnTo>
                      <a:pt x="192" y="126"/>
                    </a:lnTo>
                    <a:lnTo>
                      <a:pt x="102" y="126"/>
                    </a:lnTo>
                    <a:lnTo>
                      <a:pt x="96" y="132"/>
                    </a:lnTo>
                    <a:lnTo>
                      <a:pt x="72" y="138"/>
                    </a:lnTo>
                    <a:lnTo>
                      <a:pt x="54" y="120"/>
                    </a:lnTo>
                    <a:lnTo>
                      <a:pt x="48" y="120"/>
                    </a:lnTo>
                    <a:lnTo>
                      <a:pt x="42" y="126"/>
                    </a:lnTo>
                    <a:lnTo>
                      <a:pt x="36" y="138"/>
                    </a:lnTo>
                    <a:lnTo>
                      <a:pt x="36" y="186"/>
                    </a:lnTo>
                    <a:lnTo>
                      <a:pt x="30" y="192"/>
                    </a:lnTo>
                    <a:lnTo>
                      <a:pt x="24" y="204"/>
                    </a:lnTo>
                    <a:lnTo>
                      <a:pt x="12" y="216"/>
                    </a:lnTo>
                    <a:lnTo>
                      <a:pt x="0" y="252"/>
                    </a:lnTo>
                    <a:lnTo>
                      <a:pt x="0" y="258"/>
                    </a:lnTo>
                    <a:lnTo>
                      <a:pt x="18" y="276"/>
                    </a:lnTo>
                    <a:lnTo>
                      <a:pt x="24" y="288"/>
                    </a:lnTo>
                    <a:lnTo>
                      <a:pt x="36" y="294"/>
                    </a:lnTo>
                    <a:lnTo>
                      <a:pt x="24" y="408"/>
                    </a:lnTo>
                    <a:lnTo>
                      <a:pt x="54" y="444"/>
                    </a:lnTo>
                    <a:lnTo>
                      <a:pt x="54" y="456"/>
                    </a:lnTo>
                    <a:lnTo>
                      <a:pt x="60" y="468"/>
                    </a:lnTo>
                    <a:lnTo>
                      <a:pt x="78" y="486"/>
                    </a:lnTo>
                    <a:lnTo>
                      <a:pt x="90" y="492"/>
                    </a:lnTo>
                    <a:lnTo>
                      <a:pt x="114" y="498"/>
                    </a:lnTo>
                    <a:lnTo>
                      <a:pt x="132" y="498"/>
                    </a:lnTo>
                    <a:lnTo>
                      <a:pt x="150" y="492"/>
                    </a:lnTo>
                    <a:lnTo>
                      <a:pt x="162" y="486"/>
                    </a:lnTo>
                    <a:lnTo>
                      <a:pt x="168" y="480"/>
                    </a:lnTo>
                    <a:lnTo>
                      <a:pt x="186" y="444"/>
                    </a:lnTo>
                    <a:lnTo>
                      <a:pt x="198" y="432"/>
                    </a:lnTo>
                    <a:lnTo>
                      <a:pt x="210" y="432"/>
                    </a:lnTo>
                    <a:lnTo>
                      <a:pt x="228" y="438"/>
                    </a:lnTo>
                    <a:lnTo>
                      <a:pt x="270" y="438"/>
                    </a:lnTo>
                    <a:lnTo>
                      <a:pt x="324" y="432"/>
                    </a:lnTo>
                    <a:lnTo>
                      <a:pt x="366" y="426"/>
                    </a:lnTo>
                    <a:lnTo>
                      <a:pt x="390" y="414"/>
                    </a:lnTo>
                    <a:lnTo>
                      <a:pt x="402" y="402"/>
                    </a:lnTo>
                    <a:lnTo>
                      <a:pt x="414" y="384"/>
                    </a:lnTo>
                    <a:lnTo>
                      <a:pt x="426" y="372"/>
                    </a:lnTo>
                    <a:lnTo>
                      <a:pt x="450" y="360"/>
                    </a:lnTo>
                    <a:lnTo>
                      <a:pt x="462" y="348"/>
                    </a:lnTo>
                    <a:lnTo>
                      <a:pt x="474" y="342"/>
                    </a:lnTo>
                    <a:lnTo>
                      <a:pt x="486" y="330"/>
                    </a:lnTo>
                    <a:lnTo>
                      <a:pt x="504" y="324"/>
                    </a:lnTo>
                    <a:lnTo>
                      <a:pt x="528" y="312"/>
                    </a:lnTo>
                    <a:lnTo>
                      <a:pt x="546" y="306"/>
                    </a:lnTo>
                    <a:lnTo>
                      <a:pt x="558" y="294"/>
                    </a:lnTo>
                    <a:lnTo>
                      <a:pt x="594" y="276"/>
                    </a:lnTo>
                    <a:lnTo>
                      <a:pt x="666" y="276"/>
                    </a:lnTo>
                    <a:lnTo>
                      <a:pt x="666" y="270"/>
                    </a:lnTo>
                    <a:lnTo>
                      <a:pt x="672" y="264"/>
                    </a:lnTo>
                    <a:lnTo>
                      <a:pt x="684" y="240"/>
                    </a:lnTo>
                    <a:lnTo>
                      <a:pt x="690" y="222"/>
                    </a:lnTo>
                    <a:lnTo>
                      <a:pt x="702" y="210"/>
                    </a:lnTo>
                    <a:lnTo>
                      <a:pt x="708" y="198"/>
                    </a:lnTo>
                    <a:lnTo>
                      <a:pt x="720" y="192"/>
                    </a:lnTo>
                    <a:lnTo>
                      <a:pt x="720" y="186"/>
                    </a:lnTo>
                    <a:lnTo>
                      <a:pt x="732" y="186"/>
                    </a:lnTo>
                    <a:lnTo>
                      <a:pt x="648" y="0"/>
                    </a:lnTo>
                    <a:lnTo>
                      <a:pt x="630" y="0"/>
                    </a:lnTo>
                    <a:lnTo>
                      <a:pt x="588" y="6"/>
                    </a:lnTo>
                    <a:lnTo>
                      <a:pt x="540" y="18"/>
                    </a:lnTo>
                    <a:lnTo>
                      <a:pt x="492" y="24"/>
                    </a:lnTo>
                    <a:lnTo>
                      <a:pt x="468" y="24"/>
                    </a:lnTo>
                    <a:close/>
                  </a:path>
                </a:pathLst>
              </a:custGeom>
              <a:solidFill>
                <a:srgbClr val="9D90A0">
                  <a:lumMod val="40000"/>
                  <a:lumOff val="60000"/>
                </a:srgbClr>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115" name="Western Sahara" descr="© INSCALE GmbH, 05.05.2010&#10;http://www.presentationload.com/">
                <a:extLst>
                  <a:ext uri="{FF2B5EF4-FFF2-40B4-BE49-F238E27FC236}">
                    <a16:creationId xmlns:a16="http://schemas.microsoft.com/office/drawing/2014/main" id="{84513CED-C931-4D34-ADC2-BBB65EF54C64}"/>
                  </a:ext>
                </a:extLst>
              </p:cNvPr>
              <p:cNvSpPr>
                <a:spLocks/>
              </p:cNvSpPr>
              <p:nvPr/>
            </p:nvSpPr>
            <p:spPr bwMode="gray">
              <a:xfrm>
                <a:off x="3751409" y="3573327"/>
                <a:ext cx="237107" cy="225251"/>
              </a:xfrm>
              <a:custGeom>
                <a:avLst/>
                <a:gdLst>
                  <a:gd name="T0" fmla="*/ 2147483647 w 600"/>
                  <a:gd name="T1" fmla="*/ 0 h 510"/>
                  <a:gd name="T2" fmla="*/ 2147483647 w 600"/>
                  <a:gd name="T3" fmla="*/ 0 h 510"/>
                  <a:gd name="T4" fmla="*/ 2147483647 w 600"/>
                  <a:gd name="T5" fmla="*/ 2147483647 h 510"/>
                  <a:gd name="T6" fmla="*/ 2147483647 w 600"/>
                  <a:gd name="T7" fmla="*/ 2147483647 h 510"/>
                  <a:gd name="T8" fmla="*/ 2147483647 w 600"/>
                  <a:gd name="T9" fmla="*/ 2147483647 h 510"/>
                  <a:gd name="T10" fmla="*/ 2147483647 w 600"/>
                  <a:gd name="T11" fmla="*/ 2147483647 h 510"/>
                  <a:gd name="T12" fmla="*/ 2147483647 w 600"/>
                  <a:gd name="T13" fmla="*/ 2147483647 h 510"/>
                  <a:gd name="T14" fmla="*/ 2147483647 w 600"/>
                  <a:gd name="T15" fmla="*/ 2147483647 h 510"/>
                  <a:gd name="T16" fmla="*/ 2147483647 w 600"/>
                  <a:gd name="T17" fmla="*/ 2147483647 h 510"/>
                  <a:gd name="T18" fmla="*/ 2147483647 w 600"/>
                  <a:gd name="T19" fmla="*/ 2147483647 h 510"/>
                  <a:gd name="T20" fmla="*/ 2147483647 w 600"/>
                  <a:gd name="T21" fmla="*/ 2147483647 h 510"/>
                  <a:gd name="T22" fmla="*/ 2147483647 w 600"/>
                  <a:gd name="T23" fmla="*/ 2147483647 h 510"/>
                  <a:gd name="T24" fmla="*/ 2147483647 w 600"/>
                  <a:gd name="T25" fmla="*/ 2147483647 h 510"/>
                  <a:gd name="T26" fmla="*/ 2147483647 w 600"/>
                  <a:gd name="T27" fmla="*/ 2147483647 h 510"/>
                  <a:gd name="T28" fmla="*/ 2147483647 w 600"/>
                  <a:gd name="T29" fmla="*/ 2147483647 h 510"/>
                  <a:gd name="T30" fmla="*/ 2147483647 w 600"/>
                  <a:gd name="T31" fmla="*/ 2147483647 h 510"/>
                  <a:gd name="T32" fmla="*/ 2147483647 w 600"/>
                  <a:gd name="T33" fmla="*/ 2147483647 h 510"/>
                  <a:gd name="T34" fmla="*/ 2147483647 w 600"/>
                  <a:gd name="T35" fmla="*/ 2147483647 h 510"/>
                  <a:gd name="T36" fmla="*/ 2147483647 w 600"/>
                  <a:gd name="T37" fmla="*/ 2147483647 h 510"/>
                  <a:gd name="T38" fmla="*/ 2147483647 w 600"/>
                  <a:gd name="T39" fmla="*/ 2147483647 h 510"/>
                  <a:gd name="T40" fmla="*/ 2147483647 w 600"/>
                  <a:gd name="T41" fmla="*/ 2147483647 h 510"/>
                  <a:gd name="T42" fmla="*/ 2147483647 w 600"/>
                  <a:gd name="T43" fmla="*/ 2147483647 h 510"/>
                  <a:gd name="T44" fmla="*/ 2147483647 w 600"/>
                  <a:gd name="T45" fmla="*/ 2147483647 h 510"/>
                  <a:gd name="T46" fmla="*/ 2147483647 w 600"/>
                  <a:gd name="T47" fmla="*/ 2147483647 h 510"/>
                  <a:gd name="T48" fmla="*/ 2147483647 w 600"/>
                  <a:gd name="T49" fmla="*/ 2147483647 h 510"/>
                  <a:gd name="T50" fmla="*/ 2147483647 w 600"/>
                  <a:gd name="T51" fmla="*/ 2147483647 h 510"/>
                  <a:gd name="T52" fmla="*/ 2147483647 w 600"/>
                  <a:gd name="T53" fmla="*/ 2147483647 h 510"/>
                  <a:gd name="T54" fmla="*/ 2147483647 w 600"/>
                  <a:gd name="T55" fmla="*/ 2147483647 h 510"/>
                  <a:gd name="T56" fmla="*/ 2147483647 w 600"/>
                  <a:gd name="T57" fmla="*/ 2147483647 h 510"/>
                  <a:gd name="T58" fmla="*/ 2147483647 w 600"/>
                  <a:gd name="T59" fmla="*/ 2147483647 h 510"/>
                  <a:gd name="T60" fmla="*/ 2147483647 w 600"/>
                  <a:gd name="T61" fmla="*/ 2147483647 h 510"/>
                  <a:gd name="T62" fmla="*/ 2147483647 w 600"/>
                  <a:gd name="T63" fmla="*/ 2147483647 h 510"/>
                  <a:gd name="T64" fmla="*/ 2147483647 w 600"/>
                  <a:gd name="T65" fmla="*/ 2147483647 h 510"/>
                  <a:gd name="T66" fmla="*/ 2147483647 w 600"/>
                  <a:gd name="T67" fmla="*/ 2147483647 h 510"/>
                  <a:gd name="T68" fmla="*/ 2147483647 w 600"/>
                  <a:gd name="T69" fmla="*/ 2147483647 h 510"/>
                  <a:gd name="T70" fmla="*/ 2147483647 w 600"/>
                  <a:gd name="T71" fmla="*/ 2147483647 h 510"/>
                  <a:gd name="T72" fmla="*/ 2147483647 w 600"/>
                  <a:gd name="T73" fmla="*/ 2147483647 h 510"/>
                  <a:gd name="T74" fmla="*/ 2147483647 w 600"/>
                  <a:gd name="T75" fmla="*/ 2147483647 h 510"/>
                  <a:gd name="T76" fmla="*/ 2147483647 w 600"/>
                  <a:gd name="T77" fmla="*/ 2147483647 h 510"/>
                  <a:gd name="T78" fmla="*/ 0 w 600"/>
                  <a:gd name="T79" fmla="*/ 2147483647 h 510"/>
                  <a:gd name="T80" fmla="*/ 0 w 600"/>
                  <a:gd name="T81" fmla="*/ 2147483647 h 510"/>
                  <a:gd name="T82" fmla="*/ 2147483647 w 600"/>
                  <a:gd name="T83" fmla="*/ 2147483647 h 510"/>
                  <a:gd name="T84" fmla="*/ 2147483647 w 600"/>
                  <a:gd name="T85" fmla="*/ 2147483647 h 510"/>
                  <a:gd name="T86" fmla="*/ 2147483647 w 600"/>
                  <a:gd name="T87" fmla="*/ 2147483647 h 510"/>
                  <a:gd name="T88" fmla="*/ 2147483647 w 600"/>
                  <a:gd name="T89" fmla="*/ 2147483647 h 510"/>
                  <a:gd name="T90" fmla="*/ 2147483647 w 600"/>
                  <a:gd name="T91" fmla="*/ 2147483647 h 510"/>
                  <a:gd name="T92" fmla="*/ 2147483647 w 600"/>
                  <a:gd name="T93" fmla="*/ 2147483647 h 510"/>
                  <a:gd name="T94" fmla="*/ 2147483647 w 600"/>
                  <a:gd name="T95" fmla="*/ 2147483647 h 510"/>
                  <a:gd name="T96" fmla="*/ 2147483647 w 600"/>
                  <a:gd name="T97" fmla="*/ 2147483647 h 510"/>
                  <a:gd name="T98" fmla="*/ 2147483647 w 600"/>
                  <a:gd name="T99" fmla="*/ 2147483647 h 510"/>
                  <a:gd name="T100" fmla="*/ 2147483647 w 600"/>
                  <a:gd name="T101" fmla="*/ 2147483647 h 510"/>
                  <a:gd name="T102" fmla="*/ 2147483647 w 600"/>
                  <a:gd name="T103" fmla="*/ 2147483647 h 510"/>
                  <a:gd name="T104" fmla="*/ 2147483647 w 600"/>
                  <a:gd name="T105" fmla="*/ 2147483647 h 510"/>
                  <a:gd name="T106" fmla="*/ 2147483647 w 600"/>
                  <a:gd name="T107" fmla="*/ 2147483647 h 510"/>
                  <a:gd name="T108" fmla="*/ 2147483647 w 600"/>
                  <a:gd name="T109" fmla="*/ 2147483647 h 510"/>
                  <a:gd name="T110" fmla="*/ 2147483647 w 600"/>
                  <a:gd name="T111" fmla="*/ 2147483647 h 510"/>
                  <a:gd name="T112" fmla="*/ 2147483647 w 600"/>
                  <a:gd name="T113" fmla="*/ 0 h 510"/>
                  <a:gd name="T114" fmla="*/ 2147483647 w 600"/>
                  <a:gd name="T115" fmla="*/ 0 h 51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00"/>
                  <a:gd name="T175" fmla="*/ 0 h 510"/>
                  <a:gd name="T176" fmla="*/ 600 w 600"/>
                  <a:gd name="T177" fmla="*/ 510 h 51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00" h="510">
                    <a:moveTo>
                      <a:pt x="546" y="0"/>
                    </a:moveTo>
                    <a:lnTo>
                      <a:pt x="288" y="0"/>
                    </a:lnTo>
                    <a:lnTo>
                      <a:pt x="282" y="6"/>
                    </a:lnTo>
                    <a:lnTo>
                      <a:pt x="270" y="30"/>
                    </a:lnTo>
                    <a:lnTo>
                      <a:pt x="270" y="42"/>
                    </a:lnTo>
                    <a:lnTo>
                      <a:pt x="264" y="54"/>
                    </a:lnTo>
                    <a:lnTo>
                      <a:pt x="264" y="66"/>
                    </a:lnTo>
                    <a:lnTo>
                      <a:pt x="234" y="96"/>
                    </a:lnTo>
                    <a:lnTo>
                      <a:pt x="198" y="96"/>
                    </a:lnTo>
                    <a:lnTo>
                      <a:pt x="186" y="108"/>
                    </a:lnTo>
                    <a:lnTo>
                      <a:pt x="186" y="144"/>
                    </a:lnTo>
                    <a:lnTo>
                      <a:pt x="156" y="174"/>
                    </a:lnTo>
                    <a:lnTo>
                      <a:pt x="156" y="186"/>
                    </a:lnTo>
                    <a:lnTo>
                      <a:pt x="168" y="210"/>
                    </a:lnTo>
                    <a:lnTo>
                      <a:pt x="168" y="222"/>
                    </a:lnTo>
                    <a:lnTo>
                      <a:pt x="156" y="246"/>
                    </a:lnTo>
                    <a:lnTo>
                      <a:pt x="144" y="252"/>
                    </a:lnTo>
                    <a:lnTo>
                      <a:pt x="138" y="252"/>
                    </a:lnTo>
                    <a:lnTo>
                      <a:pt x="132" y="258"/>
                    </a:lnTo>
                    <a:lnTo>
                      <a:pt x="126" y="270"/>
                    </a:lnTo>
                    <a:lnTo>
                      <a:pt x="114" y="282"/>
                    </a:lnTo>
                    <a:lnTo>
                      <a:pt x="102" y="288"/>
                    </a:lnTo>
                    <a:lnTo>
                      <a:pt x="96" y="294"/>
                    </a:lnTo>
                    <a:lnTo>
                      <a:pt x="84" y="300"/>
                    </a:lnTo>
                    <a:lnTo>
                      <a:pt x="78" y="306"/>
                    </a:lnTo>
                    <a:lnTo>
                      <a:pt x="78" y="318"/>
                    </a:lnTo>
                    <a:lnTo>
                      <a:pt x="90" y="324"/>
                    </a:lnTo>
                    <a:lnTo>
                      <a:pt x="78" y="330"/>
                    </a:lnTo>
                    <a:lnTo>
                      <a:pt x="60" y="366"/>
                    </a:lnTo>
                    <a:lnTo>
                      <a:pt x="60" y="384"/>
                    </a:lnTo>
                    <a:lnTo>
                      <a:pt x="48" y="384"/>
                    </a:lnTo>
                    <a:lnTo>
                      <a:pt x="48" y="390"/>
                    </a:lnTo>
                    <a:lnTo>
                      <a:pt x="54" y="396"/>
                    </a:lnTo>
                    <a:lnTo>
                      <a:pt x="54" y="408"/>
                    </a:lnTo>
                    <a:lnTo>
                      <a:pt x="48" y="420"/>
                    </a:lnTo>
                    <a:lnTo>
                      <a:pt x="36" y="426"/>
                    </a:lnTo>
                    <a:lnTo>
                      <a:pt x="24" y="426"/>
                    </a:lnTo>
                    <a:lnTo>
                      <a:pt x="18" y="432"/>
                    </a:lnTo>
                    <a:lnTo>
                      <a:pt x="6" y="456"/>
                    </a:lnTo>
                    <a:lnTo>
                      <a:pt x="0" y="462"/>
                    </a:lnTo>
                    <a:lnTo>
                      <a:pt x="0" y="510"/>
                    </a:lnTo>
                    <a:lnTo>
                      <a:pt x="276" y="510"/>
                    </a:lnTo>
                    <a:lnTo>
                      <a:pt x="282" y="408"/>
                    </a:lnTo>
                    <a:lnTo>
                      <a:pt x="276" y="396"/>
                    </a:lnTo>
                    <a:lnTo>
                      <a:pt x="276" y="378"/>
                    </a:lnTo>
                    <a:lnTo>
                      <a:pt x="282" y="366"/>
                    </a:lnTo>
                    <a:lnTo>
                      <a:pt x="306" y="354"/>
                    </a:lnTo>
                    <a:lnTo>
                      <a:pt x="336" y="354"/>
                    </a:lnTo>
                    <a:lnTo>
                      <a:pt x="348" y="348"/>
                    </a:lnTo>
                    <a:lnTo>
                      <a:pt x="354" y="342"/>
                    </a:lnTo>
                    <a:lnTo>
                      <a:pt x="354" y="150"/>
                    </a:lnTo>
                    <a:lnTo>
                      <a:pt x="366" y="144"/>
                    </a:lnTo>
                    <a:lnTo>
                      <a:pt x="366" y="132"/>
                    </a:lnTo>
                    <a:lnTo>
                      <a:pt x="588" y="126"/>
                    </a:lnTo>
                    <a:lnTo>
                      <a:pt x="588" y="90"/>
                    </a:lnTo>
                    <a:lnTo>
                      <a:pt x="594" y="84"/>
                    </a:lnTo>
                    <a:lnTo>
                      <a:pt x="600" y="0"/>
                    </a:lnTo>
                    <a:lnTo>
                      <a:pt x="546" y="0"/>
                    </a:lnTo>
                    <a:close/>
                  </a:path>
                </a:pathLst>
              </a:custGeom>
              <a:solidFill>
                <a:srgbClr val="9D90A0">
                  <a:lumMod val="40000"/>
                  <a:lumOff val="60000"/>
                </a:srgbClr>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116" name="United Arab Emirates" descr="© INSCALE GmbH, 05.05.2010&#10;http://www.presentationload.com/">
                <a:extLst>
                  <a:ext uri="{FF2B5EF4-FFF2-40B4-BE49-F238E27FC236}">
                    <a16:creationId xmlns:a16="http://schemas.microsoft.com/office/drawing/2014/main" id="{898AC291-B481-407F-9FF4-CE50FA3E9BFB}"/>
                  </a:ext>
                </a:extLst>
              </p:cNvPr>
              <p:cNvSpPr>
                <a:spLocks/>
              </p:cNvSpPr>
              <p:nvPr/>
            </p:nvSpPr>
            <p:spPr bwMode="gray">
              <a:xfrm>
                <a:off x="5637342" y="3613179"/>
                <a:ext cx="134152" cy="140349"/>
              </a:xfrm>
              <a:custGeom>
                <a:avLst/>
                <a:gdLst>
                  <a:gd name="T0" fmla="*/ 2147483647 w 336"/>
                  <a:gd name="T1" fmla="*/ 2147483647 h 318"/>
                  <a:gd name="T2" fmla="*/ 2147483647 w 336"/>
                  <a:gd name="T3" fmla="*/ 2147483647 h 318"/>
                  <a:gd name="T4" fmla="*/ 2147483647 w 336"/>
                  <a:gd name="T5" fmla="*/ 2147483647 h 318"/>
                  <a:gd name="T6" fmla="*/ 2147483647 w 336"/>
                  <a:gd name="T7" fmla="*/ 2147483647 h 318"/>
                  <a:gd name="T8" fmla="*/ 2147483647 w 336"/>
                  <a:gd name="T9" fmla="*/ 2147483647 h 318"/>
                  <a:gd name="T10" fmla="*/ 2147483647 w 336"/>
                  <a:gd name="T11" fmla="*/ 0 h 318"/>
                  <a:gd name="T12" fmla="*/ 2147483647 w 336"/>
                  <a:gd name="T13" fmla="*/ 2147483647 h 318"/>
                  <a:gd name="T14" fmla="*/ 2147483647 w 336"/>
                  <a:gd name="T15" fmla="*/ 2147483647 h 318"/>
                  <a:gd name="T16" fmla="*/ 2147483647 w 336"/>
                  <a:gd name="T17" fmla="*/ 2147483647 h 318"/>
                  <a:gd name="T18" fmla="*/ 2147483647 w 336"/>
                  <a:gd name="T19" fmla="*/ 2147483647 h 318"/>
                  <a:gd name="T20" fmla="*/ 2147483647 w 336"/>
                  <a:gd name="T21" fmla="*/ 2147483647 h 318"/>
                  <a:gd name="T22" fmla="*/ 2147483647 w 336"/>
                  <a:gd name="T23" fmla="*/ 2147483647 h 318"/>
                  <a:gd name="T24" fmla="*/ 2147483647 w 336"/>
                  <a:gd name="T25" fmla="*/ 2147483647 h 318"/>
                  <a:gd name="T26" fmla="*/ 2147483647 w 336"/>
                  <a:gd name="T27" fmla="*/ 2147483647 h 318"/>
                  <a:gd name="T28" fmla="*/ 2147483647 w 336"/>
                  <a:gd name="T29" fmla="*/ 2147483647 h 318"/>
                  <a:gd name="T30" fmla="*/ 2147483647 w 336"/>
                  <a:gd name="T31" fmla="*/ 2147483647 h 318"/>
                  <a:gd name="T32" fmla="*/ 2147483647 w 336"/>
                  <a:gd name="T33" fmla="*/ 2147483647 h 318"/>
                  <a:gd name="T34" fmla="*/ 2147483647 w 336"/>
                  <a:gd name="T35" fmla="*/ 2147483647 h 318"/>
                  <a:gd name="T36" fmla="*/ 0 w 336"/>
                  <a:gd name="T37" fmla="*/ 2147483647 h 318"/>
                  <a:gd name="T38" fmla="*/ 2147483647 w 336"/>
                  <a:gd name="T39" fmla="*/ 2147483647 h 318"/>
                  <a:gd name="T40" fmla="*/ 2147483647 w 336"/>
                  <a:gd name="T41" fmla="*/ 2147483647 h 318"/>
                  <a:gd name="T42" fmla="*/ 2147483647 w 336"/>
                  <a:gd name="T43" fmla="*/ 2147483647 h 318"/>
                  <a:gd name="T44" fmla="*/ 2147483647 w 336"/>
                  <a:gd name="T45" fmla="*/ 2147483647 h 318"/>
                  <a:gd name="T46" fmla="*/ 2147483647 w 336"/>
                  <a:gd name="T47" fmla="*/ 2147483647 h 318"/>
                  <a:gd name="T48" fmla="*/ 2147483647 w 336"/>
                  <a:gd name="T49" fmla="*/ 2147483647 h 318"/>
                  <a:gd name="T50" fmla="*/ 2147483647 w 336"/>
                  <a:gd name="T51" fmla="*/ 2147483647 h 318"/>
                  <a:gd name="T52" fmla="*/ 2147483647 w 336"/>
                  <a:gd name="T53" fmla="*/ 2147483647 h 318"/>
                  <a:gd name="T54" fmla="*/ 2147483647 w 336"/>
                  <a:gd name="T55" fmla="*/ 2147483647 h 318"/>
                  <a:gd name="T56" fmla="*/ 2147483647 w 336"/>
                  <a:gd name="T57" fmla="*/ 2147483647 h 318"/>
                  <a:gd name="T58" fmla="*/ 2147483647 w 336"/>
                  <a:gd name="T59" fmla="*/ 2147483647 h 318"/>
                  <a:gd name="T60" fmla="*/ 2147483647 w 336"/>
                  <a:gd name="T61" fmla="*/ 2147483647 h 318"/>
                  <a:gd name="T62" fmla="*/ 2147483647 w 336"/>
                  <a:gd name="T63" fmla="*/ 2147483647 h 318"/>
                  <a:gd name="T64" fmla="*/ 2147483647 w 336"/>
                  <a:gd name="T65" fmla="*/ 2147483647 h 318"/>
                  <a:gd name="T66" fmla="*/ 2147483647 w 336"/>
                  <a:gd name="T67" fmla="*/ 2147483647 h 318"/>
                  <a:gd name="T68" fmla="*/ 2147483647 w 336"/>
                  <a:gd name="T69" fmla="*/ 2147483647 h 31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36"/>
                  <a:gd name="T106" fmla="*/ 0 h 318"/>
                  <a:gd name="T107" fmla="*/ 336 w 336"/>
                  <a:gd name="T108" fmla="*/ 318 h 31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36" h="318">
                    <a:moveTo>
                      <a:pt x="300" y="120"/>
                    </a:moveTo>
                    <a:lnTo>
                      <a:pt x="306" y="120"/>
                    </a:lnTo>
                    <a:lnTo>
                      <a:pt x="306" y="126"/>
                    </a:lnTo>
                    <a:lnTo>
                      <a:pt x="312" y="138"/>
                    </a:lnTo>
                    <a:lnTo>
                      <a:pt x="336" y="132"/>
                    </a:lnTo>
                    <a:lnTo>
                      <a:pt x="330" y="120"/>
                    </a:lnTo>
                    <a:lnTo>
                      <a:pt x="324" y="102"/>
                    </a:lnTo>
                    <a:lnTo>
                      <a:pt x="324" y="60"/>
                    </a:lnTo>
                    <a:lnTo>
                      <a:pt x="330" y="42"/>
                    </a:lnTo>
                    <a:lnTo>
                      <a:pt x="330" y="6"/>
                    </a:lnTo>
                    <a:lnTo>
                      <a:pt x="324" y="0"/>
                    </a:lnTo>
                    <a:lnTo>
                      <a:pt x="318" y="0"/>
                    </a:lnTo>
                    <a:lnTo>
                      <a:pt x="312" y="6"/>
                    </a:lnTo>
                    <a:lnTo>
                      <a:pt x="306" y="18"/>
                    </a:lnTo>
                    <a:lnTo>
                      <a:pt x="300" y="36"/>
                    </a:lnTo>
                    <a:lnTo>
                      <a:pt x="288" y="60"/>
                    </a:lnTo>
                    <a:lnTo>
                      <a:pt x="282" y="66"/>
                    </a:lnTo>
                    <a:lnTo>
                      <a:pt x="282" y="72"/>
                    </a:lnTo>
                    <a:lnTo>
                      <a:pt x="276" y="72"/>
                    </a:lnTo>
                    <a:lnTo>
                      <a:pt x="264" y="78"/>
                    </a:lnTo>
                    <a:lnTo>
                      <a:pt x="234" y="108"/>
                    </a:lnTo>
                    <a:lnTo>
                      <a:pt x="228" y="120"/>
                    </a:lnTo>
                    <a:lnTo>
                      <a:pt x="216" y="132"/>
                    </a:lnTo>
                    <a:lnTo>
                      <a:pt x="204" y="138"/>
                    </a:lnTo>
                    <a:lnTo>
                      <a:pt x="198" y="150"/>
                    </a:lnTo>
                    <a:lnTo>
                      <a:pt x="198" y="168"/>
                    </a:lnTo>
                    <a:lnTo>
                      <a:pt x="192" y="180"/>
                    </a:lnTo>
                    <a:lnTo>
                      <a:pt x="192" y="186"/>
                    </a:lnTo>
                    <a:lnTo>
                      <a:pt x="186" y="192"/>
                    </a:lnTo>
                    <a:lnTo>
                      <a:pt x="150" y="192"/>
                    </a:lnTo>
                    <a:lnTo>
                      <a:pt x="132" y="186"/>
                    </a:lnTo>
                    <a:lnTo>
                      <a:pt x="90" y="186"/>
                    </a:lnTo>
                    <a:lnTo>
                      <a:pt x="72" y="192"/>
                    </a:lnTo>
                    <a:lnTo>
                      <a:pt x="48" y="204"/>
                    </a:lnTo>
                    <a:lnTo>
                      <a:pt x="24" y="204"/>
                    </a:lnTo>
                    <a:lnTo>
                      <a:pt x="12" y="192"/>
                    </a:lnTo>
                    <a:lnTo>
                      <a:pt x="0" y="186"/>
                    </a:lnTo>
                    <a:lnTo>
                      <a:pt x="0" y="198"/>
                    </a:lnTo>
                    <a:lnTo>
                      <a:pt x="18" y="216"/>
                    </a:lnTo>
                    <a:lnTo>
                      <a:pt x="30" y="240"/>
                    </a:lnTo>
                    <a:lnTo>
                      <a:pt x="54" y="264"/>
                    </a:lnTo>
                    <a:lnTo>
                      <a:pt x="60" y="276"/>
                    </a:lnTo>
                    <a:lnTo>
                      <a:pt x="72" y="282"/>
                    </a:lnTo>
                    <a:lnTo>
                      <a:pt x="78" y="294"/>
                    </a:lnTo>
                    <a:lnTo>
                      <a:pt x="96" y="294"/>
                    </a:lnTo>
                    <a:lnTo>
                      <a:pt x="132" y="300"/>
                    </a:lnTo>
                    <a:lnTo>
                      <a:pt x="228" y="312"/>
                    </a:lnTo>
                    <a:lnTo>
                      <a:pt x="270" y="318"/>
                    </a:lnTo>
                    <a:lnTo>
                      <a:pt x="264" y="306"/>
                    </a:lnTo>
                    <a:lnTo>
                      <a:pt x="258" y="300"/>
                    </a:lnTo>
                    <a:lnTo>
                      <a:pt x="252" y="288"/>
                    </a:lnTo>
                    <a:lnTo>
                      <a:pt x="252" y="276"/>
                    </a:lnTo>
                    <a:lnTo>
                      <a:pt x="258" y="270"/>
                    </a:lnTo>
                    <a:lnTo>
                      <a:pt x="264" y="258"/>
                    </a:lnTo>
                    <a:lnTo>
                      <a:pt x="270" y="252"/>
                    </a:lnTo>
                    <a:lnTo>
                      <a:pt x="276" y="240"/>
                    </a:lnTo>
                    <a:lnTo>
                      <a:pt x="276" y="228"/>
                    </a:lnTo>
                    <a:lnTo>
                      <a:pt x="282" y="216"/>
                    </a:lnTo>
                    <a:lnTo>
                      <a:pt x="282" y="204"/>
                    </a:lnTo>
                    <a:lnTo>
                      <a:pt x="288" y="198"/>
                    </a:lnTo>
                    <a:lnTo>
                      <a:pt x="288" y="192"/>
                    </a:lnTo>
                    <a:lnTo>
                      <a:pt x="300" y="192"/>
                    </a:lnTo>
                    <a:lnTo>
                      <a:pt x="300" y="198"/>
                    </a:lnTo>
                    <a:lnTo>
                      <a:pt x="306" y="198"/>
                    </a:lnTo>
                    <a:lnTo>
                      <a:pt x="306" y="192"/>
                    </a:lnTo>
                    <a:lnTo>
                      <a:pt x="288" y="174"/>
                    </a:lnTo>
                    <a:lnTo>
                      <a:pt x="288" y="144"/>
                    </a:lnTo>
                    <a:lnTo>
                      <a:pt x="294" y="132"/>
                    </a:lnTo>
                    <a:lnTo>
                      <a:pt x="294" y="126"/>
                    </a:lnTo>
                    <a:lnTo>
                      <a:pt x="300" y="120"/>
                    </a:lnTo>
                    <a:close/>
                  </a:path>
                </a:pathLst>
              </a:custGeom>
              <a:solidFill>
                <a:srgbClr val="9D90A0">
                  <a:lumMod val="40000"/>
                  <a:lumOff val="60000"/>
                </a:srgbClr>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117" name="Uganda" descr="© INSCALE GmbH, 05.05.2010&#10;http://www.presentationload.com/">
                <a:extLst>
                  <a:ext uri="{FF2B5EF4-FFF2-40B4-BE49-F238E27FC236}">
                    <a16:creationId xmlns:a16="http://schemas.microsoft.com/office/drawing/2014/main" id="{6EC7DFC3-8EF8-46B0-B075-CF9BEA83FA82}"/>
                  </a:ext>
                </a:extLst>
              </p:cNvPr>
              <p:cNvSpPr>
                <a:spLocks noEditPoints="1"/>
              </p:cNvSpPr>
              <p:nvPr/>
            </p:nvSpPr>
            <p:spPr bwMode="gray">
              <a:xfrm>
                <a:off x="5049255" y="4405023"/>
                <a:ext cx="154431" cy="202726"/>
              </a:xfrm>
              <a:custGeom>
                <a:avLst/>
                <a:gdLst>
                  <a:gd name="T0" fmla="*/ 2147483647 w 390"/>
                  <a:gd name="T1" fmla="*/ 2147483647 h 462"/>
                  <a:gd name="T2" fmla="*/ 2147483647 w 390"/>
                  <a:gd name="T3" fmla="*/ 2147483647 h 462"/>
                  <a:gd name="T4" fmla="*/ 2147483647 w 390"/>
                  <a:gd name="T5" fmla="*/ 2147483647 h 462"/>
                  <a:gd name="T6" fmla="*/ 2147483647 w 390"/>
                  <a:gd name="T7" fmla="*/ 2147483647 h 462"/>
                  <a:gd name="T8" fmla="*/ 2147483647 w 390"/>
                  <a:gd name="T9" fmla="*/ 2147483647 h 462"/>
                  <a:gd name="T10" fmla="*/ 2147483647 w 390"/>
                  <a:gd name="T11" fmla="*/ 2147483647 h 462"/>
                  <a:gd name="T12" fmla="*/ 2147483647 w 390"/>
                  <a:gd name="T13" fmla="*/ 2147483647 h 462"/>
                  <a:gd name="T14" fmla="*/ 2147483647 w 390"/>
                  <a:gd name="T15" fmla="*/ 2147483647 h 462"/>
                  <a:gd name="T16" fmla="*/ 2147483647 w 390"/>
                  <a:gd name="T17" fmla="*/ 2147483647 h 462"/>
                  <a:gd name="T18" fmla="*/ 2147483647 w 390"/>
                  <a:gd name="T19" fmla="*/ 2147483647 h 462"/>
                  <a:gd name="T20" fmla="*/ 2147483647 w 390"/>
                  <a:gd name="T21" fmla="*/ 2147483647 h 462"/>
                  <a:gd name="T22" fmla="*/ 2147483647 w 390"/>
                  <a:gd name="T23" fmla="*/ 2147483647 h 462"/>
                  <a:gd name="T24" fmla="*/ 2147483647 w 390"/>
                  <a:gd name="T25" fmla="*/ 0 h 462"/>
                  <a:gd name="T26" fmla="*/ 2147483647 w 390"/>
                  <a:gd name="T27" fmla="*/ 2147483647 h 462"/>
                  <a:gd name="T28" fmla="*/ 2147483647 w 390"/>
                  <a:gd name="T29" fmla="*/ 2147483647 h 462"/>
                  <a:gd name="T30" fmla="*/ 2147483647 w 390"/>
                  <a:gd name="T31" fmla="*/ 2147483647 h 462"/>
                  <a:gd name="T32" fmla="*/ 2147483647 w 390"/>
                  <a:gd name="T33" fmla="*/ 2147483647 h 462"/>
                  <a:gd name="T34" fmla="*/ 2147483647 w 390"/>
                  <a:gd name="T35" fmla="*/ 2147483647 h 462"/>
                  <a:gd name="T36" fmla="*/ 2147483647 w 390"/>
                  <a:gd name="T37" fmla="*/ 2147483647 h 462"/>
                  <a:gd name="T38" fmla="*/ 2147483647 w 390"/>
                  <a:gd name="T39" fmla="*/ 2147483647 h 462"/>
                  <a:gd name="T40" fmla="*/ 2147483647 w 390"/>
                  <a:gd name="T41" fmla="*/ 2147483647 h 462"/>
                  <a:gd name="T42" fmla="*/ 2147483647 w 390"/>
                  <a:gd name="T43" fmla="*/ 2147483647 h 462"/>
                  <a:gd name="T44" fmla="*/ 2147483647 w 390"/>
                  <a:gd name="T45" fmla="*/ 2147483647 h 462"/>
                  <a:gd name="T46" fmla="*/ 2147483647 w 390"/>
                  <a:gd name="T47" fmla="*/ 2147483647 h 462"/>
                  <a:gd name="T48" fmla="*/ 2147483647 w 390"/>
                  <a:gd name="T49" fmla="*/ 2147483647 h 462"/>
                  <a:gd name="T50" fmla="*/ 2147483647 w 390"/>
                  <a:gd name="T51" fmla="*/ 2147483647 h 462"/>
                  <a:gd name="T52" fmla="*/ 2147483647 w 390"/>
                  <a:gd name="T53" fmla="*/ 2147483647 h 462"/>
                  <a:gd name="T54" fmla="*/ 2147483647 w 390"/>
                  <a:gd name="T55" fmla="*/ 2147483647 h 462"/>
                  <a:gd name="T56" fmla="*/ 2147483647 w 390"/>
                  <a:gd name="T57" fmla="*/ 2147483647 h 462"/>
                  <a:gd name="T58" fmla="*/ 2147483647 w 390"/>
                  <a:gd name="T59" fmla="*/ 2147483647 h 462"/>
                  <a:gd name="T60" fmla="*/ 2147483647 w 390"/>
                  <a:gd name="T61" fmla="*/ 2147483647 h 462"/>
                  <a:gd name="T62" fmla="*/ 2147483647 w 390"/>
                  <a:gd name="T63" fmla="*/ 2147483647 h 462"/>
                  <a:gd name="T64" fmla="*/ 2147483647 w 390"/>
                  <a:gd name="T65" fmla="*/ 2147483647 h 462"/>
                  <a:gd name="T66" fmla="*/ 2147483647 w 390"/>
                  <a:gd name="T67" fmla="*/ 2147483647 h 462"/>
                  <a:gd name="T68" fmla="*/ 2147483647 w 390"/>
                  <a:gd name="T69" fmla="*/ 2147483647 h 462"/>
                  <a:gd name="T70" fmla="*/ 2147483647 w 390"/>
                  <a:gd name="T71" fmla="*/ 2147483647 h 462"/>
                  <a:gd name="T72" fmla="*/ 2147483647 w 390"/>
                  <a:gd name="T73" fmla="*/ 2147483647 h 462"/>
                  <a:gd name="T74" fmla="*/ 2147483647 w 390"/>
                  <a:gd name="T75" fmla="*/ 2147483647 h 462"/>
                  <a:gd name="T76" fmla="*/ 2147483647 w 390"/>
                  <a:gd name="T77" fmla="*/ 2147483647 h 462"/>
                  <a:gd name="T78" fmla="*/ 2147483647 w 390"/>
                  <a:gd name="T79" fmla="*/ 2147483647 h 462"/>
                  <a:gd name="T80" fmla="*/ 2147483647 w 390"/>
                  <a:gd name="T81" fmla="*/ 2147483647 h 462"/>
                  <a:gd name="T82" fmla="*/ 2147483647 w 390"/>
                  <a:gd name="T83" fmla="*/ 2147483647 h 462"/>
                  <a:gd name="T84" fmla="*/ 2147483647 w 390"/>
                  <a:gd name="T85" fmla="*/ 2147483647 h 462"/>
                  <a:gd name="T86" fmla="*/ 2147483647 w 390"/>
                  <a:gd name="T87" fmla="*/ 2147483647 h 462"/>
                  <a:gd name="T88" fmla="*/ 2147483647 w 390"/>
                  <a:gd name="T89" fmla="*/ 2147483647 h 462"/>
                  <a:gd name="T90" fmla="*/ 2147483647 w 390"/>
                  <a:gd name="T91" fmla="*/ 2147483647 h 462"/>
                  <a:gd name="T92" fmla="*/ 2147483647 w 390"/>
                  <a:gd name="T93" fmla="*/ 2147483647 h 462"/>
                  <a:gd name="T94" fmla="*/ 2147483647 w 390"/>
                  <a:gd name="T95" fmla="*/ 2147483647 h 462"/>
                  <a:gd name="T96" fmla="*/ 2147483647 w 390"/>
                  <a:gd name="T97" fmla="*/ 2147483647 h 462"/>
                  <a:gd name="T98" fmla="*/ 2147483647 w 390"/>
                  <a:gd name="T99" fmla="*/ 2147483647 h 462"/>
                  <a:gd name="T100" fmla="*/ 2147483647 w 390"/>
                  <a:gd name="T101" fmla="*/ 2147483647 h 462"/>
                  <a:gd name="T102" fmla="*/ 2147483647 w 390"/>
                  <a:gd name="T103" fmla="*/ 2147483647 h 462"/>
                  <a:gd name="T104" fmla="*/ 2147483647 w 390"/>
                  <a:gd name="T105" fmla="*/ 2147483647 h 462"/>
                  <a:gd name="T106" fmla="*/ 2147483647 w 390"/>
                  <a:gd name="T107" fmla="*/ 2147483647 h 46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90"/>
                  <a:gd name="T163" fmla="*/ 0 h 462"/>
                  <a:gd name="T164" fmla="*/ 390 w 390"/>
                  <a:gd name="T165" fmla="*/ 462 h 46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90" h="462">
                    <a:moveTo>
                      <a:pt x="306" y="426"/>
                    </a:moveTo>
                    <a:lnTo>
                      <a:pt x="318" y="426"/>
                    </a:lnTo>
                    <a:lnTo>
                      <a:pt x="318" y="420"/>
                    </a:lnTo>
                    <a:lnTo>
                      <a:pt x="306" y="420"/>
                    </a:lnTo>
                    <a:lnTo>
                      <a:pt x="306" y="426"/>
                    </a:lnTo>
                    <a:close/>
                    <a:moveTo>
                      <a:pt x="390" y="192"/>
                    </a:moveTo>
                    <a:lnTo>
                      <a:pt x="384" y="180"/>
                    </a:lnTo>
                    <a:lnTo>
                      <a:pt x="378" y="174"/>
                    </a:lnTo>
                    <a:lnTo>
                      <a:pt x="366" y="150"/>
                    </a:lnTo>
                    <a:lnTo>
                      <a:pt x="366" y="144"/>
                    </a:lnTo>
                    <a:lnTo>
                      <a:pt x="372" y="138"/>
                    </a:lnTo>
                    <a:lnTo>
                      <a:pt x="378" y="138"/>
                    </a:lnTo>
                    <a:lnTo>
                      <a:pt x="384" y="132"/>
                    </a:lnTo>
                    <a:lnTo>
                      <a:pt x="348" y="90"/>
                    </a:lnTo>
                    <a:lnTo>
                      <a:pt x="354" y="84"/>
                    </a:lnTo>
                    <a:lnTo>
                      <a:pt x="336" y="66"/>
                    </a:lnTo>
                    <a:lnTo>
                      <a:pt x="336" y="60"/>
                    </a:lnTo>
                    <a:lnTo>
                      <a:pt x="342" y="54"/>
                    </a:lnTo>
                    <a:lnTo>
                      <a:pt x="342" y="42"/>
                    </a:lnTo>
                    <a:lnTo>
                      <a:pt x="336" y="42"/>
                    </a:lnTo>
                    <a:lnTo>
                      <a:pt x="336" y="48"/>
                    </a:lnTo>
                    <a:lnTo>
                      <a:pt x="330" y="42"/>
                    </a:lnTo>
                    <a:lnTo>
                      <a:pt x="324" y="42"/>
                    </a:lnTo>
                    <a:lnTo>
                      <a:pt x="324" y="18"/>
                    </a:lnTo>
                    <a:lnTo>
                      <a:pt x="318" y="6"/>
                    </a:lnTo>
                    <a:lnTo>
                      <a:pt x="312" y="0"/>
                    </a:lnTo>
                    <a:lnTo>
                      <a:pt x="300" y="0"/>
                    </a:lnTo>
                    <a:lnTo>
                      <a:pt x="300" y="6"/>
                    </a:lnTo>
                    <a:lnTo>
                      <a:pt x="294" y="12"/>
                    </a:lnTo>
                    <a:lnTo>
                      <a:pt x="294" y="18"/>
                    </a:lnTo>
                    <a:lnTo>
                      <a:pt x="276" y="36"/>
                    </a:lnTo>
                    <a:lnTo>
                      <a:pt x="252" y="36"/>
                    </a:lnTo>
                    <a:lnTo>
                      <a:pt x="246" y="30"/>
                    </a:lnTo>
                    <a:lnTo>
                      <a:pt x="246" y="24"/>
                    </a:lnTo>
                    <a:lnTo>
                      <a:pt x="234" y="24"/>
                    </a:lnTo>
                    <a:lnTo>
                      <a:pt x="222" y="36"/>
                    </a:lnTo>
                    <a:lnTo>
                      <a:pt x="198" y="36"/>
                    </a:lnTo>
                    <a:lnTo>
                      <a:pt x="180" y="60"/>
                    </a:lnTo>
                    <a:lnTo>
                      <a:pt x="156" y="30"/>
                    </a:lnTo>
                    <a:lnTo>
                      <a:pt x="150" y="30"/>
                    </a:lnTo>
                    <a:lnTo>
                      <a:pt x="144" y="36"/>
                    </a:lnTo>
                    <a:lnTo>
                      <a:pt x="144" y="42"/>
                    </a:lnTo>
                    <a:lnTo>
                      <a:pt x="132" y="42"/>
                    </a:lnTo>
                    <a:lnTo>
                      <a:pt x="120" y="36"/>
                    </a:lnTo>
                    <a:lnTo>
                      <a:pt x="114" y="30"/>
                    </a:lnTo>
                    <a:lnTo>
                      <a:pt x="102" y="30"/>
                    </a:lnTo>
                    <a:lnTo>
                      <a:pt x="84" y="48"/>
                    </a:lnTo>
                    <a:lnTo>
                      <a:pt x="90" y="72"/>
                    </a:lnTo>
                    <a:lnTo>
                      <a:pt x="72" y="90"/>
                    </a:lnTo>
                    <a:lnTo>
                      <a:pt x="84" y="96"/>
                    </a:lnTo>
                    <a:lnTo>
                      <a:pt x="90" y="102"/>
                    </a:lnTo>
                    <a:lnTo>
                      <a:pt x="90" y="108"/>
                    </a:lnTo>
                    <a:lnTo>
                      <a:pt x="84" y="114"/>
                    </a:lnTo>
                    <a:lnTo>
                      <a:pt x="78" y="126"/>
                    </a:lnTo>
                    <a:lnTo>
                      <a:pt x="78" y="138"/>
                    </a:lnTo>
                    <a:lnTo>
                      <a:pt x="84" y="144"/>
                    </a:lnTo>
                    <a:lnTo>
                      <a:pt x="96" y="144"/>
                    </a:lnTo>
                    <a:lnTo>
                      <a:pt x="108" y="150"/>
                    </a:lnTo>
                    <a:lnTo>
                      <a:pt x="114" y="156"/>
                    </a:lnTo>
                    <a:lnTo>
                      <a:pt x="114" y="168"/>
                    </a:lnTo>
                    <a:lnTo>
                      <a:pt x="108" y="180"/>
                    </a:lnTo>
                    <a:lnTo>
                      <a:pt x="96" y="192"/>
                    </a:lnTo>
                    <a:lnTo>
                      <a:pt x="84" y="216"/>
                    </a:lnTo>
                    <a:lnTo>
                      <a:pt x="72" y="222"/>
                    </a:lnTo>
                    <a:lnTo>
                      <a:pt x="66" y="234"/>
                    </a:lnTo>
                    <a:lnTo>
                      <a:pt x="42" y="246"/>
                    </a:lnTo>
                    <a:lnTo>
                      <a:pt x="42" y="258"/>
                    </a:lnTo>
                    <a:lnTo>
                      <a:pt x="24" y="270"/>
                    </a:lnTo>
                    <a:lnTo>
                      <a:pt x="6" y="342"/>
                    </a:lnTo>
                    <a:lnTo>
                      <a:pt x="6" y="372"/>
                    </a:lnTo>
                    <a:lnTo>
                      <a:pt x="0" y="450"/>
                    </a:lnTo>
                    <a:lnTo>
                      <a:pt x="12" y="450"/>
                    </a:lnTo>
                    <a:lnTo>
                      <a:pt x="24" y="462"/>
                    </a:lnTo>
                    <a:lnTo>
                      <a:pt x="30" y="462"/>
                    </a:lnTo>
                    <a:lnTo>
                      <a:pt x="42" y="438"/>
                    </a:lnTo>
                    <a:lnTo>
                      <a:pt x="48" y="432"/>
                    </a:lnTo>
                    <a:lnTo>
                      <a:pt x="48" y="426"/>
                    </a:lnTo>
                    <a:lnTo>
                      <a:pt x="72" y="420"/>
                    </a:lnTo>
                    <a:lnTo>
                      <a:pt x="162" y="426"/>
                    </a:lnTo>
                    <a:lnTo>
                      <a:pt x="162" y="414"/>
                    </a:lnTo>
                    <a:lnTo>
                      <a:pt x="156" y="408"/>
                    </a:lnTo>
                    <a:lnTo>
                      <a:pt x="150" y="396"/>
                    </a:lnTo>
                    <a:lnTo>
                      <a:pt x="162" y="372"/>
                    </a:lnTo>
                    <a:lnTo>
                      <a:pt x="168" y="366"/>
                    </a:lnTo>
                    <a:lnTo>
                      <a:pt x="168" y="342"/>
                    </a:lnTo>
                    <a:lnTo>
                      <a:pt x="174" y="336"/>
                    </a:lnTo>
                    <a:lnTo>
                      <a:pt x="186" y="330"/>
                    </a:lnTo>
                    <a:lnTo>
                      <a:pt x="204" y="324"/>
                    </a:lnTo>
                    <a:lnTo>
                      <a:pt x="240" y="324"/>
                    </a:lnTo>
                    <a:lnTo>
                      <a:pt x="252" y="312"/>
                    </a:lnTo>
                    <a:lnTo>
                      <a:pt x="258" y="300"/>
                    </a:lnTo>
                    <a:lnTo>
                      <a:pt x="264" y="300"/>
                    </a:lnTo>
                    <a:lnTo>
                      <a:pt x="264" y="306"/>
                    </a:lnTo>
                    <a:lnTo>
                      <a:pt x="270" y="312"/>
                    </a:lnTo>
                    <a:lnTo>
                      <a:pt x="270" y="330"/>
                    </a:lnTo>
                    <a:lnTo>
                      <a:pt x="276" y="324"/>
                    </a:lnTo>
                    <a:lnTo>
                      <a:pt x="312" y="324"/>
                    </a:lnTo>
                    <a:lnTo>
                      <a:pt x="312" y="330"/>
                    </a:lnTo>
                    <a:lnTo>
                      <a:pt x="312" y="318"/>
                    </a:lnTo>
                    <a:lnTo>
                      <a:pt x="318" y="306"/>
                    </a:lnTo>
                    <a:lnTo>
                      <a:pt x="324" y="300"/>
                    </a:lnTo>
                    <a:lnTo>
                      <a:pt x="330" y="282"/>
                    </a:lnTo>
                    <a:lnTo>
                      <a:pt x="348" y="270"/>
                    </a:lnTo>
                    <a:lnTo>
                      <a:pt x="348" y="246"/>
                    </a:lnTo>
                    <a:lnTo>
                      <a:pt x="354" y="240"/>
                    </a:lnTo>
                    <a:lnTo>
                      <a:pt x="372" y="240"/>
                    </a:lnTo>
                    <a:lnTo>
                      <a:pt x="378" y="216"/>
                    </a:lnTo>
                    <a:lnTo>
                      <a:pt x="390" y="204"/>
                    </a:lnTo>
                    <a:lnTo>
                      <a:pt x="390" y="192"/>
                    </a:lnTo>
                    <a:close/>
                  </a:path>
                </a:pathLst>
              </a:custGeom>
              <a:solidFill>
                <a:srgbClr val="9D90A0">
                  <a:lumMod val="40000"/>
                  <a:lumOff val="60000"/>
                </a:srgbClr>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118" name="Tunisia" descr="© INSCALE GmbH, 05.05.2010&#10;http://www.presentationload.com/">
                <a:extLst>
                  <a:ext uri="{FF2B5EF4-FFF2-40B4-BE49-F238E27FC236}">
                    <a16:creationId xmlns:a16="http://schemas.microsoft.com/office/drawing/2014/main" id="{9A3A278B-75A3-4543-A616-D62AB797628E}"/>
                  </a:ext>
                </a:extLst>
              </p:cNvPr>
              <p:cNvSpPr>
                <a:spLocks/>
              </p:cNvSpPr>
              <p:nvPr/>
            </p:nvSpPr>
            <p:spPr bwMode="gray">
              <a:xfrm>
                <a:off x="4429970" y="3231985"/>
                <a:ext cx="109194" cy="251241"/>
              </a:xfrm>
              <a:custGeom>
                <a:avLst/>
                <a:gdLst>
                  <a:gd name="T0" fmla="*/ 2147483647 w 276"/>
                  <a:gd name="T1" fmla="*/ 2147483647 h 570"/>
                  <a:gd name="T2" fmla="*/ 2147483647 w 276"/>
                  <a:gd name="T3" fmla="*/ 2147483647 h 570"/>
                  <a:gd name="T4" fmla="*/ 2147483647 w 276"/>
                  <a:gd name="T5" fmla="*/ 2147483647 h 570"/>
                  <a:gd name="T6" fmla="*/ 2147483647 w 276"/>
                  <a:gd name="T7" fmla="*/ 2147483647 h 570"/>
                  <a:gd name="T8" fmla="*/ 2147483647 w 276"/>
                  <a:gd name="T9" fmla="*/ 2147483647 h 570"/>
                  <a:gd name="T10" fmla="*/ 2147483647 w 276"/>
                  <a:gd name="T11" fmla="*/ 2147483647 h 570"/>
                  <a:gd name="T12" fmla="*/ 0 w 276"/>
                  <a:gd name="T13" fmla="*/ 2147483647 h 570"/>
                  <a:gd name="T14" fmla="*/ 2147483647 w 276"/>
                  <a:gd name="T15" fmla="*/ 2147483647 h 570"/>
                  <a:gd name="T16" fmla="*/ 2147483647 w 276"/>
                  <a:gd name="T17" fmla="*/ 2147483647 h 570"/>
                  <a:gd name="T18" fmla="*/ 2147483647 w 276"/>
                  <a:gd name="T19" fmla="*/ 2147483647 h 570"/>
                  <a:gd name="T20" fmla="*/ 2147483647 w 276"/>
                  <a:gd name="T21" fmla="*/ 2147483647 h 570"/>
                  <a:gd name="T22" fmla="*/ 2147483647 w 276"/>
                  <a:gd name="T23" fmla="*/ 2147483647 h 570"/>
                  <a:gd name="T24" fmla="*/ 2147483647 w 276"/>
                  <a:gd name="T25" fmla="*/ 2147483647 h 570"/>
                  <a:gd name="T26" fmla="*/ 2147483647 w 276"/>
                  <a:gd name="T27" fmla="*/ 2147483647 h 570"/>
                  <a:gd name="T28" fmla="*/ 2147483647 w 276"/>
                  <a:gd name="T29" fmla="*/ 2147483647 h 570"/>
                  <a:gd name="T30" fmla="*/ 2147483647 w 276"/>
                  <a:gd name="T31" fmla="*/ 2147483647 h 570"/>
                  <a:gd name="T32" fmla="*/ 2147483647 w 276"/>
                  <a:gd name="T33" fmla="*/ 2147483647 h 570"/>
                  <a:gd name="T34" fmla="*/ 2147483647 w 276"/>
                  <a:gd name="T35" fmla="*/ 2147483647 h 570"/>
                  <a:gd name="T36" fmla="*/ 2147483647 w 276"/>
                  <a:gd name="T37" fmla="*/ 2147483647 h 570"/>
                  <a:gd name="T38" fmla="*/ 2147483647 w 276"/>
                  <a:gd name="T39" fmla="*/ 2147483647 h 570"/>
                  <a:gd name="T40" fmla="*/ 2147483647 w 276"/>
                  <a:gd name="T41" fmla="*/ 2147483647 h 570"/>
                  <a:gd name="T42" fmla="*/ 2147483647 w 276"/>
                  <a:gd name="T43" fmla="*/ 2147483647 h 570"/>
                  <a:gd name="T44" fmla="*/ 2147483647 w 276"/>
                  <a:gd name="T45" fmla="*/ 2147483647 h 570"/>
                  <a:gd name="T46" fmla="*/ 2147483647 w 276"/>
                  <a:gd name="T47" fmla="*/ 2147483647 h 570"/>
                  <a:gd name="T48" fmla="*/ 2147483647 w 276"/>
                  <a:gd name="T49" fmla="*/ 2147483647 h 570"/>
                  <a:gd name="T50" fmla="*/ 2147483647 w 276"/>
                  <a:gd name="T51" fmla="*/ 2147483647 h 570"/>
                  <a:gd name="T52" fmla="*/ 2147483647 w 276"/>
                  <a:gd name="T53" fmla="*/ 2147483647 h 570"/>
                  <a:gd name="T54" fmla="*/ 2147483647 w 276"/>
                  <a:gd name="T55" fmla="*/ 2147483647 h 570"/>
                  <a:gd name="T56" fmla="*/ 2147483647 w 276"/>
                  <a:gd name="T57" fmla="*/ 2147483647 h 570"/>
                  <a:gd name="T58" fmla="*/ 2147483647 w 276"/>
                  <a:gd name="T59" fmla="*/ 2147483647 h 570"/>
                  <a:gd name="T60" fmla="*/ 2147483647 w 276"/>
                  <a:gd name="T61" fmla="*/ 2147483647 h 570"/>
                  <a:gd name="T62" fmla="*/ 2147483647 w 276"/>
                  <a:gd name="T63" fmla="*/ 2147483647 h 570"/>
                  <a:gd name="T64" fmla="*/ 2147483647 w 276"/>
                  <a:gd name="T65" fmla="*/ 2147483647 h 570"/>
                  <a:gd name="T66" fmla="*/ 2147483647 w 276"/>
                  <a:gd name="T67" fmla="*/ 2147483647 h 570"/>
                  <a:gd name="T68" fmla="*/ 2147483647 w 276"/>
                  <a:gd name="T69" fmla="*/ 2147483647 h 570"/>
                  <a:gd name="T70" fmla="*/ 2147483647 w 276"/>
                  <a:gd name="T71" fmla="*/ 2147483647 h 570"/>
                  <a:gd name="T72" fmla="*/ 2147483647 w 276"/>
                  <a:gd name="T73" fmla="*/ 2147483647 h 570"/>
                  <a:gd name="T74" fmla="*/ 2147483647 w 276"/>
                  <a:gd name="T75" fmla="*/ 2147483647 h 570"/>
                  <a:gd name="T76" fmla="*/ 2147483647 w 276"/>
                  <a:gd name="T77" fmla="*/ 2147483647 h 570"/>
                  <a:gd name="T78" fmla="*/ 2147483647 w 276"/>
                  <a:gd name="T79" fmla="*/ 2147483647 h 570"/>
                  <a:gd name="T80" fmla="*/ 2147483647 w 276"/>
                  <a:gd name="T81" fmla="*/ 2147483647 h 570"/>
                  <a:gd name="T82" fmla="*/ 2147483647 w 276"/>
                  <a:gd name="T83" fmla="*/ 2147483647 h 570"/>
                  <a:gd name="T84" fmla="*/ 2147483647 w 276"/>
                  <a:gd name="T85" fmla="*/ 2147483647 h 570"/>
                  <a:gd name="T86" fmla="*/ 2147483647 w 276"/>
                  <a:gd name="T87" fmla="*/ 2147483647 h 570"/>
                  <a:gd name="T88" fmla="*/ 2147483647 w 276"/>
                  <a:gd name="T89" fmla="*/ 0 h 570"/>
                  <a:gd name="T90" fmla="*/ 2147483647 w 276"/>
                  <a:gd name="T91" fmla="*/ 2147483647 h 570"/>
                  <a:gd name="T92" fmla="*/ 2147483647 w 276"/>
                  <a:gd name="T93" fmla="*/ 2147483647 h 570"/>
                  <a:gd name="T94" fmla="*/ 2147483647 w 276"/>
                  <a:gd name="T95" fmla="*/ 2147483647 h 57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76"/>
                  <a:gd name="T145" fmla="*/ 0 h 570"/>
                  <a:gd name="T146" fmla="*/ 276 w 276"/>
                  <a:gd name="T147" fmla="*/ 570 h 57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76" h="570">
                    <a:moveTo>
                      <a:pt x="42" y="60"/>
                    </a:moveTo>
                    <a:lnTo>
                      <a:pt x="60" y="66"/>
                    </a:lnTo>
                    <a:lnTo>
                      <a:pt x="60" y="78"/>
                    </a:lnTo>
                    <a:lnTo>
                      <a:pt x="54" y="90"/>
                    </a:lnTo>
                    <a:lnTo>
                      <a:pt x="54" y="126"/>
                    </a:lnTo>
                    <a:lnTo>
                      <a:pt x="60" y="138"/>
                    </a:lnTo>
                    <a:lnTo>
                      <a:pt x="60" y="180"/>
                    </a:lnTo>
                    <a:lnTo>
                      <a:pt x="54" y="192"/>
                    </a:lnTo>
                    <a:lnTo>
                      <a:pt x="54" y="204"/>
                    </a:lnTo>
                    <a:lnTo>
                      <a:pt x="48" y="210"/>
                    </a:lnTo>
                    <a:lnTo>
                      <a:pt x="48" y="216"/>
                    </a:lnTo>
                    <a:lnTo>
                      <a:pt x="24" y="234"/>
                    </a:lnTo>
                    <a:lnTo>
                      <a:pt x="0" y="258"/>
                    </a:lnTo>
                    <a:lnTo>
                      <a:pt x="0" y="300"/>
                    </a:lnTo>
                    <a:lnTo>
                      <a:pt x="12" y="300"/>
                    </a:lnTo>
                    <a:lnTo>
                      <a:pt x="12" y="330"/>
                    </a:lnTo>
                    <a:lnTo>
                      <a:pt x="24" y="330"/>
                    </a:lnTo>
                    <a:lnTo>
                      <a:pt x="42" y="336"/>
                    </a:lnTo>
                    <a:lnTo>
                      <a:pt x="54" y="348"/>
                    </a:lnTo>
                    <a:lnTo>
                      <a:pt x="54" y="390"/>
                    </a:lnTo>
                    <a:lnTo>
                      <a:pt x="60" y="390"/>
                    </a:lnTo>
                    <a:lnTo>
                      <a:pt x="66" y="396"/>
                    </a:lnTo>
                    <a:lnTo>
                      <a:pt x="90" y="408"/>
                    </a:lnTo>
                    <a:lnTo>
                      <a:pt x="96" y="420"/>
                    </a:lnTo>
                    <a:lnTo>
                      <a:pt x="102" y="426"/>
                    </a:lnTo>
                    <a:lnTo>
                      <a:pt x="108" y="450"/>
                    </a:lnTo>
                    <a:lnTo>
                      <a:pt x="114" y="492"/>
                    </a:lnTo>
                    <a:lnTo>
                      <a:pt x="126" y="540"/>
                    </a:lnTo>
                    <a:lnTo>
                      <a:pt x="138" y="570"/>
                    </a:lnTo>
                    <a:lnTo>
                      <a:pt x="144" y="564"/>
                    </a:lnTo>
                    <a:lnTo>
                      <a:pt x="156" y="564"/>
                    </a:lnTo>
                    <a:lnTo>
                      <a:pt x="186" y="534"/>
                    </a:lnTo>
                    <a:lnTo>
                      <a:pt x="186" y="510"/>
                    </a:lnTo>
                    <a:lnTo>
                      <a:pt x="174" y="486"/>
                    </a:lnTo>
                    <a:lnTo>
                      <a:pt x="174" y="468"/>
                    </a:lnTo>
                    <a:lnTo>
                      <a:pt x="192" y="450"/>
                    </a:lnTo>
                    <a:lnTo>
                      <a:pt x="198" y="450"/>
                    </a:lnTo>
                    <a:lnTo>
                      <a:pt x="204" y="438"/>
                    </a:lnTo>
                    <a:lnTo>
                      <a:pt x="210" y="432"/>
                    </a:lnTo>
                    <a:lnTo>
                      <a:pt x="216" y="420"/>
                    </a:lnTo>
                    <a:lnTo>
                      <a:pt x="222" y="414"/>
                    </a:lnTo>
                    <a:lnTo>
                      <a:pt x="234" y="408"/>
                    </a:lnTo>
                    <a:lnTo>
                      <a:pt x="246" y="408"/>
                    </a:lnTo>
                    <a:lnTo>
                      <a:pt x="270" y="396"/>
                    </a:lnTo>
                    <a:lnTo>
                      <a:pt x="276" y="390"/>
                    </a:lnTo>
                    <a:lnTo>
                      <a:pt x="276" y="384"/>
                    </a:lnTo>
                    <a:lnTo>
                      <a:pt x="264" y="372"/>
                    </a:lnTo>
                    <a:lnTo>
                      <a:pt x="258" y="372"/>
                    </a:lnTo>
                    <a:lnTo>
                      <a:pt x="264" y="330"/>
                    </a:lnTo>
                    <a:lnTo>
                      <a:pt x="252" y="330"/>
                    </a:lnTo>
                    <a:lnTo>
                      <a:pt x="240" y="300"/>
                    </a:lnTo>
                    <a:lnTo>
                      <a:pt x="228" y="294"/>
                    </a:lnTo>
                    <a:lnTo>
                      <a:pt x="222" y="306"/>
                    </a:lnTo>
                    <a:lnTo>
                      <a:pt x="216" y="294"/>
                    </a:lnTo>
                    <a:lnTo>
                      <a:pt x="198" y="294"/>
                    </a:lnTo>
                    <a:lnTo>
                      <a:pt x="186" y="288"/>
                    </a:lnTo>
                    <a:lnTo>
                      <a:pt x="180" y="282"/>
                    </a:lnTo>
                    <a:lnTo>
                      <a:pt x="168" y="276"/>
                    </a:lnTo>
                    <a:lnTo>
                      <a:pt x="168" y="246"/>
                    </a:lnTo>
                    <a:lnTo>
                      <a:pt x="174" y="240"/>
                    </a:lnTo>
                    <a:lnTo>
                      <a:pt x="180" y="240"/>
                    </a:lnTo>
                    <a:lnTo>
                      <a:pt x="234" y="186"/>
                    </a:lnTo>
                    <a:lnTo>
                      <a:pt x="240" y="174"/>
                    </a:lnTo>
                    <a:lnTo>
                      <a:pt x="240" y="156"/>
                    </a:lnTo>
                    <a:lnTo>
                      <a:pt x="234" y="144"/>
                    </a:lnTo>
                    <a:lnTo>
                      <a:pt x="216" y="126"/>
                    </a:lnTo>
                    <a:lnTo>
                      <a:pt x="204" y="120"/>
                    </a:lnTo>
                    <a:lnTo>
                      <a:pt x="198" y="120"/>
                    </a:lnTo>
                    <a:lnTo>
                      <a:pt x="198" y="102"/>
                    </a:lnTo>
                    <a:lnTo>
                      <a:pt x="204" y="90"/>
                    </a:lnTo>
                    <a:lnTo>
                      <a:pt x="204" y="78"/>
                    </a:lnTo>
                    <a:lnTo>
                      <a:pt x="210" y="72"/>
                    </a:lnTo>
                    <a:lnTo>
                      <a:pt x="222" y="66"/>
                    </a:lnTo>
                    <a:lnTo>
                      <a:pt x="228" y="60"/>
                    </a:lnTo>
                    <a:lnTo>
                      <a:pt x="234" y="48"/>
                    </a:lnTo>
                    <a:lnTo>
                      <a:pt x="234" y="36"/>
                    </a:lnTo>
                    <a:lnTo>
                      <a:pt x="240" y="30"/>
                    </a:lnTo>
                    <a:lnTo>
                      <a:pt x="240" y="18"/>
                    </a:lnTo>
                    <a:lnTo>
                      <a:pt x="228" y="18"/>
                    </a:lnTo>
                    <a:lnTo>
                      <a:pt x="222" y="30"/>
                    </a:lnTo>
                    <a:lnTo>
                      <a:pt x="210" y="36"/>
                    </a:lnTo>
                    <a:lnTo>
                      <a:pt x="204" y="48"/>
                    </a:lnTo>
                    <a:lnTo>
                      <a:pt x="192" y="60"/>
                    </a:lnTo>
                    <a:lnTo>
                      <a:pt x="186" y="60"/>
                    </a:lnTo>
                    <a:lnTo>
                      <a:pt x="174" y="54"/>
                    </a:lnTo>
                    <a:lnTo>
                      <a:pt x="162" y="42"/>
                    </a:lnTo>
                    <a:lnTo>
                      <a:pt x="174" y="30"/>
                    </a:lnTo>
                    <a:lnTo>
                      <a:pt x="174" y="24"/>
                    </a:lnTo>
                    <a:lnTo>
                      <a:pt x="180" y="12"/>
                    </a:lnTo>
                    <a:lnTo>
                      <a:pt x="168" y="0"/>
                    </a:lnTo>
                    <a:lnTo>
                      <a:pt x="138" y="0"/>
                    </a:lnTo>
                    <a:lnTo>
                      <a:pt x="126" y="6"/>
                    </a:lnTo>
                    <a:lnTo>
                      <a:pt x="108" y="12"/>
                    </a:lnTo>
                    <a:lnTo>
                      <a:pt x="96" y="18"/>
                    </a:lnTo>
                    <a:lnTo>
                      <a:pt x="84" y="30"/>
                    </a:lnTo>
                    <a:lnTo>
                      <a:pt x="84" y="42"/>
                    </a:lnTo>
                    <a:lnTo>
                      <a:pt x="42" y="60"/>
                    </a:lnTo>
                    <a:close/>
                  </a:path>
                </a:pathLst>
              </a:custGeom>
              <a:solidFill>
                <a:srgbClr val="9D90A0">
                  <a:lumMod val="40000"/>
                  <a:lumOff val="60000"/>
                </a:srgbClr>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119" name="Togo" descr="© INSCALE GmbH, 05.05.2010&#10;http://www.presentationload.com/">
                <a:extLst>
                  <a:ext uri="{FF2B5EF4-FFF2-40B4-BE49-F238E27FC236}">
                    <a16:creationId xmlns:a16="http://schemas.microsoft.com/office/drawing/2014/main" id="{C0A3E80F-831D-4C91-B024-76B2C89B9A36}"/>
                  </a:ext>
                </a:extLst>
              </p:cNvPr>
              <p:cNvSpPr>
                <a:spLocks/>
              </p:cNvSpPr>
              <p:nvPr/>
            </p:nvSpPr>
            <p:spPr bwMode="gray">
              <a:xfrm>
                <a:off x="4210023" y="4160712"/>
                <a:ext cx="56157" cy="178468"/>
              </a:xfrm>
              <a:custGeom>
                <a:avLst/>
                <a:gdLst>
                  <a:gd name="T0" fmla="*/ 2147483647 w 138"/>
                  <a:gd name="T1" fmla="*/ 2147483647 h 402"/>
                  <a:gd name="T2" fmla="*/ 2147483647 w 138"/>
                  <a:gd name="T3" fmla="*/ 2147483647 h 402"/>
                  <a:gd name="T4" fmla="*/ 2147483647 w 138"/>
                  <a:gd name="T5" fmla="*/ 2147483647 h 402"/>
                  <a:gd name="T6" fmla="*/ 2147483647 w 138"/>
                  <a:gd name="T7" fmla="*/ 2147483647 h 402"/>
                  <a:gd name="T8" fmla="*/ 2147483647 w 138"/>
                  <a:gd name="T9" fmla="*/ 2147483647 h 402"/>
                  <a:gd name="T10" fmla="*/ 2147483647 w 138"/>
                  <a:gd name="T11" fmla="*/ 2147483647 h 402"/>
                  <a:gd name="T12" fmla="*/ 2147483647 w 138"/>
                  <a:gd name="T13" fmla="*/ 2147483647 h 402"/>
                  <a:gd name="T14" fmla="*/ 2147483647 w 138"/>
                  <a:gd name="T15" fmla="*/ 2147483647 h 402"/>
                  <a:gd name="T16" fmla="*/ 2147483647 w 138"/>
                  <a:gd name="T17" fmla="*/ 2147483647 h 402"/>
                  <a:gd name="T18" fmla="*/ 2147483647 w 138"/>
                  <a:gd name="T19" fmla="*/ 2147483647 h 402"/>
                  <a:gd name="T20" fmla="*/ 2147483647 w 138"/>
                  <a:gd name="T21" fmla="*/ 2147483647 h 402"/>
                  <a:gd name="T22" fmla="*/ 2147483647 w 138"/>
                  <a:gd name="T23" fmla="*/ 2147483647 h 402"/>
                  <a:gd name="T24" fmla="*/ 2147483647 w 138"/>
                  <a:gd name="T25" fmla="*/ 2147483647 h 402"/>
                  <a:gd name="T26" fmla="*/ 2147483647 w 138"/>
                  <a:gd name="T27" fmla="*/ 2147483647 h 402"/>
                  <a:gd name="T28" fmla="*/ 2147483647 w 138"/>
                  <a:gd name="T29" fmla="*/ 2147483647 h 402"/>
                  <a:gd name="T30" fmla="*/ 2147483647 w 138"/>
                  <a:gd name="T31" fmla="*/ 2147483647 h 402"/>
                  <a:gd name="T32" fmla="*/ 2147483647 w 138"/>
                  <a:gd name="T33" fmla="*/ 0 h 402"/>
                  <a:gd name="T34" fmla="*/ 2147483647 w 138"/>
                  <a:gd name="T35" fmla="*/ 0 h 402"/>
                  <a:gd name="T36" fmla="*/ 2147483647 w 138"/>
                  <a:gd name="T37" fmla="*/ 2147483647 h 402"/>
                  <a:gd name="T38" fmla="*/ 0 w 138"/>
                  <a:gd name="T39" fmla="*/ 2147483647 h 402"/>
                  <a:gd name="T40" fmla="*/ 2147483647 w 138"/>
                  <a:gd name="T41" fmla="*/ 2147483647 h 402"/>
                  <a:gd name="T42" fmla="*/ 2147483647 w 138"/>
                  <a:gd name="T43" fmla="*/ 2147483647 h 402"/>
                  <a:gd name="T44" fmla="*/ 2147483647 w 138"/>
                  <a:gd name="T45" fmla="*/ 2147483647 h 402"/>
                  <a:gd name="T46" fmla="*/ 2147483647 w 138"/>
                  <a:gd name="T47" fmla="*/ 2147483647 h 402"/>
                  <a:gd name="T48" fmla="*/ 2147483647 w 138"/>
                  <a:gd name="T49" fmla="*/ 2147483647 h 402"/>
                  <a:gd name="T50" fmla="*/ 2147483647 w 138"/>
                  <a:gd name="T51" fmla="*/ 2147483647 h 402"/>
                  <a:gd name="T52" fmla="*/ 2147483647 w 138"/>
                  <a:gd name="T53" fmla="*/ 2147483647 h 402"/>
                  <a:gd name="T54" fmla="*/ 2147483647 w 138"/>
                  <a:gd name="T55" fmla="*/ 2147483647 h 402"/>
                  <a:gd name="T56" fmla="*/ 2147483647 w 138"/>
                  <a:gd name="T57" fmla="*/ 2147483647 h 402"/>
                  <a:gd name="T58" fmla="*/ 2147483647 w 138"/>
                  <a:gd name="T59" fmla="*/ 2147483647 h 402"/>
                  <a:gd name="T60" fmla="*/ 2147483647 w 138"/>
                  <a:gd name="T61" fmla="*/ 2147483647 h 402"/>
                  <a:gd name="T62" fmla="*/ 2147483647 w 138"/>
                  <a:gd name="T63" fmla="*/ 2147483647 h 402"/>
                  <a:gd name="T64" fmla="*/ 2147483647 w 138"/>
                  <a:gd name="T65" fmla="*/ 2147483647 h 402"/>
                  <a:gd name="T66" fmla="*/ 2147483647 w 138"/>
                  <a:gd name="T67" fmla="*/ 2147483647 h 402"/>
                  <a:gd name="T68" fmla="*/ 2147483647 w 138"/>
                  <a:gd name="T69" fmla="*/ 2147483647 h 402"/>
                  <a:gd name="T70" fmla="*/ 2147483647 w 138"/>
                  <a:gd name="T71" fmla="*/ 2147483647 h 402"/>
                  <a:gd name="T72" fmla="*/ 2147483647 w 138"/>
                  <a:gd name="T73" fmla="*/ 2147483647 h 402"/>
                  <a:gd name="T74" fmla="*/ 2147483647 w 138"/>
                  <a:gd name="T75" fmla="*/ 2147483647 h 402"/>
                  <a:gd name="T76" fmla="*/ 2147483647 w 138"/>
                  <a:gd name="T77" fmla="*/ 2147483647 h 402"/>
                  <a:gd name="T78" fmla="*/ 2147483647 w 138"/>
                  <a:gd name="T79" fmla="*/ 2147483647 h 402"/>
                  <a:gd name="T80" fmla="*/ 2147483647 w 138"/>
                  <a:gd name="T81" fmla="*/ 2147483647 h 402"/>
                  <a:gd name="T82" fmla="*/ 2147483647 w 138"/>
                  <a:gd name="T83" fmla="*/ 2147483647 h 402"/>
                  <a:gd name="T84" fmla="*/ 2147483647 w 138"/>
                  <a:gd name="T85" fmla="*/ 2147483647 h 402"/>
                  <a:gd name="T86" fmla="*/ 2147483647 w 138"/>
                  <a:gd name="T87" fmla="*/ 2147483647 h 402"/>
                  <a:gd name="T88" fmla="*/ 2147483647 w 138"/>
                  <a:gd name="T89" fmla="*/ 2147483647 h 402"/>
                  <a:gd name="T90" fmla="*/ 2147483647 w 138"/>
                  <a:gd name="T91" fmla="*/ 2147483647 h 402"/>
                  <a:gd name="T92" fmla="*/ 2147483647 w 138"/>
                  <a:gd name="T93" fmla="*/ 2147483647 h 402"/>
                  <a:gd name="T94" fmla="*/ 2147483647 w 138"/>
                  <a:gd name="T95" fmla="*/ 2147483647 h 402"/>
                  <a:gd name="T96" fmla="*/ 2147483647 w 138"/>
                  <a:gd name="T97" fmla="*/ 2147483647 h 402"/>
                  <a:gd name="T98" fmla="*/ 2147483647 w 138"/>
                  <a:gd name="T99" fmla="*/ 2147483647 h 402"/>
                  <a:gd name="T100" fmla="*/ 2147483647 w 138"/>
                  <a:gd name="T101" fmla="*/ 2147483647 h 402"/>
                  <a:gd name="T102" fmla="*/ 2147483647 w 138"/>
                  <a:gd name="T103" fmla="*/ 2147483647 h 40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38"/>
                  <a:gd name="T157" fmla="*/ 0 h 402"/>
                  <a:gd name="T158" fmla="*/ 138 w 138"/>
                  <a:gd name="T159" fmla="*/ 402 h 40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38" h="402">
                    <a:moveTo>
                      <a:pt x="126" y="354"/>
                    </a:moveTo>
                    <a:lnTo>
                      <a:pt x="120" y="288"/>
                    </a:lnTo>
                    <a:lnTo>
                      <a:pt x="132" y="282"/>
                    </a:lnTo>
                    <a:lnTo>
                      <a:pt x="120" y="270"/>
                    </a:lnTo>
                    <a:lnTo>
                      <a:pt x="120" y="210"/>
                    </a:lnTo>
                    <a:lnTo>
                      <a:pt x="132" y="198"/>
                    </a:lnTo>
                    <a:lnTo>
                      <a:pt x="126" y="186"/>
                    </a:lnTo>
                    <a:lnTo>
                      <a:pt x="126" y="156"/>
                    </a:lnTo>
                    <a:lnTo>
                      <a:pt x="120" y="144"/>
                    </a:lnTo>
                    <a:lnTo>
                      <a:pt x="108" y="132"/>
                    </a:lnTo>
                    <a:lnTo>
                      <a:pt x="108" y="90"/>
                    </a:lnTo>
                    <a:lnTo>
                      <a:pt x="78" y="60"/>
                    </a:lnTo>
                    <a:lnTo>
                      <a:pt x="66" y="54"/>
                    </a:lnTo>
                    <a:lnTo>
                      <a:pt x="66" y="24"/>
                    </a:lnTo>
                    <a:lnTo>
                      <a:pt x="72" y="6"/>
                    </a:lnTo>
                    <a:lnTo>
                      <a:pt x="54" y="6"/>
                    </a:lnTo>
                    <a:lnTo>
                      <a:pt x="30" y="0"/>
                    </a:lnTo>
                    <a:lnTo>
                      <a:pt x="12" y="0"/>
                    </a:lnTo>
                    <a:lnTo>
                      <a:pt x="12" y="18"/>
                    </a:lnTo>
                    <a:lnTo>
                      <a:pt x="0" y="30"/>
                    </a:lnTo>
                    <a:lnTo>
                      <a:pt x="36" y="54"/>
                    </a:lnTo>
                    <a:lnTo>
                      <a:pt x="24" y="132"/>
                    </a:lnTo>
                    <a:lnTo>
                      <a:pt x="36" y="120"/>
                    </a:lnTo>
                    <a:lnTo>
                      <a:pt x="42" y="120"/>
                    </a:lnTo>
                    <a:lnTo>
                      <a:pt x="48" y="126"/>
                    </a:lnTo>
                    <a:lnTo>
                      <a:pt x="48" y="150"/>
                    </a:lnTo>
                    <a:lnTo>
                      <a:pt x="42" y="162"/>
                    </a:lnTo>
                    <a:lnTo>
                      <a:pt x="54" y="174"/>
                    </a:lnTo>
                    <a:lnTo>
                      <a:pt x="54" y="180"/>
                    </a:lnTo>
                    <a:lnTo>
                      <a:pt x="48" y="180"/>
                    </a:lnTo>
                    <a:lnTo>
                      <a:pt x="36" y="192"/>
                    </a:lnTo>
                    <a:lnTo>
                      <a:pt x="42" y="198"/>
                    </a:lnTo>
                    <a:lnTo>
                      <a:pt x="54" y="204"/>
                    </a:lnTo>
                    <a:lnTo>
                      <a:pt x="60" y="210"/>
                    </a:lnTo>
                    <a:lnTo>
                      <a:pt x="60" y="222"/>
                    </a:lnTo>
                    <a:lnTo>
                      <a:pt x="54" y="228"/>
                    </a:lnTo>
                    <a:lnTo>
                      <a:pt x="54" y="270"/>
                    </a:lnTo>
                    <a:lnTo>
                      <a:pt x="48" y="276"/>
                    </a:lnTo>
                    <a:lnTo>
                      <a:pt x="48" y="294"/>
                    </a:lnTo>
                    <a:lnTo>
                      <a:pt x="54" y="294"/>
                    </a:lnTo>
                    <a:lnTo>
                      <a:pt x="60" y="300"/>
                    </a:lnTo>
                    <a:lnTo>
                      <a:pt x="60" y="312"/>
                    </a:lnTo>
                    <a:lnTo>
                      <a:pt x="54" y="324"/>
                    </a:lnTo>
                    <a:lnTo>
                      <a:pt x="54" y="336"/>
                    </a:lnTo>
                    <a:lnTo>
                      <a:pt x="66" y="378"/>
                    </a:lnTo>
                    <a:lnTo>
                      <a:pt x="96" y="402"/>
                    </a:lnTo>
                    <a:lnTo>
                      <a:pt x="108" y="396"/>
                    </a:lnTo>
                    <a:lnTo>
                      <a:pt x="120" y="384"/>
                    </a:lnTo>
                    <a:lnTo>
                      <a:pt x="138" y="384"/>
                    </a:lnTo>
                    <a:lnTo>
                      <a:pt x="138" y="372"/>
                    </a:lnTo>
                    <a:lnTo>
                      <a:pt x="126" y="360"/>
                    </a:lnTo>
                    <a:lnTo>
                      <a:pt x="126" y="354"/>
                    </a:lnTo>
                    <a:close/>
                  </a:path>
                </a:pathLst>
              </a:custGeom>
              <a:solidFill>
                <a:srgbClr val="9D90A0">
                  <a:lumMod val="40000"/>
                  <a:lumOff val="60000"/>
                </a:srgbClr>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120" name="Tanzania" descr="© INSCALE GmbH, 05.05.2010&#10;http://www.presentationload.com/">
                <a:extLst>
                  <a:ext uri="{FF2B5EF4-FFF2-40B4-BE49-F238E27FC236}">
                    <a16:creationId xmlns:a16="http://schemas.microsoft.com/office/drawing/2014/main" id="{6CA8F909-AD71-45D5-BBB5-1F375588FB8D}"/>
                  </a:ext>
                </a:extLst>
              </p:cNvPr>
              <p:cNvSpPr>
                <a:spLocks noEditPoints="1"/>
              </p:cNvSpPr>
              <p:nvPr/>
            </p:nvSpPr>
            <p:spPr bwMode="gray">
              <a:xfrm>
                <a:off x="5047695" y="4588689"/>
                <a:ext cx="302623" cy="381194"/>
              </a:xfrm>
              <a:custGeom>
                <a:avLst/>
                <a:gdLst>
                  <a:gd name="T0" fmla="*/ 2147483647 w 768"/>
                  <a:gd name="T1" fmla="*/ 2147483647 h 870"/>
                  <a:gd name="T2" fmla="*/ 2147483647 w 768"/>
                  <a:gd name="T3" fmla="*/ 2147483647 h 870"/>
                  <a:gd name="T4" fmla="*/ 2147483647 w 768"/>
                  <a:gd name="T5" fmla="*/ 2147483647 h 870"/>
                  <a:gd name="T6" fmla="*/ 2147483647 w 768"/>
                  <a:gd name="T7" fmla="*/ 2147483647 h 870"/>
                  <a:gd name="T8" fmla="*/ 2147483647 w 768"/>
                  <a:gd name="T9" fmla="*/ 2147483647 h 870"/>
                  <a:gd name="T10" fmla="*/ 2147483647 w 768"/>
                  <a:gd name="T11" fmla="*/ 2147483647 h 870"/>
                  <a:gd name="T12" fmla="*/ 2147483647 w 768"/>
                  <a:gd name="T13" fmla="*/ 2147483647 h 870"/>
                  <a:gd name="T14" fmla="*/ 2147483647 w 768"/>
                  <a:gd name="T15" fmla="*/ 2147483647 h 870"/>
                  <a:gd name="T16" fmla="*/ 2147483647 w 768"/>
                  <a:gd name="T17" fmla="*/ 2147483647 h 870"/>
                  <a:gd name="T18" fmla="*/ 2147483647 w 768"/>
                  <a:gd name="T19" fmla="*/ 2147483647 h 870"/>
                  <a:gd name="T20" fmla="*/ 2147483647 w 768"/>
                  <a:gd name="T21" fmla="*/ 2147483647 h 870"/>
                  <a:gd name="T22" fmla="*/ 2147483647 w 768"/>
                  <a:gd name="T23" fmla="*/ 2147483647 h 870"/>
                  <a:gd name="T24" fmla="*/ 2147483647 w 768"/>
                  <a:gd name="T25" fmla="*/ 2147483647 h 870"/>
                  <a:gd name="T26" fmla="*/ 2147483647 w 768"/>
                  <a:gd name="T27" fmla="*/ 2147483647 h 870"/>
                  <a:gd name="T28" fmla="*/ 2147483647 w 768"/>
                  <a:gd name="T29" fmla="*/ 2147483647 h 870"/>
                  <a:gd name="T30" fmla="*/ 2147483647 w 768"/>
                  <a:gd name="T31" fmla="*/ 2147483647 h 870"/>
                  <a:gd name="T32" fmla="*/ 2147483647 w 768"/>
                  <a:gd name="T33" fmla="*/ 2147483647 h 870"/>
                  <a:gd name="T34" fmla="*/ 2147483647 w 768"/>
                  <a:gd name="T35" fmla="*/ 2147483647 h 870"/>
                  <a:gd name="T36" fmla="*/ 2147483647 w 768"/>
                  <a:gd name="T37" fmla="*/ 2147483647 h 870"/>
                  <a:gd name="T38" fmla="*/ 2147483647 w 768"/>
                  <a:gd name="T39" fmla="*/ 2147483647 h 870"/>
                  <a:gd name="T40" fmla="*/ 2147483647 w 768"/>
                  <a:gd name="T41" fmla="*/ 2147483647 h 870"/>
                  <a:gd name="T42" fmla="*/ 2147483647 w 768"/>
                  <a:gd name="T43" fmla="*/ 2147483647 h 870"/>
                  <a:gd name="T44" fmla="*/ 2147483647 w 768"/>
                  <a:gd name="T45" fmla="*/ 2147483647 h 870"/>
                  <a:gd name="T46" fmla="*/ 2147483647 w 768"/>
                  <a:gd name="T47" fmla="*/ 2147483647 h 870"/>
                  <a:gd name="T48" fmla="*/ 2147483647 w 768"/>
                  <a:gd name="T49" fmla="*/ 2147483647 h 870"/>
                  <a:gd name="T50" fmla="*/ 2147483647 w 768"/>
                  <a:gd name="T51" fmla="*/ 2147483647 h 870"/>
                  <a:gd name="T52" fmla="*/ 2147483647 w 768"/>
                  <a:gd name="T53" fmla="*/ 2147483647 h 870"/>
                  <a:gd name="T54" fmla="*/ 2147483647 w 768"/>
                  <a:gd name="T55" fmla="*/ 2147483647 h 870"/>
                  <a:gd name="T56" fmla="*/ 2147483647 w 768"/>
                  <a:gd name="T57" fmla="*/ 2147483647 h 870"/>
                  <a:gd name="T58" fmla="*/ 2147483647 w 768"/>
                  <a:gd name="T59" fmla="*/ 2147483647 h 870"/>
                  <a:gd name="T60" fmla="*/ 2147483647 w 768"/>
                  <a:gd name="T61" fmla="*/ 2147483647 h 870"/>
                  <a:gd name="T62" fmla="*/ 2147483647 w 768"/>
                  <a:gd name="T63" fmla="*/ 2147483647 h 870"/>
                  <a:gd name="T64" fmla="*/ 2147483647 w 768"/>
                  <a:gd name="T65" fmla="*/ 2147483647 h 870"/>
                  <a:gd name="T66" fmla="*/ 2147483647 w 768"/>
                  <a:gd name="T67" fmla="*/ 2147483647 h 870"/>
                  <a:gd name="T68" fmla="*/ 2147483647 w 768"/>
                  <a:gd name="T69" fmla="*/ 2147483647 h 870"/>
                  <a:gd name="T70" fmla="*/ 2147483647 w 768"/>
                  <a:gd name="T71" fmla="*/ 2147483647 h 870"/>
                  <a:gd name="T72" fmla="*/ 2147483647 w 768"/>
                  <a:gd name="T73" fmla="*/ 2147483647 h 870"/>
                  <a:gd name="T74" fmla="*/ 2147483647 w 768"/>
                  <a:gd name="T75" fmla="*/ 2147483647 h 870"/>
                  <a:gd name="T76" fmla="*/ 2147483647 w 768"/>
                  <a:gd name="T77" fmla="*/ 2147483647 h 870"/>
                  <a:gd name="T78" fmla="*/ 2147483647 w 768"/>
                  <a:gd name="T79" fmla="*/ 2147483647 h 870"/>
                  <a:gd name="T80" fmla="*/ 2147483647 w 768"/>
                  <a:gd name="T81" fmla="*/ 2147483647 h 870"/>
                  <a:gd name="T82" fmla="*/ 2147483647 w 768"/>
                  <a:gd name="T83" fmla="*/ 2147483647 h 870"/>
                  <a:gd name="T84" fmla="*/ 2147483647 w 768"/>
                  <a:gd name="T85" fmla="*/ 2147483647 h 870"/>
                  <a:gd name="T86" fmla="*/ 2147483647 w 768"/>
                  <a:gd name="T87" fmla="*/ 2147483647 h 870"/>
                  <a:gd name="T88" fmla="*/ 2147483647 w 768"/>
                  <a:gd name="T89" fmla="*/ 2147483647 h 870"/>
                  <a:gd name="T90" fmla="*/ 2147483647 w 768"/>
                  <a:gd name="T91" fmla="*/ 2147483647 h 870"/>
                  <a:gd name="T92" fmla="*/ 2147483647 w 768"/>
                  <a:gd name="T93" fmla="*/ 2147483647 h 870"/>
                  <a:gd name="T94" fmla="*/ 2147483647 w 768"/>
                  <a:gd name="T95" fmla="*/ 2147483647 h 870"/>
                  <a:gd name="T96" fmla="*/ 2147483647 w 768"/>
                  <a:gd name="T97" fmla="*/ 2147483647 h 870"/>
                  <a:gd name="T98" fmla="*/ 2147483647 w 768"/>
                  <a:gd name="T99" fmla="*/ 2147483647 h 870"/>
                  <a:gd name="T100" fmla="*/ 2147483647 w 768"/>
                  <a:gd name="T101" fmla="*/ 2147483647 h 870"/>
                  <a:gd name="T102" fmla="*/ 2147483647 w 768"/>
                  <a:gd name="T103" fmla="*/ 2147483647 h 87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768"/>
                  <a:gd name="T157" fmla="*/ 0 h 870"/>
                  <a:gd name="T158" fmla="*/ 768 w 768"/>
                  <a:gd name="T159" fmla="*/ 870 h 87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768" h="870">
                    <a:moveTo>
                      <a:pt x="762" y="744"/>
                    </a:moveTo>
                    <a:lnTo>
                      <a:pt x="750" y="744"/>
                    </a:lnTo>
                    <a:lnTo>
                      <a:pt x="744" y="738"/>
                    </a:lnTo>
                    <a:lnTo>
                      <a:pt x="732" y="732"/>
                    </a:lnTo>
                    <a:lnTo>
                      <a:pt x="720" y="720"/>
                    </a:lnTo>
                    <a:lnTo>
                      <a:pt x="720" y="708"/>
                    </a:lnTo>
                    <a:lnTo>
                      <a:pt x="714" y="690"/>
                    </a:lnTo>
                    <a:lnTo>
                      <a:pt x="714" y="654"/>
                    </a:lnTo>
                    <a:lnTo>
                      <a:pt x="690" y="612"/>
                    </a:lnTo>
                    <a:lnTo>
                      <a:pt x="702" y="564"/>
                    </a:lnTo>
                    <a:lnTo>
                      <a:pt x="684" y="540"/>
                    </a:lnTo>
                    <a:lnTo>
                      <a:pt x="690" y="528"/>
                    </a:lnTo>
                    <a:lnTo>
                      <a:pt x="696" y="522"/>
                    </a:lnTo>
                    <a:lnTo>
                      <a:pt x="708" y="498"/>
                    </a:lnTo>
                    <a:lnTo>
                      <a:pt x="708" y="480"/>
                    </a:lnTo>
                    <a:lnTo>
                      <a:pt x="702" y="474"/>
                    </a:lnTo>
                    <a:lnTo>
                      <a:pt x="690" y="468"/>
                    </a:lnTo>
                    <a:lnTo>
                      <a:pt x="672" y="456"/>
                    </a:lnTo>
                    <a:lnTo>
                      <a:pt x="660" y="450"/>
                    </a:lnTo>
                    <a:lnTo>
                      <a:pt x="654" y="438"/>
                    </a:lnTo>
                    <a:lnTo>
                      <a:pt x="654" y="426"/>
                    </a:lnTo>
                    <a:lnTo>
                      <a:pt x="660" y="414"/>
                    </a:lnTo>
                    <a:lnTo>
                      <a:pt x="666" y="396"/>
                    </a:lnTo>
                    <a:lnTo>
                      <a:pt x="666" y="384"/>
                    </a:lnTo>
                    <a:lnTo>
                      <a:pt x="672" y="366"/>
                    </a:lnTo>
                    <a:lnTo>
                      <a:pt x="678" y="354"/>
                    </a:lnTo>
                    <a:lnTo>
                      <a:pt x="678" y="330"/>
                    </a:lnTo>
                    <a:lnTo>
                      <a:pt x="684" y="318"/>
                    </a:lnTo>
                    <a:lnTo>
                      <a:pt x="684" y="300"/>
                    </a:lnTo>
                    <a:lnTo>
                      <a:pt x="570" y="192"/>
                    </a:lnTo>
                    <a:lnTo>
                      <a:pt x="576" y="186"/>
                    </a:lnTo>
                    <a:lnTo>
                      <a:pt x="582" y="186"/>
                    </a:lnTo>
                    <a:lnTo>
                      <a:pt x="588" y="180"/>
                    </a:lnTo>
                    <a:lnTo>
                      <a:pt x="588" y="174"/>
                    </a:lnTo>
                    <a:lnTo>
                      <a:pt x="576" y="162"/>
                    </a:lnTo>
                    <a:lnTo>
                      <a:pt x="324" y="6"/>
                    </a:lnTo>
                    <a:lnTo>
                      <a:pt x="312" y="6"/>
                    </a:lnTo>
                    <a:lnTo>
                      <a:pt x="312" y="18"/>
                    </a:lnTo>
                    <a:lnTo>
                      <a:pt x="318" y="24"/>
                    </a:lnTo>
                    <a:lnTo>
                      <a:pt x="318" y="36"/>
                    </a:lnTo>
                    <a:lnTo>
                      <a:pt x="294" y="48"/>
                    </a:lnTo>
                    <a:lnTo>
                      <a:pt x="276" y="66"/>
                    </a:lnTo>
                    <a:lnTo>
                      <a:pt x="264" y="84"/>
                    </a:lnTo>
                    <a:lnTo>
                      <a:pt x="264" y="90"/>
                    </a:lnTo>
                    <a:lnTo>
                      <a:pt x="270" y="96"/>
                    </a:lnTo>
                    <a:lnTo>
                      <a:pt x="294" y="96"/>
                    </a:lnTo>
                    <a:lnTo>
                      <a:pt x="306" y="90"/>
                    </a:lnTo>
                    <a:lnTo>
                      <a:pt x="312" y="90"/>
                    </a:lnTo>
                    <a:lnTo>
                      <a:pt x="306" y="96"/>
                    </a:lnTo>
                    <a:lnTo>
                      <a:pt x="294" y="102"/>
                    </a:lnTo>
                    <a:lnTo>
                      <a:pt x="276" y="120"/>
                    </a:lnTo>
                    <a:lnTo>
                      <a:pt x="270" y="120"/>
                    </a:lnTo>
                    <a:lnTo>
                      <a:pt x="264" y="114"/>
                    </a:lnTo>
                    <a:lnTo>
                      <a:pt x="252" y="108"/>
                    </a:lnTo>
                    <a:lnTo>
                      <a:pt x="246" y="108"/>
                    </a:lnTo>
                    <a:lnTo>
                      <a:pt x="234" y="120"/>
                    </a:lnTo>
                    <a:lnTo>
                      <a:pt x="234" y="138"/>
                    </a:lnTo>
                    <a:lnTo>
                      <a:pt x="246" y="150"/>
                    </a:lnTo>
                    <a:lnTo>
                      <a:pt x="216" y="150"/>
                    </a:lnTo>
                    <a:lnTo>
                      <a:pt x="216" y="138"/>
                    </a:lnTo>
                    <a:lnTo>
                      <a:pt x="222" y="132"/>
                    </a:lnTo>
                    <a:lnTo>
                      <a:pt x="222" y="126"/>
                    </a:lnTo>
                    <a:lnTo>
                      <a:pt x="228" y="114"/>
                    </a:lnTo>
                    <a:lnTo>
                      <a:pt x="210" y="120"/>
                    </a:lnTo>
                    <a:lnTo>
                      <a:pt x="192" y="102"/>
                    </a:lnTo>
                    <a:lnTo>
                      <a:pt x="186" y="102"/>
                    </a:lnTo>
                    <a:lnTo>
                      <a:pt x="174" y="114"/>
                    </a:lnTo>
                    <a:lnTo>
                      <a:pt x="174" y="132"/>
                    </a:lnTo>
                    <a:lnTo>
                      <a:pt x="168" y="138"/>
                    </a:lnTo>
                    <a:lnTo>
                      <a:pt x="162" y="138"/>
                    </a:lnTo>
                    <a:lnTo>
                      <a:pt x="156" y="132"/>
                    </a:lnTo>
                    <a:lnTo>
                      <a:pt x="156" y="48"/>
                    </a:lnTo>
                    <a:lnTo>
                      <a:pt x="162" y="36"/>
                    </a:lnTo>
                    <a:lnTo>
                      <a:pt x="162" y="24"/>
                    </a:lnTo>
                    <a:lnTo>
                      <a:pt x="168" y="12"/>
                    </a:lnTo>
                    <a:lnTo>
                      <a:pt x="168" y="6"/>
                    </a:lnTo>
                    <a:lnTo>
                      <a:pt x="78" y="0"/>
                    </a:lnTo>
                    <a:lnTo>
                      <a:pt x="72" y="24"/>
                    </a:lnTo>
                    <a:lnTo>
                      <a:pt x="78" y="30"/>
                    </a:lnTo>
                    <a:lnTo>
                      <a:pt x="84" y="42"/>
                    </a:lnTo>
                    <a:lnTo>
                      <a:pt x="90" y="48"/>
                    </a:lnTo>
                    <a:lnTo>
                      <a:pt x="90" y="66"/>
                    </a:lnTo>
                    <a:lnTo>
                      <a:pt x="96" y="72"/>
                    </a:lnTo>
                    <a:lnTo>
                      <a:pt x="96" y="96"/>
                    </a:lnTo>
                    <a:lnTo>
                      <a:pt x="78" y="114"/>
                    </a:lnTo>
                    <a:lnTo>
                      <a:pt x="66" y="114"/>
                    </a:lnTo>
                    <a:lnTo>
                      <a:pt x="66" y="126"/>
                    </a:lnTo>
                    <a:lnTo>
                      <a:pt x="60" y="138"/>
                    </a:lnTo>
                    <a:lnTo>
                      <a:pt x="60" y="156"/>
                    </a:lnTo>
                    <a:lnTo>
                      <a:pt x="66" y="156"/>
                    </a:lnTo>
                    <a:lnTo>
                      <a:pt x="72" y="162"/>
                    </a:lnTo>
                    <a:lnTo>
                      <a:pt x="90" y="162"/>
                    </a:lnTo>
                    <a:lnTo>
                      <a:pt x="90" y="180"/>
                    </a:lnTo>
                    <a:lnTo>
                      <a:pt x="78" y="186"/>
                    </a:lnTo>
                    <a:lnTo>
                      <a:pt x="84" y="198"/>
                    </a:lnTo>
                    <a:lnTo>
                      <a:pt x="72" y="198"/>
                    </a:lnTo>
                    <a:lnTo>
                      <a:pt x="54" y="216"/>
                    </a:lnTo>
                    <a:lnTo>
                      <a:pt x="48" y="228"/>
                    </a:lnTo>
                    <a:lnTo>
                      <a:pt x="48" y="246"/>
                    </a:lnTo>
                    <a:lnTo>
                      <a:pt x="42" y="258"/>
                    </a:lnTo>
                    <a:lnTo>
                      <a:pt x="30" y="270"/>
                    </a:lnTo>
                    <a:lnTo>
                      <a:pt x="6" y="282"/>
                    </a:lnTo>
                    <a:lnTo>
                      <a:pt x="0" y="294"/>
                    </a:lnTo>
                    <a:lnTo>
                      <a:pt x="6" y="306"/>
                    </a:lnTo>
                    <a:lnTo>
                      <a:pt x="18" y="318"/>
                    </a:lnTo>
                    <a:lnTo>
                      <a:pt x="18" y="330"/>
                    </a:lnTo>
                    <a:lnTo>
                      <a:pt x="12" y="342"/>
                    </a:lnTo>
                    <a:lnTo>
                      <a:pt x="12" y="348"/>
                    </a:lnTo>
                    <a:lnTo>
                      <a:pt x="18" y="354"/>
                    </a:lnTo>
                    <a:lnTo>
                      <a:pt x="18" y="366"/>
                    </a:lnTo>
                    <a:lnTo>
                      <a:pt x="24" y="378"/>
                    </a:lnTo>
                    <a:lnTo>
                      <a:pt x="24" y="396"/>
                    </a:lnTo>
                    <a:lnTo>
                      <a:pt x="18" y="402"/>
                    </a:lnTo>
                    <a:lnTo>
                      <a:pt x="18" y="432"/>
                    </a:lnTo>
                    <a:lnTo>
                      <a:pt x="30" y="444"/>
                    </a:lnTo>
                    <a:lnTo>
                      <a:pt x="36" y="444"/>
                    </a:lnTo>
                    <a:lnTo>
                      <a:pt x="48" y="450"/>
                    </a:lnTo>
                    <a:lnTo>
                      <a:pt x="72" y="474"/>
                    </a:lnTo>
                    <a:lnTo>
                      <a:pt x="78" y="486"/>
                    </a:lnTo>
                    <a:lnTo>
                      <a:pt x="78" y="546"/>
                    </a:lnTo>
                    <a:lnTo>
                      <a:pt x="84" y="558"/>
                    </a:lnTo>
                    <a:lnTo>
                      <a:pt x="114" y="594"/>
                    </a:lnTo>
                    <a:lnTo>
                      <a:pt x="114" y="600"/>
                    </a:lnTo>
                    <a:lnTo>
                      <a:pt x="108" y="612"/>
                    </a:lnTo>
                    <a:lnTo>
                      <a:pt x="108" y="618"/>
                    </a:lnTo>
                    <a:lnTo>
                      <a:pt x="126" y="618"/>
                    </a:lnTo>
                    <a:lnTo>
                      <a:pt x="138" y="612"/>
                    </a:lnTo>
                    <a:lnTo>
                      <a:pt x="138" y="630"/>
                    </a:lnTo>
                    <a:lnTo>
                      <a:pt x="144" y="636"/>
                    </a:lnTo>
                    <a:lnTo>
                      <a:pt x="162" y="636"/>
                    </a:lnTo>
                    <a:lnTo>
                      <a:pt x="180" y="654"/>
                    </a:lnTo>
                    <a:lnTo>
                      <a:pt x="192" y="654"/>
                    </a:lnTo>
                    <a:lnTo>
                      <a:pt x="204" y="648"/>
                    </a:lnTo>
                    <a:lnTo>
                      <a:pt x="204" y="666"/>
                    </a:lnTo>
                    <a:lnTo>
                      <a:pt x="222" y="666"/>
                    </a:lnTo>
                    <a:lnTo>
                      <a:pt x="240" y="678"/>
                    </a:lnTo>
                    <a:lnTo>
                      <a:pt x="264" y="678"/>
                    </a:lnTo>
                    <a:lnTo>
                      <a:pt x="270" y="696"/>
                    </a:lnTo>
                    <a:lnTo>
                      <a:pt x="300" y="696"/>
                    </a:lnTo>
                    <a:lnTo>
                      <a:pt x="300" y="690"/>
                    </a:lnTo>
                    <a:lnTo>
                      <a:pt x="312" y="678"/>
                    </a:lnTo>
                    <a:lnTo>
                      <a:pt x="318" y="684"/>
                    </a:lnTo>
                    <a:lnTo>
                      <a:pt x="330" y="690"/>
                    </a:lnTo>
                    <a:lnTo>
                      <a:pt x="336" y="702"/>
                    </a:lnTo>
                    <a:lnTo>
                      <a:pt x="348" y="714"/>
                    </a:lnTo>
                    <a:lnTo>
                      <a:pt x="348" y="774"/>
                    </a:lnTo>
                    <a:lnTo>
                      <a:pt x="354" y="774"/>
                    </a:lnTo>
                    <a:lnTo>
                      <a:pt x="360" y="780"/>
                    </a:lnTo>
                    <a:lnTo>
                      <a:pt x="360" y="792"/>
                    </a:lnTo>
                    <a:lnTo>
                      <a:pt x="354" y="798"/>
                    </a:lnTo>
                    <a:lnTo>
                      <a:pt x="354" y="804"/>
                    </a:lnTo>
                    <a:lnTo>
                      <a:pt x="348" y="810"/>
                    </a:lnTo>
                    <a:lnTo>
                      <a:pt x="348" y="816"/>
                    </a:lnTo>
                    <a:lnTo>
                      <a:pt x="366" y="834"/>
                    </a:lnTo>
                    <a:lnTo>
                      <a:pt x="378" y="840"/>
                    </a:lnTo>
                    <a:lnTo>
                      <a:pt x="372" y="858"/>
                    </a:lnTo>
                    <a:lnTo>
                      <a:pt x="408" y="858"/>
                    </a:lnTo>
                    <a:lnTo>
                      <a:pt x="414" y="852"/>
                    </a:lnTo>
                    <a:lnTo>
                      <a:pt x="420" y="852"/>
                    </a:lnTo>
                    <a:lnTo>
                      <a:pt x="432" y="840"/>
                    </a:lnTo>
                    <a:lnTo>
                      <a:pt x="444" y="840"/>
                    </a:lnTo>
                    <a:lnTo>
                      <a:pt x="456" y="846"/>
                    </a:lnTo>
                    <a:lnTo>
                      <a:pt x="462" y="858"/>
                    </a:lnTo>
                    <a:lnTo>
                      <a:pt x="474" y="864"/>
                    </a:lnTo>
                    <a:lnTo>
                      <a:pt x="480" y="870"/>
                    </a:lnTo>
                    <a:lnTo>
                      <a:pt x="492" y="870"/>
                    </a:lnTo>
                    <a:lnTo>
                      <a:pt x="510" y="852"/>
                    </a:lnTo>
                    <a:lnTo>
                      <a:pt x="516" y="852"/>
                    </a:lnTo>
                    <a:lnTo>
                      <a:pt x="522" y="858"/>
                    </a:lnTo>
                    <a:lnTo>
                      <a:pt x="534" y="864"/>
                    </a:lnTo>
                    <a:lnTo>
                      <a:pt x="552" y="864"/>
                    </a:lnTo>
                    <a:lnTo>
                      <a:pt x="564" y="852"/>
                    </a:lnTo>
                    <a:lnTo>
                      <a:pt x="576" y="846"/>
                    </a:lnTo>
                    <a:lnTo>
                      <a:pt x="582" y="834"/>
                    </a:lnTo>
                    <a:lnTo>
                      <a:pt x="588" y="828"/>
                    </a:lnTo>
                    <a:lnTo>
                      <a:pt x="612" y="828"/>
                    </a:lnTo>
                    <a:lnTo>
                      <a:pt x="618" y="834"/>
                    </a:lnTo>
                    <a:lnTo>
                      <a:pt x="618" y="840"/>
                    </a:lnTo>
                    <a:lnTo>
                      <a:pt x="630" y="840"/>
                    </a:lnTo>
                    <a:lnTo>
                      <a:pt x="642" y="834"/>
                    </a:lnTo>
                    <a:lnTo>
                      <a:pt x="654" y="822"/>
                    </a:lnTo>
                    <a:lnTo>
                      <a:pt x="660" y="822"/>
                    </a:lnTo>
                    <a:lnTo>
                      <a:pt x="690" y="816"/>
                    </a:lnTo>
                    <a:lnTo>
                      <a:pt x="768" y="762"/>
                    </a:lnTo>
                    <a:lnTo>
                      <a:pt x="762" y="744"/>
                    </a:lnTo>
                    <a:close/>
                    <a:moveTo>
                      <a:pt x="726" y="360"/>
                    </a:moveTo>
                    <a:lnTo>
                      <a:pt x="732" y="354"/>
                    </a:lnTo>
                    <a:lnTo>
                      <a:pt x="732" y="324"/>
                    </a:lnTo>
                    <a:lnTo>
                      <a:pt x="720" y="312"/>
                    </a:lnTo>
                    <a:lnTo>
                      <a:pt x="714" y="312"/>
                    </a:lnTo>
                    <a:lnTo>
                      <a:pt x="708" y="318"/>
                    </a:lnTo>
                    <a:lnTo>
                      <a:pt x="708" y="348"/>
                    </a:lnTo>
                    <a:lnTo>
                      <a:pt x="714" y="354"/>
                    </a:lnTo>
                    <a:lnTo>
                      <a:pt x="726" y="360"/>
                    </a:lnTo>
                    <a:close/>
                    <a:moveTo>
                      <a:pt x="678" y="420"/>
                    </a:moveTo>
                    <a:lnTo>
                      <a:pt x="690" y="426"/>
                    </a:lnTo>
                    <a:lnTo>
                      <a:pt x="696" y="438"/>
                    </a:lnTo>
                    <a:lnTo>
                      <a:pt x="708" y="444"/>
                    </a:lnTo>
                    <a:lnTo>
                      <a:pt x="720" y="444"/>
                    </a:lnTo>
                    <a:lnTo>
                      <a:pt x="726" y="438"/>
                    </a:lnTo>
                    <a:lnTo>
                      <a:pt x="720" y="432"/>
                    </a:lnTo>
                    <a:lnTo>
                      <a:pt x="720" y="426"/>
                    </a:lnTo>
                    <a:lnTo>
                      <a:pt x="708" y="414"/>
                    </a:lnTo>
                    <a:lnTo>
                      <a:pt x="708" y="390"/>
                    </a:lnTo>
                    <a:lnTo>
                      <a:pt x="702" y="378"/>
                    </a:lnTo>
                    <a:lnTo>
                      <a:pt x="684" y="378"/>
                    </a:lnTo>
                    <a:lnTo>
                      <a:pt x="678" y="384"/>
                    </a:lnTo>
                    <a:lnTo>
                      <a:pt x="678" y="420"/>
                    </a:lnTo>
                    <a:close/>
                  </a:path>
                </a:pathLst>
              </a:custGeom>
              <a:solidFill>
                <a:srgbClr val="9D90A0">
                  <a:lumMod val="40000"/>
                  <a:lumOff val="60000"/>
                </a:srgbClr>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121" name="Swaziland" descr="© INSCALE GmbH, 05.05.2010&#10;http://www.presentationload.com/">
                <a:extLst>
                  <a:ext uri="{FF2B5EF4-FFF2-40B4-BE49-F238E27FC236}">
                    <a16:creationId xmlns:a16="http://schemas.microsoft.com/office/drawing/2014/main" id="{87961D05-532B-438B-ADDC-C5295874F43A}"/>
                  </a:ext>
                </a:extLst>
              </p:cNvPr>
              <p:cNvSpPr>
                <a:spLocks/>
              </p:cNvSpPr>
              <p:nvPr/>
            </p:nvSpPr>
            <p:spPr bwMode="gray">
              <a:xfrm>
                <a:off x="5066414" y="5463702"/>
                <a:ext cx="38998" cy="58912"/>
              </a:xfrm>
              <a:custGeom>
                <a:avLst/>
                <a:gdLst>
                  <a:gd name="T0" fmla="*/ 2147483647 w 102"/>
                  <a:gd name="T1" fmla="*/ 2147483647 h 132"/>
                  <a:gd name="T2" fmla="*/ 2147483647 w 102"/>
                  <a:gd name="T3" fmla="*/ 2147483647 h 132"/>
                  <a:gd name="T4" fmla="*/ 2147483647 w 102"/>
                  <a:gd name="T5" fmla="*/ 2147483647 h 132"/>
                  <a:gd name="T6" fmla="*/ 2147483647 w 102"/>
                  <a:gd name="T7" fmla="*/ 2147483647 h 132"/>
                  <a:gd name="T8" fmla="*/ 2147483647 w 102"/>
                  <a:gd name="T9" fmla="*/ 2147483647 h 132"/>
                  <a:gd name="T10" fmla="*/ 2147483647 w 102"/>
                  <a:gd name="T11" fmla="*/ 0 h 132"/>
                  <a:gd name="T12" fmla="*/ 2147483647 w 102"/>
                  <a:gd name="T13" fmla="*/ 0 h 132"/>
                  <a:gd name="T14" fmla="*/ 2147483647 w 102"/>
                  <a:gd name="T15" fmla="*/ 2147483647 h 132"/>
                  <a:gd name="T16" fmla="*/ 2147483647 w 102"/>
                  <a:gd name="T17" fmla="*/ 2147483647 h 132"/>
                  <a:gd name="T18" fmla="*/ 2147483647 w 102"/>
                  <a:gd name="T19" fmla="*/ 2147483647 h 132"/>
                  <a:gd name="T20" fmla="*/ 2147483647 w 102"/>
                  <a:gd name="T21" fmla="*/ 2147483647 h 132"/>
                  <a:gd name="T22" fmla="*/ 0 w 102"/>
                  <a:gd name="T23" fmla="*/ 2147483647 h 132"/>
                  <a:gd name="T24" fmla="*/ 0 w 102"/>
                  <a:gd name="T25" fmla="*/ 2147483647 h 132"/>
                  <a:gd name="T26" fmla="*/ 2147483647 w 102"/>
                  <a:gd name="T27" fmla="*/ 2147483647 h 132"/>
                  <a:gd name="T28" fmla="*/ 2147483647 w 102"/>
                  <a:gd name="T29" fmla="*/ 2147483647 h 132"/>
                  <a:gd name="T30" fmla="*/ 2147483647 w 102"/>
                  <a:gd name="T31" fmla="*/ 2147483647 h 132"/>
                  <a:gd name="T32" fmla="*/ 2147483647 w 102"/>
                  <a:gd name="T33" fmla="*/ 2147483647 h 132"/>
                  <a:gd name="T34" fmla="*/ 2147483647 w 102"/>
                  <a:gd name="T35" fmla="*/ 2147483647 h 132"/>
                  <a:gd name="T36" fmla="*/ 2147483647 w 102"/>
                  <a:gd name="T37" fmla="*/ 2147483647 h 132"/>
                  <a:gd name="T38" fmla="*/ 2147483647 w 102"/>
                  <a:gd name="T39" fmla="*/ 2147483647 h 132"/>
                  <a:gd name="T40" fmla="*/ 2147483647 w 102"/>
                  <a:gd name="T41" fmla="*/ 2147483647 h 132"/>
                  <a:gd name="T42" fmla="*/ 2147483647 w 102"/>
                  <a:gd name="T43" fmla="*/ 2147483647 h 132"/>
                  <a:gd name="T44" fmla="*/ 2147483647 w 102"/>
                  <a:gd name="T45" fmla="*/ 2147483647 h 132"/>
                  <a:gd name="T46" fmla="*/ 2147483647 w 102"/>
                  <a:gd name="T47" fmla="*/ 2147483647 h 132"/>
                  <a:gd name="T48" fmla="*/ 2147483647 w 102"/>
                  <a:gd name="T49" fmla="*/ 2147483647 h 1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02"/>
                  <a:gd name="T76" fmla="*/ 0 h 132"/>
                  <a:gd name="T77" fmla="*/ 102 w 102"/>
                  <a:gd name="T78" fmla="*/ 132 h 13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02" h="132">
                    <a:moveTo>
                      <a:pt x="84" y="54"/>
                    </a:moveTo>
                    <a:lnTo>
                      <a:pt x="84" y="30"/>
                    </a:lnTo>
                    <a:lnTo>
                      <a:pt x="90" y="18"/>
                    </a:lnTo>
                    <a:lnTo>
                      <a:pt x="66" y="18"/>
                    </a:lnTo>
                    <a:lnTo>
                      <a:pt x="54" y="6"/>
                    </a:lnTo>
                    <a:lnTo>
                      <a:pt x="42" y="0"/>
                    </a:lnTo>
                    <a:lnTo>
                      <a:pt x="36" y="0"/>
                    </a:lnTo>
                    <a:lnTo>
                      <a:pt x="24" y="12"/>
                    </a:lnTo>
                    <a:lnTo>
                      <a:pt x="18" y="24"/>
                    </a:lnTo>
                    <a:lnTo>
                      <a:pt x="18" y="36"/>
                    </a:lnTo>
                    <a:lnTo>
                      <a:pt x="6" y="48"/>
                    </a:lnTo>
                    <a:lnTo>
                      <a:pt x="0" y="60"/>
                    </a:lnTo>
                    <a:lnTo>
                      <a:pt x="0" y="84"/>
                    </a:lnTo>
                    <a:lnTo>
                      <a:pt x="12" y="108"/>
                    </a:lnTo>
                    <a:lnTo>
                      <a:pt x="24" y="114"/>
                    </a:lnTo>
                    <a:lnTo>
                      <a:pt x="36" y="126"/>
                    </a:lnTo>
                    <a:lnTo>
                      <a:pt x="54" y="126"/>
                    </a:lnTo>
                    <a:lnTo>
                      <a:pt x="66" y="132"/>
                    </a:lnTo>
                    <a:lnTo>
                      <a:pt x="78" y="132"/>
                    </a:lnTo>
                    <a:lnTo>
                      <a:pt x="90" y="90"/>
                    </a:lnTo>
                    <a:lnTo>
                      <a:pt x="96" y="90"/>
                    </a:lnTo>
                    <a:lnTo>
                      <a:pt x="102" y="84"/>
                    </a:lnTo>
                    <a:lnTo>
                      <a:pt x="96" y="60"/>
                    </a:lnTo>
                    <a:lnTo>
                      <a:pt x="90" y="60"/>
                    </a:lnTo>
                    <a:lnTo>
                      <a:pt x="84" y="54"/>
                    </a:lnTo>
                    <a:close/>
                  </a:path>
                </a:pathLst>
              </a:custGeom>
              <a:solidFill>
                <a:srgbClr val="9D90A0">
                  <a:lumMod val="40000"/>
                  <a:lumOff val="60000"/>
                </a:srgbClr>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122" name="Sudan" descr="© INSCALE GmbH, 05.05.2010&#10;http://www.presentationload.com/">
                <a:extLst>
                  <a:ext uri="{FF2B5EF4-FFF2-40B4-BE49-F238E27FC236}">
                    <a16:creationId xmlns:a16="http://schemas.microsoft.com/office/drawing/2014/main" id="{FBA817F7-7C9D-4594-BB40-862C5A0ABF4A}"/>
                  </a:ext>
                </a:extLst>
              </p:cNvPr>
              <p:cNvSpPr>
                <a:spLocks/>
              </p:cNvSpPr>
              <p:nvPr/>
            </p:nvSpPr>
            <p:spPr bwMode="gray">
              <a:xfrm>
                <a:off x="4827748" y="3736201"/>
                <a:ext cx="460174" cy="694813"/>
              </a:xfrm>
              <a:custGeom>
                <a:avLst/>
                <a:gdLst>
                  <a:gd name="T0" fmla="*/ 2147483647 w 1164"/>
                  <a:gd name="T1" fmla="*/ 2147483647 h 1584"/>
                  <a:gd name="T2" fmla="*/ 2147483647 w 1164"/>
                  <a:gd name="T3" fmla="*/ 2147483647 h 1584"/>
                  <a:gd name="T4" fmla="*/ 2147483647 w 1164"/>
                  <a:gd name="T5" fmla="*/ 2147483647 h 1584"/>
                  <a:gd name="T6" fmla="*/ 2147483647 w 1164"/>
                  <a:gd name="T7" fmla="*/ 2147483647 h 1584"/>
                  <a:gd name="T8" fmla="*/ 2147483647 w 1164"/>
                  <a:gd name="T9" fmla="*/ 2147483647 h 1584"/>
                  <a:gd name="T10" fmla="*/ 2147483647 w 1164"/>
                  <a:gd name="T11" fmla="*/ 2147483647 h 1584"/>
                  <a:gd name="T12" fmla="*/ 2147483647 w 1164"/>
                  <a:gd name="T13" fmla="*/ 2147483647 h 1584"/>
                  <a:gd name="T14" fmla="*/ 2147483647 w 1164"/>
                  <a:gd name="T15" fmla="*/ 2147483647 h 1584"/>
                  <a:gd name="T16" fmla="*/ 0 w 1164"/>
                  <a:gd name="T17" fmla="*/ 2147483647 h 1584"/>
                  <a:gd name="T18" fmla="*/ 2147483647 w 1164"/>
                  <a:gd name="T19" fmla="*/ 2147483647 h 1584"/>
                  <a:gd name="T20" fmla="*/ 2147483647 w 1164"/>
                  <a:gd name="T21" fmla="*/ 2147483647 h 1584"/>
                  <a:gd name="T22" fmla="*/ 2147483647 w 1164"/>
                  <a:gd name="T23" fmla="*/ 2147483647 h 1584"/>
                  <a:gd name="T24" fmla="*/ 2147483647 w 1164"/>
                  <a:gd name="T25" fmla="*/ 2147483647 h 1584"/>
                  <a:gd name="T26" fmla="*/ 2147483647 w 1164"/>
                  <a:gd name="T27" fmla="*/ 2147483647 h 1584"/>
                  <a:gd name="T28" fmla="*/ 2147483647 w 1164"/>
                  <a:gd name="T29" fmla="*/ 2147483647 h 1584"/>
                  <a:gd name="T30" fmla="*/ 2147483647 w 1164"/>
                  <a:gd name="T31" fmla="*/ 2147483647 h 1584"/>
                  <a:gd name="T32" fmla="*/ 2147483647 w 1164"/>
                  <a:gd name="T33" fmla="*/ 2147483647 h 1584"/>
                  <a:gd name="T34" fmla="*/ 2147483647 w 1164"/>
                  <a:gd name="T35" fmla="*/ 2147483647 h 1584"/>
                  <a:gd name="T36" fmla="*/ 2147483647 w 1164"/>
                  <a:gd name="T37" fmla="*/ 2147483647 h 1584"/>
                  <a:gd name="T38" fmla="*/ 2147483647 w 1164"/>
                  <a:gd name="T39" fmla="*/ 2147483647 h 1584"/>
                  <a:gd name="T40" fmla="*/ 2147483647 w 1164"/>
                  <a:gd name="T41" fmla="*/ 2147483647 h 1584"/>
                  <a:gd name="T42" fmla="*/ 2147483647 w 1164"/>
                  <a:gd name="T43" fmla="*/ 2147483647 h 1584"/>
                  <a:gd name="T44" fmla="*/ 2147483647 w 1164"/>
                  <a:gd name="T45" fmla="*/ 2147483647 h 1584"/>
                  <a:gd name="T46" fmla="*/ 2147483647 w 1164"/>
                  <a:gd name="T47" fmla="*/ 2147483647 h 1584"/>
                  <a:gd name="T48" fmla="*/ 2147483647 w 1164"/>
                  <a:gd name="T49" fmla="*/ 2147483647 h 1584"/>
                  <a:gd name="T50" fmla="*/ 2147483647 w 1164"/>
                  <a:gd name="T51" fmla="*/ 2147483647 h 1584"/>
                  <a:gd name="T52" fmla="*/ 2147483647 w 1164"/>
                  <a:gd name="T53" fmla="*/ 2147483647 h 1584"/>
                  <a:gd name="T54" fmla="*/ 2147483647 w 1164"/>
                  <a:gd name="T55" fmla="*/ 2147483647 h 1584"/>
                  <a:gd name="T56" fmla="*/ 2147483647 w 1164"/>
                  <a:gd name="T57" fmla="*/ 2147483647 h 1584"/>
                  <a:gd name="T58" fmla="*/ 2147483647 w 1164"/>
                  <a:gd name="T59" fmla="*/ 2147483647 h 1584"/>
                  <a:gd name="T60" fmla="*/ 2147483647 w 1164"/>
                  <a:gd name="T61" fmla="*/ 2147483647 h 1584"/>
                  <a:gd name="T62" fmla="*/ 2147483647 w 1164"/>
                  <a:gd name="T63" fmla="*/ 2147483647 h 1584"/>
                  <a:gd name="T64" fmla="*/ 2147483647 w 1164"/>
                  <a:gd name="T65" fmla="*/ 2147483647 h 1584"/>
                  <a:gd name="T66" fmla="*/ 2147483647 w 1164"/>
                  <a:gd name="T67" fmla="*/ 2147483647 h 1584"/>
                  <a:gd name="T68" fmla="*/ 2147483647 w 1164"/>
                  <a:gd name="T69" fmla="*/ 2147483647 h 1584"/>
                  <a:gd name="T70" fmla="*/ 2147483647 w 1164"/>
                  <a:gd name="T71" fmla="*/ 2147483647 h 1584"/>
                  <a:gd name="T72" fmla="*/ 2147483647 w 1164"/>
                  <a:gd name="T73" fmla="*/ 2147483647 h 1584"/>
                  <a:gd name="T74" fmla="*/ 2147483647 w 1164"/>
                  <a:gd name="T75" fmla="*/ 2147483647 h 1584"/>
                  <a:gd name="T76" fmla="*/ 2147483647 w 1164"/>
                  <a:gd name="T77" fmla="*/ 2147483647 h 1584"/>
                  <a:gd name="T78" fmla="*/ 2147483647 w 1164"/>
                  <a:gd name="T79" fmla="*/ 2147483647 h 1584"/>
                  <a:gd name="T80" fmla="*/ 2147483647 w 1164"/>
                  <a:gd name="T81" fmla="*/ 2147483647 h 1584"/>
                  <a:gd name="T82" fmla="*/ 2147483647 w 1164"/>
                  <a:gd name="T83" fmla="*/ 2147483647 h 1584"/>
                  <a:gd name="T84" fmla="*/ 2147483647 w 1164"/>
                  <a:gd name="T85" fmla="*/ 2147483647 h 1584"/>
                  <a:gd name="T86" fmla="*/ 2147483647 w 1164"/>
                  <a:gd name="T87" fmla="*/ 2147483647 h 1584"/>
                  <a:gd name="T88" fmla="*/ 2147483647 w 1164"/>
                  <a:gd name="T89" fmla="*/ 2147483647 h 1584"/>
                  <a:gd name="T90" fmla="*/ 2147483647 w 1164"/>
                  <a:gd name="T91" fmla="*/ 2147483647 h 1584"/>
                  <a:gd name="T92" fmla="*/ 2147483647 w 1164"/>
                  <a:gd name="T93" fmla="*/ 2147483647 h 1584"/>
                  <a:gd name="T94" fmla="*/ 2147483647 w 1164"/>
                  <a:gd name="T95" fmla="*/ 2147483647 h 1584"/>
                  <a:gd name="T96" fmla="*/ 2147483647 w 1164"/>
                  <a:gd name="T97" fmla="*/ 2147483647 h 1584"/>
                  <a:gd name="T98" fmla="*/ 2147483647 w 1164"/>
                  <a:gd name="T99" fmla="*/ 2147483647 h 1584"/>
                  <a:gd name="T100" fmla="*/ 2147483647 w 1164"/>
                  <a:gd name="T101" fmla="*/ 2147483647 h 1584"/>
                  <a:gd name="T102" fmla="*/ 2147483647 w 1164"/>
                  <a:gd name="T103" fmla="*/ 2147483647 h 1584"/>
                  <a:gd name="T104" fmla="*/ 2147483647 w 1164"/>
                  <a:gd name="T105" fmla="*/ 2147483647 h 1584"/>
                  <a:gd name="T106" fmla="*/ 2147483647 w 1164"/>
                  <a:gd name="T107" fmla="*/ 2147483647 h 1584"/>
                  <a:gd name="T108" fmla="*/ 2147483647 w 1164"/>
                  <a:gd name="T109" fmla="*/ 2147483647 h 1584"/>
                  <a:gd name="T110" fmla="*/ 2147483647 w 1164"/>
                  <a:gd name="T111" fmla="*/ 2147483647 h 158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164"/>
                  <a:gd name="T169" fmla="*/ 0 h 1584"/>
                  <a:gd name="T170" fmla="*/ 1164 w 1164"/>
                  <a:gd name="T171" fmla="*/ 1584 h 158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164" h="1584">
                    <a:moveTo>
                      <a:pt x="894" y="24"/>
                    </a:moveTo>
                    <a:lnTo>
                      <a:pt x="894" y="48"/>
                    </a:lnTo>
                    <a:lnTo>
                      <a:pt x="888" y="60"/>
                    </a:lnTo>
                    <a:lnTo>
                      <a:pt x="882" y="66"/>
                    </a:lnTo>
                    <a:lnTo>
                      <a:pt x="864" y="66"/>
                    </a:lnTo>
                    <a:lnTo>
                      <a:pt x="858" y="72"/>
                    </a:lnTo>
                    <a:lnTo>
                      <a:pt x="846" y="72"/>
                    </a:lnTo>
                    <a:lnTo>
                      <a:pt x="834" y="84"/>
                    </a:lnTo>
                    <a:lnTo>
                      <a:pt x="822" y="108"/>
                    </a:lnTo>
                    <a:lnTo>
                      <a:pt x="816" y="114"/>
                    </a:lnTo>
                    <a:lnTo>
                      <a:pt x="798" y="114"/>
                    </a:lnTo>
                    <a:lnTo>
                      <a:pt x="792" y="108"/>
                    </a:lnTo>
                    <a:lnTo>
                      <a:pt x="786" y="96"/>
                    </a:lnTo>
                    <a:lnTo>
                      <a:pt x="780" y="90"/>
                    </a:lnTo>
                    <a:lnTo>
                      <a:pt x="660" y="84"/>
                    </a:lnTo>
                    <a:lnTo>
                      <a:pt x="660" y="72"/>
                    </a:lnTo>
                    <a:lnTo>
                      <a:pt x="654" y="72"/>
                    </a:lnTo>
                    <a:lnTo>
                      <a:pt x="636" y="90"/>
                    </a:lnTo>
                    <a:lnTo>
                      <a:pt x="210" y="84"/>
                    </a:lnTo>
                    <a:lnTo>
                      <a:pt x="210" y="246"/>
                    </a:lnTo>
                    <a:lnTo>
                      <a:pt x="138" y="246"/>
                    </a:lnTo>
                    <a:lnTo>
                      <a:pt x="144" y="600"/>
                    </a:lnTo>
                    <a:lnTo>
                      <a:pt x="132" y="600"/>
                    </a:lnTo>
                    <a:lnTo>
                      <a:pt x="120" y="594"/>
                    </a:lnTo>
                    <a:lnTo>
                      <a:pt x="78" y="594"/>
                    </a:lnTo>
                    <a:lnTo>
                      <a:pt x="66" y="606"/>
                    </a:lnTo>
                    <a:lnTo>
                      <a:pt x="72" y="612"/>
                    </a:lnTo>
                    <a:lnTo>
                      <a:pt x="72" y="624"/>
                    </a:lnTo>
                    <a:lnTo>
                      <a:pt x="78" y="630"/>
                    </a:lnTo>
                    <a:lnTo>
                      <a:pt x="78" y="636"/>
                    </a:lnTo>
                    <a:lnTo>
                      <a:pt x="72" y="642"/>
                    </a:lnTo>
                    <a:lnTo>
                      <a:pt x="60" y="648"/>
                    </a:lnTo>
                    <a:lnTo>
                      <a:pt x="48" y="660"/>
                    </a:lnTo>
                    <a:lnTo>
                      <a:pt x="48" y="678"/>
                    </a:lnTo>
                    <a:lnTo>
                      <a:pt x="36" y="678"/>
                    </a:lnTo>
                    <a:lnTo>
                      <a:pt x="42" y="702"/>
                    </a:lnTo>
                    <a:lnTo>
                      <a:pt x="48" y="720"/>
                    </a:lnTo>
                    <a:lnTo>
                      <a:pt x="30" y="732"/>
                    </a:lnTo>
                    <a:lnTo>
                      <a:pt x="12" y="750"/>
                    </a:lnTo>
                    <a:lnTo>
                      <a:pt x="18" y="756"/>
                    </a:lnTo>
                    <a:lnTo>
                      <a:pt x="30" y="780"/>
                    </a:lnTo>
                    <a:lnTo>
                      <a:pt x="30" y="792"/>
                    </a:lnTo>
                    <a:lnTo>
                      <a:pt x="18" y="804"/>
                    </a:lnTo>
                    <a:lnTo>
                      <a:pt x="6" y="810"/>
                    </a:lnTo>
                    <a:lnTo>
                      <a:pt x="0" y="822"/>
                    </a:lnTo>
                    <a:lnTo>
                      <a:pt x="0" y="840"/>
                    </a:lnTo>
                    <a:lnTo>
                      <a:pt x="6" y="846"/>
                    </a:lnTo>
                    <a:lnTo>
                      <a:pt x="18" y="846"/>
                    </a:lnTo>
                    <a:lnTo>
                      <a:pt x="24" y="840"/>
                    </a:lnTo>
                    <a:lnTo>
                      <a:pt x="36" y="840"/>
                    </a:lnTo>
                    <a:lnTo>
                      <a:pt x="42" y="846"/>
                    </a:lnTo>
                    <a:lnTo>
                      <a:pt x="42" y="888"/>
                    </a:lnTo>
                    <a:lnTo>
                      <a:pt x="60" y="900"/>
                    </a:lnTo>
                    <a:lnTo>
                      <a:pt x="42" y="906"/>
                    </a:lnTo>
                    <a:lnTo>
                      <a:pt x="48" y="930"/>
                    </a:lnTo>
                    <a:lnTo>
                      <a:pt x="54" y="930"/>
                    </a:lnTo>
                    <a:lnTo>
                      <a:pt x="66" y="936"/>
                    </a:lnTo>
                    <a:lnTo>
                      <a:pt x="78" y="954"/>
                    </a:lnTo>
                    <a:lnTo>
                      <a:pt x="84" y="960"/>
                    </a:lnTo>
                    <a:lnTo>
                      <a:pt x="84" y="966"/>
                    </a:lnTo>
                    <a:lnTo>
                      <a:pt x="72" y="966"/>
                    </a:lnTo>
                    <a:lnTo>
                      <a:pt x="72" y="990"/>
                    </a:lnTo>
                    <a:lnTo>
                      <a:pt x="102" y="1020"/>
                    </a:lnTo>
                    <a:lnTo>
                      <a:pt x="108" y="1032"/>
                    </a:lnTo>
                    <a:lnTo>
                      <a:pt x="120" y="1044"/>
                    </a:lnTo>
                    <a:lnTo>
                      <a:pt x="126" y="1062"/>
                    </a:lnTo>
                    <a:lnTo>
                      <a:pt x="132" y="1074"/>
                    </a:lnTo>
                    <a:lnTo>
                      <a:pt x="132" y="1104"/>
                    </a:lnTo>
                    <a:lnTo>
                      <a:pt x="126" y="1110"/>
                    </a:lnTo>
                    <a:lnTo>
                      <a:pt x="120" y="1122"/>
                    </a:lnTo>
                    <a:lnTo>
                      <a:pt x="114" y="1128"/>
                    </a:lnTo>
                    <a:lnTo>
                      <a:pt x="114" y="1134"/>
                    </a:lnTo>
                    <a:lnTo>
                      <a:pt x="120" y="1140"/>
                    </a:lnTo>
                    <a:lnTo>
                      <a:pt x="126" y="1140"/>
                    </a:lnTo>
                    <a:lnTo>
                      <a:pt x="120" y="1158"/>
                    </a:lnTo>
                    <a:lnTo>
                      <a:pt x="168" y="1164"/>
                    </a:lnTo>
                    <a:lnTo>
                      <a:pt x="168" y="1194"/>
                    </a:lnTo>
                    <a:lnTo>
                      <a:pt x="192" y="1206"/>
                    </a:lnTo>
                    <a:lnTo>
                      <a:pt x="222" y="1206"/>
                    </a:lnTo>
                    <a:lnTo>
                      <a:pt x="222" y="1224"/>
                    </a:lnTo>
                    <a:lnTo>
                      <a:pt x="228" y="1224"/>
                    </a:lnTo>
                    <a:lnTo>
                      <a:pt x="240" y="1230"/>
                    </a:lnTo>
                    <a:lnTo>
                      <a:pt x="252" y="1242"/>
                    </a:lnTo>
                    <a:lnTo>
                      <a:pt x="252" y="1248"/>
                    </a:lnTo>
                    <a:lnTo>
                      <a:pt x="246" y="1248"/>
                    </a:lnTo>
                    <a:lnTo>
                      <a:pt x="246" y="1254"/>
                    </a:lnTo>
                    <a:lnTo>
                      <a:pt x="240" y="1254"/>
                    </a:lnTo>
                    <a:lnTo>
                      <a:pt x="240" y="1260"/>
                    </a:lnTo>
                    <a:lnTo>
                      <a:pt x="252" y="1272"/>
                    </a:lnTo>
                    <a:lnTo>
                      <a:pt x="264" y="1278"/>
                    </a:lnTo>
                    <a:lnTo>
                      <a:pt x="270" y="1278"/>
                    </a:lnTo>
                    <a:lnTo>
                      <a:pt x="282" y="1284"/>
                    </a:lnTo>
                    <a:lnTo>
                      <a:pt x="294" y="1296"/>
                    </a:lnTo>
                    <a:lnTo>
                      <a:pt x="300" y="1308"/>
                    </a:lnTo>
                    <a:lnTo>
                      <a:pt x="306" y="1314"/>
                    </a:lnTo>
                    <a:lnTo>
                      <a:pt x="306" y="1320"/>
                    </a:lnTo>
                    <a:lnTo>
                      <a:pt x="324" y="1320"/>
                    </a:lnTo>
                    <a:lnTo>
                      <a:pt x="330" y="1326"/>
                    </a:lnTo>
                    <a:lnTo>
                      <a:pt x="330" y="1338"/>
                    </a:lnTo>
                    <a:lnTo>
                      <a:pt x="318" y="1338"/>
                    </a:lnTo>
                    <a:lnTo>
                      <a:pt x="318" y="1344"/>
                    </a:lnTo>
                    <a:lnTo>
                      <a:pt x="330" y="1356"/>
                    </a:lnTo>
                    <a:lnTo>
                      <a:pt x="330" y="1374"/>
                    </a:lnTo>
                    <a:lnTo>
                      <a:pt x="354" y="1380"/>
                    </a:lnTo>
                    <a:lnTo>
                      <a:pt x="360" y="1386"/>
                    </a:lnTo>
                    <a:lnTo>
                      <a:pt x="372" y="1392"/>
                    </a:lnTo>
                    <a:lnTo>
                      <a:pt x="378" y="1398"/>
                    </a:lnTo>
                    <a:lnTo>
                      <a:pt x="384" y="1410"/>
                    </a:lnTo>
                    <a:lnTo>
                      <a:pt x="384" y="1434"/>
                    </a:lnTo>
                    <a:lnTo>
                      <a:pt x="390" y="1446"/>
                    </a:lnTo>
                    <a:lnTo>
                      <a:pt x="420" y="1470"/>
                    </a:lnTo>
                    <a:lnTo>
                      <a:pt x="420" y="1494"/>
                    </a:lnTo>
                    <a:lnTo>
                      <a:pt x="468" y="1518"/>
                    </a:lnTo>
                    <a:lnTo>
                      <a:pt x="474" y="1512"/>
                    </a:lnTo>
                    <a:lnTo>
                      <a:pt x="480" y="1500"/>
                    </a:lnTo>
                    <a:lnTo>
                      <a:pt x="486" y="1494"/>
                    </a:lnTo>
                    <a:lnTo>
                      <a:pt x="498" y="1494"/>
                    </a:lnTo>
                    <a:lnTo>
                      <a:pt x="510" y="1500"/>
                    </a:lnTo>
                    <a:lnTo>
                      <a:pt x="510" y="1506"/>
                    </a:lnTo>
                    <a:lnTo>
                      <a:pt x="522" y="1512"/>
                    </a:lnTo>
                    <a:lnTo>
                      <a:pt x="528" y="1512"/>
                    </a:lnTo>
                    <a:lnTo>
                      <a:pt x="540" y="1500"/>
                    </a:lnTo>
                    <a:lnTo>
                      <a:pt x="540" y="1494"/>
                    </a:lnTo>
                    <a:lnTo>
                      <a:pt x="552" y="1482"/>
                    </a:lnTo>
                    <a:lnTo>
                      <a:pt x="558" y="1488"/>
                    </a:lnTo>
                    <a:lnTo>
                      <a:pt x="570" y="1494"/>
                    </a:lnTo>
                    <a:lnTo>
                      <a:pt x="576" y="1512"/>
                    </a:lnTo>
                    <a:lnTo>
                      <a:pt x="582" y="1524"/>
                    </a:lnTo>
                    <a:lnTo>
                      <a:pt x="594" y="1536"/>
                    </a:lnTo>
                    <a:lnTo>
                      <a:pt x="606" y="1542"/>
                    </a:lnTo>
                    <a:lnTo>
                      <a:pt x="612" y="1548"/>
                    </a:lnTo>
                    <a:lnTo>
                      <a:pt x="618" y="1548"/>
                    </a:lnTo>
                    <a:lnTo>
                      <a:pt x="624" y="1572"/>
                    </a:lnTo>
                    <a:lnTo>
                      <a:pt x="642" y="1572"/>
                    </a:lnTo>
                    <a:lnTo>
                      <a:pt x="660" y="1554"/>
                    </a:lnTo>
                    <a:lnTo>
                      <a:pt x="672" y="1554"/>
                    </a:lnTo>
                    <a:lnTo>
                      <a:pt x="678" y="1560"/>
                    </a:lnTo>
                    <a:lnTo>
                      <a:pt x="690" y="1566"/>
                    </a:lnTo>
                    <a:lnTo>
                      <a:pt x="702" y="1566"/>
                    </a:lnTo>
                    <a:lnTo>
                      <a:pt x="702" y="1560"/>
                    </a:lnTo>
                    <a:lnTo>
                      <a:pt x="708" y="1554"/>
                    </a:lnTo>
                    <a:lnTo>
                      <a:pt x="714" y="1554"/>
                    </a:lnTo>
                    <a:lnTo>
                      <a:pt x="738" y="1584"/>
                    </a:lnTo>
                    <a:lnTo>
                      <a:pt x="756" y="1560"/>
                    </a:lnTo>
                    <a:lnTo>
                      <a:pt x="780" y="1560"/>
                    </a:lnTo>
                    <a:lnTo>
                      <a:pt x="792" y="1548"/>
                    </a:lnTo>
                    <a:lnTo>
                      <a:pt x="804" y="1548"/>
                    </a:lnTo>
                    <a:lnTo>
                      <a:pt x="804" y="1554"/>
                    </a:lnTo>
                    <a:lnTo>
                      <a:pt x="810" y="1560"/>
                    </a:lnTo>
                    <a:lnTo>
                      <a:pt x="834" y="1560"/>
                    </a:lnTo>
                    <a:lnTo>
                      <a:pt x="852" y="1542"/>
                    </a:lnTo>
                    <a:lnTo>
                      <a:pt x="852" y="1536"/>
                    </a:lnTo>
                    <a:lnTo>
                      <a:pt x="858" y="1530"/>
                    </a:lnTo>
                    <a:lnTo>
                      <a:pt x="858" y="1524"/>
                    </a:lnTo>
                    <a:lnTo>
                      <a:pt x="870" y="1524"/>
                    </a:lnTo>
                    <a:lnTo>
                      <a:pt x="888" y="1494"/>
                    </a:lnTo>
                    <a:lnTo>
                      <a:pt x="978" y="1494"/>
                    </a:lnTo>
                    <a:lnTo>
                      <a:pt x="1002" y="1482"/>
                    </a:lnTo>
                    <a:lnTo>
                      <a:pt x="996" y="1464"/>
                    </a:lnTo>
                    <a:lnTo>
                      <a:pt x="996" y="1446"/>
                    </a:lnTo>
                    <a:lnTo>
                      <a:pt x="990" y="1434"/>
                    </a:lnTo>
                    <a:lnTo>
                      <a:pt x="984" y="1428"/>
                    </a:lnTo>
                    <a:lnTo>
                      <a:pt x="966" y="1428"/>
                    </a:lnTo>
                    <a:lnTo>
                      <a:pt x="954" y="1422"/>
                    </a:lnTo>
                    <a:lnTo>
                      <a:pt x="936" y="1386"/>
                    </a:lnTo>
                    <a:lnTo>
                      <a:pt x="936" y="1368"/>
                    </a:lnTo>
                    <a:lnTo>
                      <a:pt x="924" y="1362"/>
                    </a:lnTo>
                    <a:lnTo>
                      <a:pt x="924" y="1326"/>
                    </a:lnTo>
                    <a:lnTo>
                      <a:pt x="912" y="1326"/>
                    </a:lnTo>
                    <a:lnTo>
                      <a:pt x="906" y="1302"/>
                    </a:lnTo>
                    <a:lnTo>
                      <a:pt x="882" y="1302"/>
                    </a:lnTo>
                    <a:lnTo>
                      <a:pt x="876" y="1290"/>
                    </a:lnTo>
                    <a:lnTo>
                      <a:pt x="876" y="1272"/>
                    </a:lnTo>
                    <a:lnTo>
                      <a:pt x="864" y="1266"/>
                    </a:lnTo>
                    <a:lnTo>
                      <a:pt x="858" y="1254"/>
                    </a:lnTo>
                    <a:lnTo>
                      <a:pt x="846" y="1248"/>
                    </a:lnTo>
                    <a:lnTo>
                      <a:pt x="840" y="1242"/>
                    </a:lnTo>
                    <a:lnTo>
                      <a:pt x="816" y="1242"/>
                    </a:lnTo>
                    <a:lnTo>
                      <a:pt x="804" y="1236"/>
                    </a:lnTo>
                    <a:lnTo>
                      <a:pt x="798" y="1236"/>
                    </a:lnTo>
                    <a:lnTo>
                      <a:pt x="798" y="1224"/>
                    </a:lnTo>
                    <a:lnTo>
                      <a:pt x="804" y="1212"/>
                    </a:lnTo>
                    <a:lnTo>
                      <a:pt x="810" y="1206"/>
                    </a:lnTo>
                    <a:lnTo>
                      <a:pt x="804" y="1182"/>
                    </a:lnTo>
                    <a:lnTo>
                      <a:pt x="840" y="1182"/>
                    </a:lnTo>
                    <a:lnTo>
                      <a:pt x="846" y="1188"/>
                    </a:lnTo>
                    <a:lnTo>
                      <a:pt x="852" y="1182"/>
                    </a:lnTo>
                    <a:lnTo>
                      <a:pt x="864" y="1182"/>
                    </a:lnTo>
                    <a:lnTo>
                      <a:pt x="870" y="1176"/>
                    </a:lnTo>
                    <a:lnTo>
                      <a:pt x="870" y="1164"/>
                    </a:lnTo>
                    <a:lnTo>
                      <a:pt x="876" y="1152"/>
                    </a:lnTo>
                    <a:lnTo>
                      <a:pt x="876" y="1116"/>
                    </a:lnTo>
                    <a:lnTo>
                      <a:pt x="870" y="1110"/>
                    </a:lnTo>
                    <a:lnTo>
                      <a:pt x="870" y="1098"/>
                    </a:lnTo>
                    <a:lnTo>
                      <a:pt x="864" y="1086"/>
                    </a:lnTo>
                    <a:lnTo>
                      <a:pt x="864" y="1074"/>
                    </a:lnTo>
                    <a:lnTo>
                      <a:pt x="870" y="1062"/>
                    </a:lnTo>
                    <a:lnTo>
                      <a:pt x="882" y="1056"/>
                    </a:lnTo>
                    <a:lnTo>
                      <a:pt x="888" y="1050"/>
                    </a:lnTo>
                    <a:lnTo>
                      <a:pt x="888" y="1032"/>
                    </a:lnTo>
                    <a:lnTo>
                      <a:pt x="882" y="1020"/>
                    </a:lnTo>
                    <a:lnTo>
                      <a:pt x="882" y="1002"/>
                    </a:lnTo>
                    <a:lnTo>
                      <a:pt x="900" y="984"/>
                    </a:lnTo>
                    <a:lnTo>
                      <a:pt x="906" y="984"/>
                    </a:lnTo>
                    <a:lnTo>
                      <a:pt x="906" y="996"/>
                    </a:lnTo>
                    <a:lnTo>
                      <a:pt x="912" y="1002"/>
                    </a:lnTo>
                    <a:lnTo>
                      <a:pt x="924" y="1002"/>
                    </a:lnTo>
                    <a:lnTo>
                      <a:pt x="930" y="996"/>
                    </a:lnTo>
                    <a:lnTo>
                      <a:pt x="930" y="960"/>
                    </a:lnTo>
                    <a:lnTo>
                      <a:pt x="924" y="954"/>
                    </a:lnTo>
                    <a:lnTo>
                      <a:pt x="924" y="948"/>
                    </a:lnTo>
                    <a:lnTo>
                      <a:pt x="936" y="930"/>
                    </a:lnTo>
                    <a:lnTo>
                      <a:pt x="936" y="906"/>
                    </a:lnTo>
                    <a:lnTo>
                      <a:pt x="942" y="900"/>
                    </a:lnTo>
                    <a:lnTo>
                      <a:pt x="954" y="900"/>
                    </a:lnTo>
                    <a:lnTo>
                      <a:pt x="960" y="894"/>
                    </a:lnTo>
                    <a:lnTo>
                      <a:pt x="960" y="858"/>
                    </a:lnTo>
                    <a:lnTo>
                      <a:pt x="966" y="852"/>
                    </a:lnTo>
                    <a:lnTo>
                      <a:pt x="972" y="840"/>
                    </a:lnTo>
                    <a:lnTo>
                      <a:pt x="978" y="834"/>
                    </a:lnTo>
                    <a:lnTo>
                      <a:pt x="1008" y="834"/>
                    </a:lnTo>
                    <a:lnTo>
                      <a:pt x="1008" y="786"/>
                    </a:lnTo>
                    <a:lnTo>
                      <a:pt x="1014" y="774"/>
                    </a:lnTo>
                    <a:lnTo>
                      <a:pt x="1020" y="768"/>
                    </a:lnTo>
                    <a:lnTo>
                      <a:pt x="1026" y="756"/>
                    </a:lnTo>
                    <a:lnTo>
                      <a:pt x="1032" y="750"/>
                    </a:lnTo>
                    <a:lnTo>
                      <a:pt x="1032" y="708"/>
                    </a:lnTo>
                    <a:lnTo>
                      <a:pt x="1026" y="660"/>
                    </a:lnTo>
                    <a:lnTo>
                      <a:pt x="1020" y="654"/>
                    </a:lnTo>
                    <a:lnTo>
                      <a:pt x="1020" y="636"/>
                    </a:lnTo>
                    <a:lnTo>
                      <a:pt x="1032" y="630"/>
                    </a:lnTo>
                    <a:lnTo>
                      <a:pt x="1038" y="630"/>
                    </a:lnTo>
                    <a:lnTo>
                      <a:pt x="1038" y="594"/>
                    </a:lnTo>
                    <a:lnTo>
                      <a:pt x="1044" y="594"/>
                    </a:lnTo>
                    <a:lnTo>
                      <a:pt x="1050" y="588"/>
                    </a:lnTo>
                    <a:lnTo>
                      <a:pt x="1056" y="576"/>
                    </a:lnTo>
                    <a:lnTo>
                      <a:pt x="1056" y="534"/>
                    </a:lnTo>
                    <a:lnTo>
                      <a:pt x="1050" y="528"/>
                    </a:lnTo>
                    <a:lnTo>
                      <a:pt x="1050" y="516"/>
                    </a:lnTo>
                    <a:lnTo>
                      <a:pt x="1062" y="516"/>
                    </a:lnTo>
                    <a:lnTo>
                      <a:pt x="1068" y="510"/>
                    </a:lnTo>
                    <a:lnTo>
                      <a:pt x="1068" y="492"/>
                    </a:lnTo>
                    <a:lnTo>
                      <a:pt x="1086" y="492"/>
                    </a:lnTo>
                    <a:lnTo>
                      <a:pt x="1092" y="486"/>
                    </a:lnTo>
                    <a:lnTo>
                      <a:pt x="1092" y="480"/>
                    </a:lnTo>
                    <a:lnTo>
                      <a:pt x="1098" y="474"/>
                    </a:lnTo>
                    <a:lnTo>
                      <a:pt x="1098" y="462"/>
                    </a:lnTo>
                    <a:lnTo>
                      <a:pt x="1110" y="462"/>
                    </a:lnTo>
                    <a:lnTo>
                      <a:pt x="1128" y="456"/>
                    </a:lnTo>
                    <a:lnTo>
                      <a:pt x="1152" y="444"/>
                    </a:lnTo>
                    <a:lnTo>
                      <a:pt x="1164" y="420"/>
                    </a:lnTo>
                    <a:lnTo>
                      <a:pt x="1164" y="408"/>
                    </a:lnTo>
                    <a:lnTo>
                      <a:pt x="1128" y="384"/>
                    </a:lnTo>
                    <a:lnTo>
                      <a:pt x="1128" y="378"/>
                    </a:lnTo>
                    <a:lnTo>
                      <a:pt x="1122" y="372"/>
                    </a:lnTo>
                    <a:lnTo>
                      <a:pt x="1122" y="360"/>
                    </a:lnTo>
                    <a:lnTo>
                      <a:pt x="1116" y="354"/>
                    </a:lnTo>
                    <a:lnTo>
                      <a:pt x="1092" y="354"/>
                    </a:lnTo>
                    <a:lnTo>
                      <a:pt x="1080" y="342"/>
                    </a:lnTo>
                    <a:lnTo>
                      <a:pt x="1080" y="330"/>
                    </a:lnTo>
                    <a:lnTo>
                      <a:pt x="1074" y="312"/>
                    </a:lnTo>
                    <a:lnTo>
                      <a:pt x="1074" y="294"/>
                    </a:lnTo>
                    <a:lnTo>
                      <a:pt x="1068" y="282"/>
                    </a:lnTo>
                    <a:lnTo>
                      <a:pt x="1068" y="264"/>
                    </a:lnTo>
                    <a:lnTo>
                      <a:pt x="1062" y="264"/>
                    </a:lnTo>
                    <a:lnTo>
                      <a:pt x="1062" y="240"/>
                    </a:lnTo>
                    <a:lnTo>
                      <a:pt x="1056" y="222"/>
                    </a:lnTo>
                    <a:lnTo>
                      <a:pt x="1056" y="180"/>
                    </a:lnTo>
                    <a:lnTo>
                      <a:pt x="1050" y="168"/>
                    </a:lnTo>
                    <a:lnTo>
                      <a:pt x="1068" y="162"/>
                    </a:lnTo>
                    <a:lnTo>
                      <a:pt x="1038" y="132"/>
                    </a:lnTo>
                    <a:lnTo>
                      <a:pt x="1038" y="90"/>
                    </a:lnTo>
                    <a:lnTo>
                      <a:pt x="1032" y="78"/>
                    </a:lnTo>
                    <a:lnTo>
                      <a:pt x="1026" y="72"/>
                    </a:lnTo>
                    <a:lnTo>
                      <a:pt x="1014" y="66"/>
                    </a:lnTo>
                    <a:lnTo>
                      <a:pt x="984" y="36"/>
                    </a:lnTo>
                    <a:lnTo>
                      <a:pt x="972" y="36"/>
                    </a:lnTo>
                    <a:lnTo>
                      <a:pt x="954" y="18"/>
                    </a:lnTo>
                    <a:lnTo>
                      <a:pt x="948" y="0"/>
                    </a:lnTo>
                    <a:lnTo>
                      <a:pt x="924" y="24"/>
                    </a:lnTo>
                    <a:lnTo>
                      <a:pt x="894" y="24"/>
                    </a:lnTo>
                    <a:close/>
                  </a:path>
                </a:pathLst>
              </a:custGeom>
              <a:solidFill>
                <a:srgbClr val="9D90A0">
                  <a:lumMod val="40000"/>
                  <a:lumOff val="60000"/>
                </a:srgbClr>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123" name="Somalia" descr="© INSCALE GmbH, 05.05.2010&#10;http://www.presentationload.com/">
                <a:extLst>
                  <a:ext uri="{FF2B5EF4-FFF2-40B4-BE49-F238E27FC236}">
                    <a16:creationId xmlns:a16="http://schemas.microsoft.com/office/drawing/2014/main" id="{AB434C6C-9DF4-41AA-8DCB-E4C8185D8EF5}"/>
                  </a:ext>
                </a:extLst>
              </p:cNvPr>
              <p:cNvSpPr>
                <a:spLocks/>
              </p:cNvSpPr>
              <p:nvPr/>
            </p:nvSpPr>
            <p:spPr bwMode="gray">
              <a:xfrm>
                <a:off x="5369037" y="4127791"/>
                <a:ext cx="282344" cy="485156"/>
              </a:xfrm>
              <a:custGeom>
                <a:avLst/>
                <a:gdLst>
                  <a:gd name="T0" fmla="*/ 2147483647 w 714"/>
                  <a:gd name="T1" fmla="*/ 2147483647 h 1104"/>
                  <a:gd name="T2" fmla="*/ 2147483647 w 714"/>
                  <a:gd name="T3" fmla="*/ 2147483647 h 1104"/>
                  <a:gd name="T4" fmla="*/ 2147483647 w 714"/>
                  <a:gd name="T5" fmla="*/ 2147483647 h 1104"/>
                  <a:gd name="T6" fmla="*/ 2147483647 w 714"/>
                  <a:gd name="T7" fmla="*/ 2147483647 h 1104"/>
                  <a:gd name="T8" fmla="*/ 2147483647 w 714"/>
                  <a:gd name="T9" fmla="*/ 2147483647 h 1104"/>
                  <a:gd name="T10" fmla="*/ 2147483647 w 714"/>
                  <a:gd name="T11" fmla="*/ 2147483647 h 1104"/>
                  <a:gd name="T12" fmla="*/ 2147483647 w 714"/>
                  <a:gd name="T13" fmla="*/ 2147483647 h 1104"/>
                  <a:gd name="T14" fmla="*/ 2147483647 w 714"/>
                  <a:gd name="T15" fmla="*/ 2147483647 h 1104"/>
                  <a:gd name="T16" fmla="*/ 2147483647 w 714"/>
                  <a:gd name="T17" fmla="*/ 2147483647 h 1104"/>
                  <a:gd name="T18" fmla="*/ 2147483647 w 714"/>
                  <a:gd name="T19" fmla="*/ 2147483647 h 1104"/>
                  <a:gd name="T20" fmla="*/ 2147483647 w 714"/>
                  <a:gd name="T21" fmla="*/ 2147483647 h 1104"/>
                  <a:gd name="T22" fmla="*/ 2147483647 w 714"/>
                  <a:gd name="T23" fmla="*/ 2147483647 h 1104"/>
                  <a:gd name="T24" fmla="*/ 0 w 714"/>
                  <a:gd name="T25" fmla="*/ 2147483647 h 1104"/>
                  <a:gd name="T26" fmla="*/ 2147483647 w 714"/>
                  <a:gd name="T27" fmla="*/ 2147483647 h 1104"/>
                  <a:gd name="T28" fmla="*/ 2147483647 w 714"/>
                  <a:gd name="T29" fmla="*/ 2147483647 h 1104"/>
                  <a:gd name="T30" fmla="*/ 2147483647 w 714"/>
                  <a:gd name="T31" fmla="*/ 2147483647 h 1104"/>
                  <a:gd name="T32" fmla="*/ 2147483647 w 714"/>
                  <a:gd name="T33" fmla="*/ 2147483647 h 1104"/>
                  <a:gd name="T34" fmla="*/ 2147483647 w 714"/>
                  <a:gd name="T35" fmla="*/ 2147483647 h 1104"/>
                  <a:gd name="T36" fmla="*/ 2147483647 w 714"/>
                  <a:gd name="T37" fmla="*/ 2147483647 h 1104"/>
                  <a:gd name="T38" fmla="*/ 2147483647 w 714"/>
                  <a:gd name="T39" fmla="*/ 2147483647 h 1104"/>
                  <a:gd name="T40" fmla="*/ 2147483647 w 714"/>
                  <a:gd name="T41" fmla="*/ 2147483647 h 1104"/>
                  <a:gd name="T42" fmla="*/ 2147483647 w 714"/>
                  <a:gd name="T43" fmla="*/ 2147483647 h 1104"/>
                  <a:gd name="T44" fmla="*/ 2147483647 w 714"/>
                  <a:gd name="T45" fmla="*/ 2147483647 h 1104"/>
                  <a:gd name="T46" fmla="*/ 2147483647 w 714"/>
                  <a:gd name="T47" fmla="*/ 2147483647 h 1104"/>
                  <a:gd name="T48" fmla="*/ 2147483647 w 714"/>
                  <a:gd name="T49" fmla="*/ 2147483647 h 1104"/>
                  <a:gd name="T50" fmla="*/ 2147483647 w 714"/>
                  <a:gd name="T51" fmla="*/ 2147483647 h 1104"/>
                  <a:gd name="T52" fmla="*/ 2147483647 w 714"/>
                  <a:gd name="T53" fmla="*/ 2147483647 h 1104"/>
                  <a:gd name="T54" fmla="*/ 2147483647 w 714"/>
                  <a:gd name="T55" fmla="*/ 2147483647 h 1104"/>
                  <a:gd name="T56" fmla="*/ 2147483647 w 714"/>
                  <a:gd name="T57" fmla="*/ 2147483647 h 1104"/>
                  <a:gd name="T58" fmla="*/ 2147483647 w 714"/>
                  <a:gd name="T59" fmla="*/ 2147483647 h 1104"/>
                  <a:gd name="T60" fmla="*/ 2147483647 w 714"/>
                  <a:gd name="T61" fmla="*/ 2147483647 h 1104"/>
                  <a:gd name="T62" fmla="*/ 2147483647 w 714"/>
                  <a:gd name="T63" fmla="*/ 2147483647 h 1104"/>
                  <a:gd name="T64" fmla="*/ 2147483647 w 714"/>
                  <a:gd name="T65" fmla="*/ 2147483647 h 1104"/>
                  <a:gd name="T66" fmla="*/ 2147483647 w 714"/>
                  <a:gd name="T67" fmla="*/ 2147483647 h 1104"/>
                  <a:gd name="T68" fmla="*/ 2147483647 w 714"/>
                  <a:gd name="T69" fmla="*/ 2147483647 h 1104"/>
                  <a:gd name="T70" fmla="*/ 2147483647 w 714"/>
                  <a:gd name="T71" fmla="*/ 2147483647 h 1104"/>
                  <a:gd name="T72" fmla="*/ 2147483647 w 714"/>
                  <a:gd name="T73" fmla="*/ 2147483647 h 1104"/>
                  <a:gd name="T74" fmla="*/ 2147483647 w 714"/>
                  <a:gd name="T75" fmla="*/ 2147483647 h 1104"/>
                  <a:gd name="T76" fmla="*/ 2147483647 w 714"/>
                  <a:gd name="T77" fmla="*/ 2147483647 h 1104"/>
                  <a:gd name="T78" fmla="*/ 2147483647 w 714"/>
                  <a:gd name="T79" fmla="*/ 2147483647 h 1104"/>
                  <a:gd name="T80" fmla="*/ 2147483647 w 714"/>
                  <a:gd name="T81" fmla="*/ 2147483647 h 1104"/>
                  <a:gd name="T82" fmla="*/ 2147483647 w 714"/>
                  <a:gd name="T83" fmla="*/ 2147483647 h 1104"/>
                  <a:gd name="T84" fmla="*/ 2147483647 w 714"/>
                  <a:gd name="T85" fmla="*/ 2147483647 h 1104"/>
                  <a:gd name="T86" fmla="*/ 2147483647 w 714"/>
                  <a:gd name="T87" fmla="*/ 2147483647 h 110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714"/>
                  <a:gd name="T133" fmla="*/ 0 h 1104"/>
                  <a:gd name="T134" fmla="*/ 714 w 714"/>
                  <a:gd name="T135" fmla="*/ 1104 h 110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714" h="1104">
                    <a:moveTo>
                      <a:pt x="108" y="114"/>
                    </a:moveTo>
                    <a:lnTo>
                      <a:pt x="120" y="126"/>
                    </a:lnTo>
                    <a:lnTo>
                      <a:pt x="120" y="138"/>
                    </a:lnTo>
                    <a:lnTo>
                      <a:pt x="126" y="150"/>
                    </a:lnTo>
                    <a:lnTo>
                      <a:pt x="132" y="156"/>
                    </a:lnTo>
                    <a:lnTo>
                      <a:pt x="138" y="168"/>
                    </a:lnTo>
                    <a:lnTo>
                      <a:pt x="144" y="174"/>
                    </a:lnTo>
                    <a:lnTo>
                      <a:pt x="156" y="198"/>
                    </a:lnTo>
                    <a:lnTo>
                      <a:pt x="162" y="204"/>
                    </a:lnTo>
                    <a:lnTo>
                      <a:pt x="162" y="210"/>
                    </a:lnTo>
                    <a:lnTo>
                      <a:pt x="186" y="210"/>
                    </a:lnTo>
                    <a:lnTo>
                      <a:pt x="192" y="222"/>
                    </a:lnTo>
                    <a:lnTo>
                      <a:pt x="198" y="228"/>
                    </a:lnTo>
                    <a:lnTo>
                      <a:pt x="204" y="240"/>
                    </a:lnTo>
                    <a:lnTo>
                      <a:pt x="240" y="258"/>
                    </a:lnTo>
                    <a:lnTo>
                      <a:pt x="312" y="282"/>
                    </a:lnTo>
                    <a:lnTo>
                      <a:pt x="336" y="288"/>
                    </a:lnTo>
                    <a:lnTo>
                      <a:pt x="348" y="294"/>
                    </a:lnTo>
                    <a:lnTo>
                      <a:pt x="366" y="300"/>
                    </a:lnTo>
                    <a:lnTo>
                      <a:pt x="378" y="312"/>
                    </a:lnTo>
                    <a:lnTo>
                      <a:pt x="414" y="330"/>
                    </a:lnTo>
                    <a:lnTo>
                      <a:pt x="486" y="324"/>
                    </a:lnTo>
                    <a:lnTo>
                      <a:pt x="276" y="570"/>
                    </a:lnTo>
                    <a:lnTo>
                      <a:pt x="192" y="570"/>
                    </a:lnTo>
                    <a:lnTo>
                      <a:pt x="186" y="576"/>
                    </a:lnTo>
                    <a:lnTo>
                      <a:pt x="174" y="576"/>
                    </a:lnTo>
                    <a:lnTo>
                      <a:pt x="162" y="582"/>
                    </a:lnTo>
                    <a:lnTo>
                      <a:pt x="156" y="588"/>
                    </a:lnTo>
                    <a:lnTo>
                      <a:pt x="144" y="594"/>
                    </a:lnTo>
                    <a:lnTo>
                      <a:pt x="144" y="606"/>
                    </a:lnTo>
                    <a:lnTo>
                      <a:pt x="126" y="624"/>
                    </a:lnTo>
                    <a:lnTo>
                      <a:pt x="102" y="624"/>
                    </a:lnTo>
                    <a:lnTo>
                      <a:pt x="90" y="630"/>
                    </a:lnTo>
                    <a:lnTo>
                      <a:pt x="78" y="630"/>
                    </a:lnTo>
                    <a:lnTo>
                      <a:pt x="66" y="642"/>
                    </a:lnTo>
                    <a:lnTo>
                      <a:pt x="66" y="654"/>
                    </a:lnTo>
                    <a:lnTo>
                      <a:pt x="60" y="660"/>
                    </a:lnTo>
                    <a:lnTo>
                      <a:pt x="42" y="696"/>
                    </a:lnTo>
                    <a:lnTo>
                      <a:pt x="0" y="738"/>
                    </a:lnTo>
                    <a:lnTo>
                      <a:pt x="0" y="1038"/>
                    </a:lnTo>
                    <a:lnTo>
                      <a:pt x="42" y="1104"/>
                    </a:lnTo>
                    <a:lnTo>
                      <a:pt x="48" y="1086"/>
                    </a:lnTo>
                    <a:lnTo>
                      <a:pt x="84" y="1032"/>
                    </a:lnTo>
                    <a:lnTo>
                      <a:pt x="96" y="1008"/>
                    </a:lnTo>
                    <a:lnTo>
                      <a:pt x="114" y="996"/>
                    </a:lnTo>
                    <a:lnTo>
                      <a:pt x="144" y="966"/>
                    </a:lnTo>
                    <a:lnTo>
                      <a:pt x="150" y="954"/>
                    </a:lnTo>
                    <a:lnTo>
                      <a:pt x="162" y="936"/>
                    </a:lnTo>
                    <a:lnTo>
                      <a:pt x="192" y="906"/>
                    </a:lnTo>
                    <a:lnTo>
                      <a:pt x="216" y="876"/>
                    </a:lnTo>
                    <a:lnTo>
                      <a:pt x="246" y="846"/>
                    </a:lnTo>
                    <a:lnTo>
                      <a:pt x="264" y="840"/>
                    </a:lnTo>
                    <a:lnTo>
                      <a:pt x="276" y="828"/>
                    </a:lnTo>
                    <a:lnTo>
                      <a:pt x="294" y="816"/>
                    </a:lnTo>
                    <a:lnTo>
                      <a:pt x="318" y="804"/>
                    </a:lnTo>
                    <a:lnTo>
                      <a:pt x="336" y="786"/>
                    </a:lnTo>
                    <a:lnTo>
                      <a:pt x="372" y="756"/>
                    </a:lnTo>
                    <a:lnTo>
                      <a:pt x="420" y="708"/>
                    </a:lnTo>
                    <a:lnTo>
                      <a:pt x="438" y="684"/>
                    </a:lnTo>
                    <a:lnTo>
                      <a:pt x="462" y="654"/>
                    </a:lnTo>
                    <a:lnTo>
                      <a:pt x="492" y="618"/>
                    </a:lnTo>
                    <a:lnTo>
                      <a:pt x="516" y="570"/>
                    </a:lnTo>
                    <a:lnTo>
                      <a:pt x="528" y="540"/>
                    </a:lnTo>
                    <a:lnTo>
                      <a:pt x="546" y="516"/>
                    </a:lnTo>
                    <a:lnTo>
                      <a:pt x="558" y="498"/>
                    </a:lnTo>
                    <a:lnTo>
                      <a:pt x="564" y="492"/>
                    </a:lnTo>
                    <a:lnTo>
                      <a:pt x="570" y="480"/>
                    </a:lnTo>
                    <a:lnTo>
                      <a:pt x="576" y="474"/>
                    </a:lnTo>
                    <a:lnTo>
                      <a:pt x="576" y="450"/>
                    </a:lnTo>
                    <a:lnTo>
                      <a:pt x="582" y="432"/>
                    </a:lnTo>
                    <a:lnTo>
                      <a:pt x="588" y="420"/>
                    </a:lnTo>
                    <a:lnTo>
                      <a:pt x="588" y="402"/>
                    </a:lnTo>
                    <a:lnTo>
                      <a:pt x="594" y="390"/>
                    </a:lnTo>
                    <a:lnTo>
                      <a:pt x="606" y="378"/>
                    </a:lnTo>
                    <a:lnTo>
                      <a:pt x="612" y="366"/>
                    </a:lnTo>
                    <a:lnTo>
                      <a:pt x="624" y="354"/>
                    </a:lnTo>
                    <a:lnTo>
                      <a:pt x="624" y="324"/>
                    </a:lnTo>
                    <a:lnTo>
                      <a:pt x="636" y="318"/>
                    </a:lnTo>
                    <a:lnTo>
                      <a:pt x="642" y="306"/>
                    </a:lnTo>
                    <a:lnTo>
                      <a:pt x="660" y="252"/>
                    </a:lnTo>
                    <a:lnTo>
                      <a:pt x="672" y="252"/>
                    </a:lnTo>
                    <a:lnTo>
                      <a:pt x="672" y="246"/>
                    </a:lnTo>
                    <a:lnTo>
                      <a:pt x="684" y="234"/>
                    </a:lnTo>
                    <a:lnTo>
                      <a:pt x="684" y="138"/>
                    </a:lnTo>
                    <a:lnTo>
                      <a:pt x="708" y="126"/>
                    </a:lnTo>
                    <a:lnTo>
                      <a:pt x="702" y="54"/>
                    </a:lnTo>
                    <a:lnTo>
                      <a:pt x="708" y="42"/>
                    </a:lnTo>
                    <a:lnTo>
                      <a:pt x="708" y="36"/>
                    </a:lnTo>
                    <a:lnTo>
                      <a:pt x="714" y="24"/>
                    </a:lnTo>
                    <a:lnTo>
                      <a:pt x="714" y="12"/>
                    </a:lnTo>
                    <a:lnTo>
                      <a:pt x="690" y="0"/>
                    </a:lnTo>
                    <a:lnTo>
                      <a:pt x="672" y="0"/>
                    </a:lnTo>
                    <a:lnTo>
                      <a:pt x="666" y="12"/>
                    </a:lnTo>
                    <a:lnTo>
                      <a:pt x="654" y="18"/>
                    </a:lnTo>
                    <a:lnTo>
                      <a:pt x="648" y="30"/>
                    </a:lnTo>
                    <a:lnTo>
                      <a:pt x="624" y="42"/>
                    </a:lnTo>
                    <a:lnTo>
                      <a:pt x="612" y="42"/>
                    </a:lnTo>
                    <a:lnTo>
                      <a:pt x="594" y="48"/>
                    </a:lnTo>
                    <a:lnTo>
                      <a:pt x="582" y="54"/>
                    </a:lnTo>
                    <a:lnTo>
                      <a:pt x="564" y="54"/>
                    </a:lnTo>
                    <a:lnTo>
                      <a:pt x="546" y="48"/>
                    </a:lnTo>
                    <a:lnTo>
                      <a:pt x="534" y="42"/>
                    </a:lnTo>
                    <a:lnTo>
                      <a:pt x="516" y="48"/>
                    </a:lnTo>
                    <a:lnTo>
                      <a:pt x="510" y="54"/>
                    </a:lnTo>
                    <a:lnTo>
                      <a:pt x="498" y="60"/>
                    </a:lnTo>
                    <a:lnTo>
                      <a:pt x="492" y="72"/>
                    </a:lnTo>
                    <a:lnTo>
                      <a:pt x="486" y="78"/>
                    </a:lnTo>
                    <a:lnTo>
                      <a:pt x="474" y="78"/>
                    </a:lnTo>
                    <a:lnTo>
                      <a:pt x="462" y="72"/>
                    </a:lnTo>
                    <a:lnTo>
                      <a:pt x="456" y="60"/>
                    </a:lnTo>
                    <a:lnTo>
                      <a:pt x="444" y="60"/>
                    </a:lnTo>
                    <a:lnTo>
                      <a:pt x="438" y="66"/>
                    </a:lnTo>
                    <a:lnTo>
                      <a:pt x="426" y="72"/>
                    </a:lnTo>
                    <a:lnTo>
                      <a:pt x="396" y="102"/>
                    </a:lnTo>
                    <a:lnTo>
                      <a:pt x="384" y="108"/>
                    </a:lnTo>
                    <a:lnTo>
                      <a:pt x="372" y="108"/>
                    </a:lnTo>
                    <a:lnTo>
                      <a:pt x="360" y="102"/>
                    </a:lnTo>
                    <a:lnTo>
                      <a:pt x="354" y="96"/>
                    </a:lnTo>
                    <a:lnTo>
                      <a:pt x="342" y="90"/>
                    </a:lnTo>
                    <a:lnTo>
                      <a:pt x="330" y="90"/>
                    </a:lnTo>
                    <a:lnTo>
                      <a:pt x="306" y="102"/>
                    </a:lnTo>
                    <a:lnTo>
                      <a:pt x="294" y="114"/>
                    </a:lnTo>
                    <a:lnTo>
                      <a:pt x="270" y="126"/>
                    </a:lnTo>
                    <a:lnTo>
                      <a:pt x="210" y="126"/>
                    </a:lnTo>
                    <a:lnTo>
                      <a:pt x="192" y="108"/>
                    </a:lnTo>
                    <a:lnTo>
                      <a:pt x="186" y="96"/>
                    </a:lnTo>
                    <a:lnTo>
                      <a:pt x="174" y="90"/>
                    </a:lnTo>
                    <a:lnTo>
                      <a:pt x="168" y="78"/>
                    </a:lnTo>
                    <a:lnTo>
                      <a:pt x="168" y="66"/>
                    </a:lnTo>
                    <a:lnTo>
                      <a:pt x="156" y="54"/>
                    </a:lnTo>
                    <a:lnTo>
                      <a:pt x="150" y="54"/>
                    </a:lnTo>
                    <a:lnTo>
                      <a:pt x="126" y="78"/>
                    </a:lnTo>
                    <a:lnTo>
                      <a:pt x="108" y="114"/>
                    </a:lnTo>
                    <a:close/>
                  </a:path>
                </a:pathLst>
              </a:custGeom>
              <a:solidFill>
                <a:srgbClr val="9D90A0">
                  <a:lumMod val="40000"/>
                  <a:lumOff val="60000"/>
                </a:srgbClr>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124" name="Sierra Leone" descr="© INSCALE GmbH, 05.05.2010&#10;http://www.presentationload.com/">
                <a:extLst>
                  <a:ext uri="{FF2B5EF4-FFF2-40B4-BE49-F238E27FC236}">
                    <a16:creationId xmlns:a16="http://schemas.microsoft.com/office/drawing/2014/main" id="{67913ED4-AD3E-485C-92B9-79CF286991EC}"/>
                  </a:ext>
                </a:extLst>
              </p:cNvPr>
              <p:cNvSpPr>
                <a:spLocks/>
              </p:cNvSpPr>
              <p:nvPr/>
            </p:nvSpPr>
            <p:spPr bwMode="gray">
              <a:xfrm>
                <a:off x="3845004" y="4195366"/>
                <a:ext cx="81115" cy="119556"/>
              </a:xfrm>
              <a:custGeom>
                <a:avLst/>
                <a:gdLst>
                  <a:gd name="T0" fmla="*/ 2147483647 w 210"/>
                  <a:gd name="T1" fmla="*/ 2147483647 h 270"/>
                  <a:gd name="T2" fmla="*/ 2147483647 w 210"/>
                  <a:gd name="T3" fmla="*/ 2147483647 h 270"/>
                  <a:gd name="T4" fmla="*/ 2147483647 w 210"/>
                  <a:gd name="T5" fmla="*/ 2147483647 h 270"/>
                  <a:gd name="T6" fmla="*/ 2147483647 w 210"/>
                  <a:gd name="T7" fmla="*/ 2147483647 h 270"/>
                  <a:gd name="T8" fmla="*/ 2147483647 w 210"/>
                  <a:gd name="T9" fmla="*/ 2147483647 h 270"/>
                  <a:gd name="T10" fmla="*/ 2147483647 w 210"/>
                  <a:gd name="T11" fmla="*/ 2147483647 h 270"/>
                  <a:gd name="T12" fmla="*/ 2147483647 w 210"/>
                  <a:gd name="T13" fmla="*/ 2147483647 h 270"/>
                  <a:gd name="T14" fmla="*/ 2147483647 w 210"/>
                  <a:gd name="T15" fmla="*/ 2147483647 h 270"/>
                  <a:gd name="T16" fmla="*/ 2147483647 w 210"/>
                  <a:gd name="T17" fmla="*/ 2147483647 h 270"/>
                  <a:gd name="T18" fmla="*/ 2147483647 w 210"/>
                  <a:gd name="T19" fmla="*/ 2147483647 h 270"/>
                  <a:gd name="T20" fmla="*/ 2147483647 w 210"/>
                  <a:gd name="T21" fmla="*/ 2147483647 h 270"/>
                  <a:gd name="T22" fmla="*/ 2147483647 w 210"/>
                  <a:gd name="T23" fmla="*/ 0 h 270"/>
                  <a:gd name="T24" fmla="*/ 2147483647 w 210"/>
                  <a:gd name="T25" fmla="*/ 0 h 270"/>
                  <a:gd name="T26" fmla="*/ 2147483647 w 210"/>
                  <a:gd name="T27" fmla="*/ 2147483647 h 270"/>
                  <a:gd name="T28" fmla="*/ 2147483647 w 210"/>
                  <a:gd name="T29" fmla="*/ 2147483647 h 270"/>
                  <a:gd name="T30" fmla="*/ 2147483647 w 210"/>
                  <a:gd name="T31" fmla="*/ 2147483647 h 270"/>
                  <a:gd name="T32" fmla="*/ 2147483647 w 210"/>
                  <a:gd name="T33" fmla="*/ 2147483647 h 270"/>
                  <a:gd name="T34" fmla="*/ 2147483647 w 210"/>
                  <a:gd name="T35" fmla="*/ 2147483647 h 270"/>
                  <a:gd name="T36" fmla="*/ 2147483647 w 210"/>
                  <a:gd name="T37" fmla="*/ 2147483647 h 270"/>
                  <a:gd name="T38" fmla="*/ 2147483647 w 210"/>
                  <a:gd name="T39" fmla="*/ 2147483647 h 270"/>
                  <a:gd name="T40" fmla="*/ 2147483647 w 210"/>
                  <a:gd name="T41" fmla="*/ 2147483647 h 270"/>
                  <a:gd name="T42" fmla="*/ 2147483647 w 210"/>
                  <a:gd name="T43" fmla="*/ 2147483647 h 270"/>
                  <a:gd name="T44" fmla="*/ 0 w 210"/>
                  <a:gd name="T45" fmla="*/ 2147483647 h 270"/>
                  <a:gd name="T46" fmla="*/ 2147483647 w 210"/>
                  <a:gd name="T47" fmla="*/ 2147483647 h 270"/>
                  <a:gd name="T48" fmla="*/ 2147483647 w 210"/>
                  <a:gd name="T49" fmla="*/ 2147483647 h 270"/>
                  <a:gd name="T50" fmla="*/ 0 w 210"/>
                  <a:gd name="T51" fmla="*/ 2147483647 h 270"/>
                  <a:gd name="T52" fmla="*/ 0 w 210"/>
                  <a:gd name="T53" fmla="*/ 2147483647 h 270"/>
                  <a:gd name="T54" fmla="*/ 2147483647 w 210"/>
                  <a:gd name="T55" fmla="*/ 2147483647 h 270"/>
                  <a:gd name="T56" fmla="*/ 2147483647 w 210"/>
                  <a:gd name="T57" fmla="*/ 2147483647 h 270"/>
                  <a:gd name="T58" fmla="*/ 2147483647 w 210"/>
                  <a:gd name="T59" fmla="*/ 2147483647 h 270"/>
                  <a:gd name="T60" fmla="*/ 2147483647 w 210"/>
                  <a:gd name="T61" fmla="*/ 2147483647 h 270"/>
                  <a:gd name="T62" fmla="*/ 2147483647 w 210"/>
                  <a:gd name="T63" fmla="*/ 2147483647 h 270"/>
                  <a:gd name="T64" fmla="*/ 2147483647 w 210"/>
                  <a:gd name="T65" fmla="*/ 2147483647 h 270"/>
                  <a:gd name="T66" fmla="*/ 2147483647 w 210"/>
                  <a:gd name="T67" fmla="*/ 2147483647 h 270"/>
                  <a:gd name="T68" fmla="*/ 2147483647 w 210"/>
                  <a:gd name="T69" fmla="*/ 2147483647 h 270"/>
                  <a:gd name="T70" fmla="*/ 2147483647 w 210"/>
                  <a:gd name="T71" fmla="*/ 2147483647 h 270"/>
                  <a:gd name="T72" fmla="*/ 2147483647 w 210"/>
                  <a:gd name="T73" fmla="*/ 2147483647 h 270"/>
                  <a:gd name="T74" fmla="*/ 2147483647 w 210"/>
                  <a:gd name="T75" fmla="*/ 2147483647 h 270"/>
                  <a:gd name="T76" fmla="*/ 2147483647 w 210"/>
                  <a:gd name="T77" fmla="*/ 2147483647 h 270"/>
                  <a:gd name="T78" fmla="*/ 2147483647 w 210"/>
                  <a:gd name="T79" fmla="*/ 2147483647 h 270"/>
                  <a:gd name="T80" fmla="*/ 2147483647 w 210"/>
                  <a:gd name="T81" fmla="*/ 2147483647 h 270"/>
                  <a:gd name="T82" fmla="*/ 2147483647 w 210"/>
                  <a:gd name="T83" fmla="*/ 2147483647 h 270"/>
                  <a:gd name="T84" fmla="*/ 2147483647 w 210"/>
                  <a:gd name="T85" fmla="*/ 2147483647 h 270"/>
                  <a:gd name="T86" fmla="*/ 2147483647 w 210"/>
                  <a:gd name="T87" fmla="*/ 2147483647 h 27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10"/>
                  <a:gd name="T133" fmla="*/ 0 h 270"/>
                  <a:gd name="T134" fmla="*/ 210 w 210"/>
                  <a:gd name="T135" fmla="*/ 270 h 27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10" h="270">
                    <a:moveTo>
                      <a:pt x="186" y="180"/>
                    </a:moveTo>
                    <a:lnTo>
                      <a:pt x="186" y="162"/>
                    </a:lnTo>
                    <a:lnTo>
                      <a:pt x="210" y="156"/>
                    </a:lnTo>
                    <a:lnTo>
                      <a:pt x="204" y="132"/>
                    </a:lnTo>
                    <a:lnTo>
                      <a:pt x="174" y="144"/>
                    </a:lnTo>
                    <a:lnTo>
                      <a:pt x="180" y="126"/>
                    </a:lnTo>
                    <a:lnTo>
                      <a:pt x="186" y="120"/>
                    </a:lnTo>
                    <a:lnTo>
                      <a:pt x="192" y="108"/>
                    </a:lnTo>
                    <a:lnTo>
                      <a:pt x="192" y="90"/>
                    </a:lnTo>
                    <a:lnTo>
                      <a:pt x="180" y="78"/>
                    </a:lnTo>
                    <a:lnTo>
                      <a:pt x="180" y="60"/>
                    </a:lnTo>
                    <a:lnTo>
                      <a:pt x="138" y="0"/>
                    </a:lnTo>
                    <a:lnTo>
                      <a:pt x="102" y="0"/>
                    </a:lnTo>
                    <a:lnTo>
                      <a:pt x="96" y="18"/>
                    </a:lnTo>
                    <a:lnTo>
                      <a:pt x="60" y="18"/>
                    </a:lnTo>
                    <a:lnTo>
                      <a:pt x="60" y="24"/>
                    </a:lnTo>
                    <a:lnTo>
                      <a:pt x="54" y="30"/>
                    </a:lnTo>
                    <a:lnTo>
                      <a:pt x="48" y="42"/>
                    </a:lnTo>
                    <a:lnTo>
                      <a:pt x="36" y="54"/>
                    </a:lnTo>
                    <a:lnTo>
                      <a:pt x="30" y="66"/>
                    </a:lnTo>
                    <a:lnTo>
                      <a:pt x="18" y="72"/>
                    </a:lnTo>
                    <a:lnTo>
                      <a:pt x="12" y="78"/>
                    </a:lnTo>
                    <a:lnTo>
                      <a:pt x="0" y="84"/>
                    </a:lnTo>
                    <a:lnTo>
                      <a:pt x="12" y="96"/>
                    </a:lnTo>
                    <a:lnTo>
                      <a:pt x="6" y="102"/>
                    </a:lnTo>
                    <a:lnTo>
                      <a:pt x="0" y="114"/>
                    </a:lnTo>
                    <a:lnTo>
                      <a:pt x="0" y="132"/>
                    </a:lnTo>
                    <a:lnTo>
                      <a:pt x="6" y="138"/>
                    </a:lnTo>
                    <a:lnTo>
                      <a:pt x="18" y="144"/>
                    </a:lnTo>
                    <a:lnTo>
                      <a:pt x="24" y="150"/>
                    </a:lnTo>
                    <a:lnTo>
                      <a:pt x="18" y="180"/>
                    </a:lnTo>
                    <a:lnTo>
                      <a:pt x="42" y="198"/>
                    </a:lnTo>
                    <a:lnTo>
                      <a:pt x="42" y="204"/>
                    </a:lnTo>
                    <a:lnTo>
                      <a:pt x="48" y="210"/>
                    </a:lnTo>
                    <a:lnTo>
                      <a:pt x="54" y="222"/>
                    </a:lnTo>
                    <a:lnTo>
                      <a:pt x="78" y="234"/>
                    </a:lnTo>
                    <a:lnTo>
                      <a:pt x="96" y="234"/>
                    </a:lnTo>
                    <a:lnTo>
                      <a:pt x="126" y="270"/>
                    </a:lnTo>
                    <a:lnTo>
                      <a:pt x="126" y="234"/>
                    </a:lnTo>
                    <a:lnTo>
                      <a:pt x="144" y="216"/>
                    </a:lnTo>
                    <a:lnTo>
                      <a:pt x="156" y="210"/>
                    </a:lnTo>
                    <a:lnTo>
                      <a:pt x="168" y="198"/>
                    </a:lnTo>
                    <a:lnTo>
                      <a:pt x="180" y="192"/>
                    </a:lnTo>
                    <a:lnTo>
                      <a:pt x="186" y="180"/>
                    </a:lnTo>
                    <a:close/>
                  </a:path>
                </a:pathLst>
              </a:custGeom>
              <a:solidFill>
                <a:srgbClr val="9D90A0">
                  <a:lumMod val="40000"/>
                  <a:lumOff val="60000"/>
                </a:srgbClr>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125" name="Senegal" descr="© INSCALE GmbH, 05.05.2010&#10;http://www.presentationload.com/">
                <a:extLst>
                  <a:ext uri="{FF2B5EF4-FFF2-40B4-BE49-F238E27FC236}">
                    <a16:creationId xmlns:a16="http://schemas.microsoft.com/office/drawing/2014/main" id="{43918312-3793-4A31-82B7-4DADE3FBCE44}"/>
                  </a:ext>
                </a:extLst>
              </p:cNvPr>
              <p:cNvSpPr>
                <a:spLocks/>
              </p:cNvSpPr>
              <p:nvPr/>
            </p:nvSpPr>
            <p:spPr bwMode="gray">
              <a:xfrm>
                <a:off x="3762328" y="3956253"/>
                <a:ext cx="163791" cy="162874"/>
              </a:xfrm>
              <a:custGeom>
                <a:avLst/>
                <a:gdLst>
                  <a:gd name="T0" fmla="*/ 2147483647 w 414"/>
                  <a:gd name="T1" fmla="*/ 2147483647 h 366"/>
                  <a:gd name="T2" fmla="*/ 2147483647 w 414"/>
                  <a:gd name="T3" fmla="*/ 2147483647 h 366"/>
                  <a:gd name="T4" fmla="*/ 2147483647 w 414"/>
                  <a:gd name="T5" fmla="*/ 2147483647 h 366"/>
                  <a:gd name="T6" fmla="*/ 2147483647 w 414"/>
                  <a:gd name="T7" fmla="*/ 2147483647 h 366"/>
                  <a:gd name="T8" fmla="*/ 2147483647 w 414"/>
                  <a:gd name="T9" fmla="*/ 2147483647 h 366"/>
                  <a:gd name="T10" fmla="*/ 2147483647 w 414"/>
                  <a:gd name="T11" fmla="*/ 2147483647 h 366"/>
                  <a:gd name="T12" fmla="*/ 2147483647 w 414"/>
                  <a:gd name="T13" fmla="*/ 2147483647 h 366"/>
                  <a:gd name="T14" fmla="*/ 2147483647 w 414"/>
                  <a:gd name="T15" fmla="*/ 2147483647 h 366"/>
                  <a:gd name="T16" fmla="*/ 2147483647 w 414"/>
                  <a:gd name="T17" fmla="*/ 2147483647 h 366"/>
                  <a:gd name="T18" fmla="*/ 2147483647 w 414"/>
                  <a:gd name="T19" fmla="*/ 2147483647 h 366"/>
                  <a:gd name="T20" fmla="*/ 2147483647 w 414"/>
                  <a:gd name="T21" fmla="*/ 2147483647 h 366"/>
                  <a:gd name="T22" fmla="*/ 2147483647 w 414"/>
                  <a:gd name="T23" fmla="*/ 2147483647 h 366"/>
                  <a:gd name="T24" fmla="*/ 2147483647 w 414"/>
                  <a:gd name="T25" fmla="*/ 2147483647 h 366"/>
                  <a:gd name="T26" fmla="*/ 2147483647 w 414"/>
                  <a:gd name="T27" fmla="*/ 2147483647 h 366"/>
                  <a:gd name="T28" fmla="*/ 2147483647 w 414"/>
                  <a:gd name="T29" fmla="*/ 0 h 366"/>
                  <a:gd name="T30" fmla="*/ 2147483647 w 414"/>
                  <a:gd name="T31" fmla="*/ 2147483647 h 366"/>
                  <a:gd name="T32" fmla="*/ 2147483647 w 414"/>
                  <a:gd name="T33" fmla="*/ 2147483647 h 366"/>
                  <a:gd name="T34" fmla="*/ 2147483647 w 414"/>
                  <a:gd name="T35" fmla="*/ 2147483647 h 366"/>
                  <a:gd name="T36" fmla="*/ 2147483647 w 414"/>
                  <a:gd name="T37" fmla="*/ 2147483647 h 366"/>
                  <a:gd name="T38" fmla="*/ 2147483647 w 414"/>
                  <a:gd name="T39" fmla="*/ 2147483647 h 366"/>
                  <a:gd name="T40" fmla="*/ 2147483647 w 414"/>
                  <a:gd name="T41" fmla="*/ 2147483647 h 366"/>
                  <a:gd name="T42" fmla="*/ 0 w 414"/>
                  <a:gd name="T43" fmla="*/ 2147483647 h 366"/>
                  <a:gd name="T44" fmla="*/ 2147483647 w 414"/>
                  <a:gd name="T45" fmla="*/ 2147483647 h 366"/>
                  <a:gd name="T46" fmla="*/ 2147483647 w 414"/>
                  <a:gd name="T47" fmla="*/ 2147483647 h 366"/>
                  <a:gd name="T48" fmla="*/ 2147483647 w 414"/>
                  <a:gd name="T49" fmla="*/ 2147483647 h 366"/>
                  <a:gd name="T50" fmla="*/ 2147483647 w 414"/>
                  <a:gd name="T51" fmla="*/ 2147483647 h 366"/>
                  <a:gd name="T52" fmla="*/ 2147483647 w 414"/>
                  <a:gd name="T53" fmla="*/ 2147483647 h 366"/>
                  <a:gd name="T54" fmla="*/ 2147483647 w 414"/>
                  <a:gd name="T55" fmla="*/ 2147483647 h 366"/>
                  <a:gd name="T56" fmla="*/ 2147483647 w 414"/>
                  <a:gd name="T57" fmla="*/ 2147483647 h 366"/>
                  <a:gd name="T58" fmla="*/ 2147483647 w 414"/>
                  <a:gd name="T59" fmla="*/ 2147483647 h 366"/>
                  <a:gd name="T60" fmla="*/ 2147483647 w 414"/>
                  <a:gd name="T61" fmla="*/ 2147483647 h 366"/>
                  <a:gd name="T62" fmla="*/ 2147483647 w 414"/>
                  <a:gd name="T63" fmla="*/ 2147483647 h 366"/>
                  <a:gd name="T64" fmla="*/ 2147483647 w 414"/>
                  <a:gd name="T65" fmla="*/ 2147483647 h 366"/>
                  <a:gd name="T66" fmla="*/ 2147483647 w 414"/>
                  <a:gd name="T67" fmla="*/ 2147483647 h 366"/>
                  <a:gd name="T68" fmla="*/ 2147483647 w 414"/>
                  <a:gd name="T69" fmla="*/ 2147483647 h 366"/>
                  <a:gd name="T70" fmla="*/ 2147483647 w 414"/>
                  <a:gd name="T71" fmla="*/ 2147483647 h 366"/>
                  <a:gd name="T72" fmla="*/ 2147483647 w 414"/>
                  <a:gd name="T73" fmla="*/ 2147483647 h 366"/>
                  <a:gd name="T74" fmla="*/ 2147483647 w 414"/>
                  <a:gd name="T75" fmla="*/ 2147483647 h 366"/>
                  <a:gd name="T76" fmla="*/ 2147483647 w 414"/>
                  <a:gd name="T77" fmla="*/ 2147483647 h 366"/>
                  <a:gd name="T78" fmla="*/ 2147483647 w 414"/>
                  <a:gd name="T79" fmla="*/ 2147483647 h 366"/>
                  <a:gd name="T80" fmla="*/ 2147483647 w 414"/>
                  <a:gd name="T81" fmla="*/ 2147483647 h 366"/>
                  <a:gd name="T82" fmla="*/ 2147483647 w 414"/>
                  <a:gd name="T83" fmla="*/ 2147483647 h 366"/>
                  <a:gd name="T84" fmla="*/ 2147483647 w 414"/>
                  <a:gd name="T85" fmla="*/ 2147483647 h 366"/>
                  <a:gd name="T86" fmla="*/ 2147483647 w 414"/>
                  <a:gd name="T87" fmla="*/ 2147483647 h 366"/>
                  <a:gd name="T88" fmla="*/ 2147483647 w 414"/>
                  <a:gd name="T89" fmla="*/ 2147483647 h 366"/>
                  <a:gd name="T90" fmla="*/ 2147483647 w 414"/>
                  <a:gd name="T91" fmla="*/ 2147483647 h 366"/>
                  <a:gd name="T92" fmla="*/ 2147483647 w 414"/>
                  <a:gd name="T93" fmla="*/ 2147483647 h 366"/>
                  <a:gd name="T94" fmla="*/ 2147483647 w 414"/>
                  <a:gd name="T95" fmla="*/ 2147483647 h 366"/>
                  <a:gd name="T96" fmla="*/ 2147483647 w 414"/>
                  <a:gd name="T97" fmla="*/ 2147483647 h 366"/>
                  <a:gd name="T98" fmla="*/ 2147483647 w 414"/>
                  <a:gd name="T99" fmla="*/ 2147483647 h 366"/>
                  <a:gd name="T100" fmla="*/ 2147483647 w 414"/>
                  <a:gd name="T101" fmla="*/ 2147483647 h 366"/>
                  <a:gd name="T102" fmla="*/ 2147483647 w 414"/>
                  <a:gd name="T103" fmla="*/ 2147483647 h 366"/>
                  <a:gd name="T104" fmla="*/ 2147483647 w 414"/>
                  <a:gd name="T105" fmla="*/ 2147483647 h 36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14"/>
                  <a:gd name="T160" fmla="*/ 0 h 366"/>
                  <a:gd name="T161" fmla="*/ 414 w 414"/>
                  <a:gd name="T162" fmla="*/ 366 h 36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14" h="366">
                    <a:moveTo>
                      <a:pt x="402" y="270"/>
                    </a:moveTo>
                    <a:lnTo>
                      <a:pt x="396" y="270"/>
                    </a:lnTo>
                    <a:lnTo>
                      <a:pt x="396" y="276"/>
                    </a:lnTo>
                    <a:lnTo>
                      <a:pt x="384" y="276"/>
                    </a:lnTo>
                    <a:lnTo>
                      <a:pt x="378" y="270"/>
                    </a:lnTo>
                    <a:lnTo>
                      <a:pt x="378" y="246"/>
                    </a:lnTo>
                    <a:lnTo>
                      <a:pt x="384" y="240"/>
                    </a:lnTo>
                    <a:lnTo>
                      <a:pt x="384" y="222"/>
                    </a:lnTo>
                    <a:lnTo>
                      <a:pt x="372" y="210"/>
                    </a:lnTo>
                    <a:lnTo>
                      <a:pt x="372" y="204"/>
                    </a:lnTo>
                    <a:lnTo>
                      <a:pt x="360" y="186"/>
                    </a:lnTo>
                    <a:lnTo>
                      <a:pt x="360" y="162"/>
                    </a:lnTo>
                    <a:lnTo>
                      <a:pt x="348" y="138"/>
                    </a:lnTo>
                    <a:lnTo>
                      <a:pt x="318" y="132"/>
                    </a:lnTo>
                    <a:lnTo>
                      <a:pt x="318" y="108"/>
                    </a:lnTo>
                    <a:lnTo>
                      <a:pt x="312" y="102"/>
                    </a:lnTo>
                    <a:lnTo>
                      <a:pt x="294" y="102"/>
                    </a:lnTo>
                    <a:lnTo>
                      <a:pt x="294" y="72"/>
                    </a:lnTo>
                    <a:lnTo>
                      <a:pt x="288" y="60"/>
                    </a:lnTo>
                    <a:lnTo>
                      <a:pt x="288" y="54"/>
                    </a:lnTo>
                    <a:lnTo>
                      <a:pt x="282" y="48"/>
                    </a:lnTo>
                    <a:lnTo>
                      <a:pt x="264" y="48"/>
                    </a:lnTo>
                    <a:lnTo>
                      <a:pt x="252" y="54"/>
                    </a:lnTo>
                    <a:lnTo>
                      <a:pt x="246" y="42"/>
                    </a:lnTo>
                    <a:lnTo>
                      <a:pt x="234" y="30"/>
                    </a:lnTo>
                    <a:lnTo>
                      <a:pt x="228" y="18"/>
                    </a:lnTo>
                    <a:lnTo>
                      <a:pt x="222" y="18"/>
                    </a:lnTo>
                    <a:lnTo>
                      <a:pt x="210" y="12"/>
                    </a:lnTo>
                    <a:lnTo>
                      <a:pt x="186" y="12"/>
                    </a:lnTo>
                    <a:lnTo>
                      <a:pt x="162" y="0"/>
                    </a:lnTo>
                    <a:lnTo>
                      <a:pt x="162" y="18"/>
                    </a:lnTo>
                    <a:lnTo>
                      <a:pt x="132" y="12"/>
                    </a:lnTo>
                    <a:lnTo>
                      <a:pt x="120" y="18"/>
                    </a:lnTo>
                    <a:lnTo>
                      <a:pt x="114" y="18"/>
                    </a:lnTo>
                    <a:lnTo>
                      <a:pt x="108" y="12"/>
                    </a:lnTo>
                    <a:lnTo>
                      <a:pt x="102" y="12"/>
                    </a:lnTo>
                    <a:lnTo>
                      <a:pt x="90" y="18"/>
                    </a:lnTo>
                    <a:lnTo>
                      <a:pt x="84" y="24"/>
                    </a:lnTo>
                    <a:lnTo>
                      <a:pt x="66" y="60"/>
                    </a:lnTo>
                    <a:lnTo>
                      <a:pt x="60" y="66"/>
                    </a:lnTo>
                    <a:lnTo>
                      <a:pt x="60" y="90"/>
                    </a:lnTo>
                    <a:lnTo>
                      <a:pt x="48" y="96"/>
                    </a:lnTo>
                    <a:lnTo>
                      <a:pt x="30" y="132"/>
                    </a:lnTo>
                    <a:lnTo>
                      <a:pt x="0" y="162"/>
                    </a:lnTo>
                    <a:lnTo>
                      <a:pt x="6" y="168"/>
                    </a:lnTo>
                    <a:lnTo>
                      <a:pt x="12" y="168"/>
                    </a:lnTo>
                    <a:lnTo>
                      <a:pt x="18" y="174"/>
                    </a:lnTo>
                    <a:lnTo>
                      <a:pt x="24" y="186"/>
                    </a:lnTo>
                    <a:lnTo>
                      <a:pt x="24" y="204"/>
                    </a:lnTo>
                    <a:lnTo>
                      <a:pt x="42" y="222"/>
                    </a:lnTo>
                    <a:lnTo>
                      <a:pt x="42" y="246"/>
                    </a:lnTo>
                    <a:lnTo>
                      <a:pt x="48" y="252"/>
                    </a:lnTo>
                    <a:lnTo>
                      <a:pt x="126" y="252"/>
                    </a:lnTo>
                    <a:lnTo>
                      <a:pt x="126" y="240"/>
                    </a:lnTo>
                    <a:lnTo>
                      <a:pt x="180" y="240"/>
                    </a:lnTo>
                    <a:lnTo>
                      <a:pt x="180" y="252"/>
                    </a:lnTo>
                    <a:lnTo>
                      <a:pt x="192" y="246"/>
                    </a:lnTo>
                    <a:lnTo>
                      <a:pt x="198" y="252"/>
                    </a:lnTo>
                    <a:lnTo>
                      <a:pt x="204" y="264"/>
                    </a:lnTo>
                    <a:lnTo>
                      <a:pt x="216" y="264"/>
                    </a:lnTo>
                    <a:lnTo>
                      <a:pt x="222" y="258"/>
                    </a:lnTo>
                    <a:lnTo>
                      <a:pt x="246" y="258"/>
                    </a:lnTo>
                    <a:lnTo>
                      <a:pt x="252" y="264"/>
                    </a:lnTo>
                    <a:lnTo>
                      <a:pt x="252" y="270"/>
                    </a:lnTo>
                    <a:lnTo>
                      <a:pt x="246" y="276"/>
                    </a:lnTo>
                    <a:lnTo>
                      <a:pt x="234" y="282"/>
                    </a:lnTo>
                    <a:lnTo>
                      <a:pt x="228" y="288"/>
                    </a:lnTo>
                    <a:lnTo>
                      <a:pt x="204" y="288"/>
                    </a:lnTo>
                    <a:lnTo>
                      <a:pt x="186" y="282"/>
                    </a:lnTo>
                    <a:lnTo>
                      <a:pt x="180" y="270"/>
                    </a:lnTo>
                    <a:lnTo>
                      <a:pt x="168" y="264"/>
                    </a:lnTo>
                    <a:lnTo>
                      <a:pt x="162" y="258"/>
                    </a:lnTo>
                    <a:lnTo>
                      <a:pt x="156" y="264"/>
                    </a:lnTo>
                    <a:lnTo>
                      <a:pt x="150" y="276"/>
                    </a:lnTo>
                    <a:lnTo>
                      <a:pt x="126" y="276"/>
                    </a:lnTo>
                    <a:lnTo>
                      <a:pt x="120" y="282"/>
                    </a:lnTo>
                    <a:lnTo>
                      <a:pt x="108" y="282"/>
                    </a:lnTo>
                    <a:lnTo>
                      <a:pt x="108" y="294"/>
                    </a:lnTo>
                    <a:lnTo>
                      <a:pt x="36" y="294"/>
                    </a:lnTo>
                    <a:lnTo>
                      <a:pt x="36" y="318"/>
                    </a:lnTo>
                    <a:lnTo>
                      <a:pt x="30" y="324"/>
                    </a:lnTo>
                    <a:lnTo>
                      <a:pt x="30" y="336"/>
                    </a:lnTo>
                    <a:lnTo>
                      <a:pt x="36" y="342"/>
                    </a:lnTo>
                    <a:lnTo>
                      <a:pt x="42" y="354"/>
                    </a:lnTo>
                    <a:lnTo>
                      <a:pt x="48" y="360"/>
                    </a:lnTo>
                    <a:lnTo>
                      <a:pt x="60" y="366"/>
                    </a:lnTo>
                    <a:lnTo>
                      <a:pt x="66" y="366"/>
                    </a:lnTo>
                    <a:lnTo>
                      <a:pt x="72" y="360"/>
                    </a:lnTo>
                    <a:lnTo>
                      <a:pt x="78" y="360"/>
                    </a:lnTo>
                    <a:lnTo>
                      <a:pt x="90" y="348"/>
                    </a:lnTo>
                    <a:lnTo>
                      <a:pt x="126" y="348"/>
                    </a:lnTo>
                    <a:lnTo>
                      <a:pt x="156" y="324"/>
                    </a:lnTo>
                    <a:lnTo>
                      <a:pt x="294" y="330"/>
                    </a:lnTo>
                    <a:lnTo>
                      <a:pt x="294" y="336"/>
                    </a:lnTo>
                    <a:lnTo>
                      <a:pt x="300" y="348"/>
                    </a:lnTo>
                    <a:lnTo>
                      <a:pt x="318" y="348"/>
                    </a:lnTo>
                    <a:lnTo>
                      <a:pt x="324" y="342"/>
                    </a:lnTo>
                    <a:lnTo>
                      <a:pt x="330" y="348"/>
                    </a:lnTo>
                    <a:lnTo>
                      <a:pt x="336" y="360"/>
                    </a:lnTo>
                    <a:lnTo>
                      <a:pt x="342" y="366"/>
                    </a:lnTo>
                    <a:lnTo>
                      <a:pt x="354" y="366"/>
                    </a:lnTo>
                    <a:lnTo>
                      <a:pt x="366" y="360"/>
                    </a:lnTo>
                    <a:lnTo>
                      <a:pt x="372" y="354"/>
                    </a:lnTo>
                    <a:lnTo>
                      <a:pt x="414" y="354"/>
                    </a:lnTo>
                    <a:lnTo>
                      <a:pt x="414" y="288"/>
                    </a:lnTo>
                    <a:lnTo>
                      <a:pt x="408" y="276"/>
                    </a:lnTo>
                    <a:lnTo>
                      <a:pt x="402" y="270"/>
                    </a:lnTo>
                    <a:close/>
                  </a:path>
                </a:pathLst>
              </a:custGeom>
              <a:solidFill>
                <a:srgbClr val="9D90A0">
                  <a:lumMod val="40000"/>
                  <a:lumOff val="60000"/>
                </a:srgbClr>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126" name="Saudi Arabia" descr="© INSCALE GmbH, 05.05.2010&#10;http://www.presentationload.com/">
                <a:extLst>
                  <a:ext uri="{FF2B5EF4-FFF2-40B4-BE49-F238E27FC236}">
                    <a16:creationId xmlns:a16="http://schemas.microsoft.com/office/drawing/2014/main" id="{703ECA48-4CDF-4243-AA47-280AEC1B7631}"/>
                  </a:ext>
                </a:extLst>
              </p:cNvPr>
              <p:cNvSpPr>
                <a:spLocks/>
              </p:cNvSpPr>
              <p:nvPr/>
            </p:nvSpPr>
            <p:spPr bwMode="gray">
              <a:xfrm>
                <a:off x="5167808" y="3413919"/>
                <a:ext cx="588087" cy="559662"/>
              </a:xfrm>
              <a:custGeom>
                <a:avLst/>
                <a:gdLst>
                  <a:gd name="T0" fmla="*/ 2147483647 w 1488"/>
                  <a:gd name="T1" fmla="*/ 2147483647 h 1278"/>
                  <a:gd name="T2" fmla="*/ 2147483647 w 1488"/>
                  <a:gd name="T3" fmla="*/ 2147483647 h 1278"/>
                  <a:gd name="T4" fmla="*/ 2147483647 w 1488"/>
                  <a:gd name="T5" fmla="*/ 2147483647 h 1278"/>
                  <a:gd name="T6" fmla="*/ 2147483647 w 1488"/>
                  <a:gd name="T7" fmla="*/ 2147483647 h 1278"/>
                  <a:gd name="T8" fmla="*/ 2147483647 w 1488"/>
                  <a:gd name="T9" fmla="*/ 2147483647 h 1278"/>
                  <a:gd name="T10" fmla="*/ 2147483647 w 1488"/>
                  <a:gd name="T11" fmla="*/ 2147483647 h 1278"/>
                  <a:gd name="T12" fmla="*/ 2147483647 w 1488"/>
                  <a:gd name="T13" fmla="*/ 2147483647 h 1278"/>
                  <a:gd name="T14" fmla="*/ 2147483647 w 1488"/>
                  <a:gd name="T15" fmla="*/ 2147483647 h 1278"/>
                  <a:gd name="T16" fmla="*/ 2147483647 w 1488"/>
                  <a:gd name="T17" fmla="*/ 2147483647 h 1278"/>
                  <a:gd name="T18" fmla="*/ 2147483647 w 1488"/>
                  <a:gd name="T19" fmla="*/ 2147483647 h 1278"/>
                  <a:gd name="T20" fmla="*/ 2147483647 w 1488"/>
                  <a:gd name="T21" fmla="*/ 2147483647 h 1278"/>
                  <a:gd name="T22" fmla="*/ 2147483647 w 1488"/>
                  <a:gd name="T23" fmla="*/ 2147483647 h 1278"/>
                  <a:gd name="T24" fmla="*/ 2147483647 w 1488"/>
                  <a:gd name="T25" fmla="*/ 2147483647 h 1278"/>
                  <a:gd name="T26" fmla="*/ 2147483647 w 1488"/>
                  <a:gd name="T27" fmla="*/ 2147483647 h 1278"/>
                  <a:gd name="T28" fmla="*/ 2147483647 w 1488"/>
                  <a:gd name="T29" fmla="*/ 2147483647 h 1278"/>
                  <a:gd name="T30" fmla="*/ 2147483647 w 1488"/>
                  <a:gd name="T31" fmla="*/ 2147483647 h 1278"/>
                  <a:gd name="T32" fmla="*/ 2147483647 w 1488"/>
                  <a:gd name="T33" fmla="*/ 2147483647 h 1278"/>
                  <a:gd name="T34" fmla="*/ 2147483647 w 1488"/>
                  <a:gd name="T35" fmla="*/ 2147483647 h 1278"/>
                  <a:gd name="T36" fmla="*/ 2147483647 w 1488"/>
                  <a:gd name="T37" fmla="*/ 2147483647 h 1278"/>
                  <a:gd name="T38" fmla="*/ 2147483647 w 1488"/>
                  <a:gd name="T39" fmla="*/ 0 h 1278"/>
                  <a:gd name="T40" fmla="*/ 2147483647 w 1488"/>
                  <a:gd name="T41" fmla="*/ 2147483647 h 1278"/>
                  <a:gd name="T42" fmla="*/ 2147483647 w 1488"/>
                  <a:gd name="T43" fmla="*/ 2147483647 h 1278"/>
                  <a:gd name="T44" fmla="*/ 2147483647 w 1488"/>
                  <a:gd name="T45" fmla="*/ 2147483647 h 1278"/>
                  <a:gd name="T46" fmla="*/ 2147483647 w 1488"/>
                  <a:gd name="T47" fmla="*/ 2147483647 h 1278"/>
                  <a:gd name="T48" fmla="*/ 2147483647 w 1488"/>
                  <a:gd name="T49" fmla="*/ 2147483647 h 1278"/>
                  <a:gd name="T50" fmla="*/ 2147483647 w 1488"/>
                  <a:gd name="T51" fmla="*/ 2147483647 h 1278"/>
                  <a:gd name="T52" fmla="*/ 2147483647 w 1488"/>
                  <a:gd name="T53" fmla="*/ 2147483647 h 1278"/>
                  <a:gd name="T54" fmla="*/ 2147483647 w 1488"/>
                  <a:gd name="T55" fmla="*/ 2147483647 h 1278"/>
                  <a:gd name="T56" fmla="*/ 2147483647 w 1488"/>
                  <a:gd name="T57" fmla="*/ 2147483647 h 1278"/>
                  <a:gd name="T58" fmla="*/ 2147483647 w 1488"/>
                  <a:gd name="T59" fmla="*/ 2147483647 h 1278"/>
                  <a:gd name="T60" fmla="*/ 2147483647 w 1488"/>
                  <a:gd name="T61" fmla="*/ 2147483647 h 1278"/>
                  <a:gd name="T62" fmla="*/ 0 w 1488"/>
                  <a:gd name="T63" fmla="*/ 2147483647 h 1278"/>
                  <a:gd name="T64" fmla="*/ 2147483647 w 1488"/>
                  <a:gd name="T65" fmla="*/ 2147483647 h 1278"/>
                  <a:gd name="T66" fmla="*/ 2147483647 w 1488"/>
                  <a:gd name="T67" fmla="*/ 2147483647 h 1278"/>
                  <a:gd name="T68" fmla="*/ 2147483647 w 1488"/>
                  <a:gd name="T69" fmla="*/ 2147483647 h 1278"/>
                  <a:gd name="T70" fmla="*/ 2147483647 w 1488"/>
                  <a:gd name="T71" fmla="*/ 2147483647 h 1278"/>
                  <a:gd name="T72" fmla="*/ 2147483647 w 1488"/>
                  <a:gd name="T73" fmla="*/ 2147483647 h 1278"/>
                  <a:gd name="T74" fmla="*/ 2147483647 w 1488"/>
                  <a:gd name="T75" fmla="*/ 2147483647 h 1278"/>
                  <a:gd name="T76" fmla="*/ 2147483647 w 1488"/>
                  <a:gd name="T77" fmla="*/ 2147483647 h 1278"/>
                  <a:gd name="T78" fmla="*/ 2147483647 w 1488"/>
                  <a:gd name="T79" fmla="*/ 2147483647 h 1278"/>
                  <a:gd name="T80" fmla="*/ 2147483647 w 1488"/>
                  <a:gd name="T81" fmla="*/ 2147483647 h 1278"/>
                  <a:gd name="T82" fmla="*/ 2147483647 w 1488"/>
                  <a:gd name="T83" fmla="*/ 2147483647 h 1278"/>
                  <a:gd name="T84" fmla="*/ 2147483647 w 1488"/>
                  <a:gd name="T85" fmla="*/ 2147483647 h 1278"/>
                  <a:gd name="T86" fmla="*/ 2147483647 w 1488"/>
                  <a:gd name="T87" fmla="*/ 2147483647 h 1278"/>
                  <a:gd name="T88" fmla="*/ 2147483647 w 1488"/>
                  <a:gd name="T89" fmla="*/ 2147483647 h 1278"/>
                  <a:gd name="T90" fmla="*/ 2147483647 w 1488"/>
                  <a:gd name="T91" fmla="*/ 2147483647 h 1278"/>
                  <a:gd name="T92" fmla="*/ 2147483647 w 1488"/>
                  <a:gd name="T93" fmla="*/ 2147483647 h 1278"/>
                  <a:gd name="T94" fmla="*/ 2147483647 w 1488"/>
                  <a:gd name="T95" fmla="*/ 2147483647 h 1278"/>
                  <a:gd name="T96" fmla="*/ 2147483647 w 1488"/>
                  <a:gd name="T97" fmla="*/ 2147483647 h 1278"/>
                  <a:gd name="T98" fmla="*/ 2147483647 w 1488"/>
                  <a:gd name="T99" fmla="*/ 2147483647 h 1278"/>
                  <a:gd name="T100" fmla="*/ 2147483647 w 1488"/>
                  <a:gd name="T101" fmla="*/ 2147483647 h 1278"/>
                  <a:gd name="T102" fmla="*/ 2147483647 w 1488"/>
                  <a:gd name="T103" fmla="*/ 2147483647 h 1278"/>
                  <a:gd name="T104" fmla="*/ 2147483647 w 1488"/>
                  <a:gd name="T105" fmla="*/ 2147483647 h 1278"/>
                  <a:gd name="T106" fmla="*/ 2147483647 w 1488"/>
                  <a:gd name="T107" fmla="*/ 2147483647 h 1278"/>
                  <a:gd name="T108" fmla="*/ 2147483647 w 1488"/>
                  <a:gd name="T109" fmla="*/ 2147483647 h 1278"/>
                  <a:gd name="T110" fmla="*/ 2147483647 w 1488"/>
                  <a:gd name="T111" fmla="*/ 2147483647 h 1278"/>
                  <a:gd name="T112" fmla="*/ 2147483647 w 1488"/>
                  <a:gd name="T113" fmla="*/ 2147483647 h 1278"/>
                  <a:gd name="T114" fmla="*/ 2147483647 w 1488"/>
                  <a:gd name="T115" fmla="*/ 2147483647 h 1278"/>
                  <a:gd name="T116" fmla="*/ 2147483647 w 1488"/>
                  <a:gd name="T117" fmla="*/ 2147483647 h 127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488"/>
                  <a:gd name="T178" fmla="*/ 0 h 1278"/>
                  <a:gd name="T179" fmla="*/ 1488 w 1488"/>
                  <a:gd name="T180" fmla="*/ 1278 h 127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488" h="1278">
                    <a:moveTo>
                      <a:pt x="1464" y="792"/>
                    </a:moveTo>
                    <a:lnTo>
                      <a:pt x="1464" y="780"/>
                    </a:lnTo>
                    <a:lnTo>
                      <a:pt x="1458" y="774"/>
                    </a:lnTo>
                    <a:lnTo>
                      <a:pt x="1416" y="768"/>
                    </a:lnTo>
                    <a:lnTo>
                      <a:pt x="1320" y="756"/>
                    </a:lnTo>
                    <a:lnTo>
                      <a:pt x="1284" y="750"/>
                    </a:lnTo>
                    <a:lnTo>
                      <a:pt x="1266" y="750"/>
                    </a:lnTo>
                    <a:lnTo>
                      <a:pt x="1260" y="738"/>
                    </a:lnTo>
                    <a:lnTo>
                      <a:pt x="1248" y="732"/>
                    </a:lnTo>
                    <a:lnTo>
                      <a:pt x="1242" y="720"/>
                    </a:lnTo>
                    <a:lnTo>
                      <a:pt x="1218" y="696"/>
                    </a:lnTo>
                    <a:lnTo>
                      <a:pt x="1206" y="672"/>
                    </a:lnTo>
                    <a:lnTo>
                      <a:pt x="1188" y="654"/>
                    </a:lnTo>
                    <a:lnTo>
                      <a:pt x="1188" y="642"/>
                    </a:lnTo>
                    <a:lnTo>
                      <a:pt x="1182" y="636"/>
                    </a:lnTo>
                    <a:lnTo>
                      <a:pt x="1182" y="618"/>
                    </a:lnTo>
                    <a:lnTo>
                      <a:pt x="1176" y="624"/>
                    </a:lnTo>
                    <a:lnTo>
                      <a:pt x="1164" y="612"/>
                    </a:lnTo>
                    <a:lnTo>
                      <a:pt x="1146" y="612"/>
                    </a:lnTo>
                    <a:lnTo>
                      <a:pt x="1140" y="600"/>
                    </a:lnTo>
                    <a:lnTo>
                      <a:pt x="1134" y="594"/>
                    </a:lnTo>
                    <a:lnTo>
                      <a:pt x="1128" y="582"/>
                    </a:lnTo>
                    <a:lnTo>
                      <a:pt x="1122" y="564"/>
                    </a:lnTo>
                    <a:lnTo>
                      <a:pt x="1116" y="552"/>
                    </a:lnTo>
                    <a:lnTo>
                      <a:pt x="1116" y="540"/>
                    </a:lnTo>
                    <a:lnTo>
                      <a:pt x="1110" y="534"/>
                    </a:lnTo>
                    <a:lnTo>
                      <a:pt x="1098" y="528"/>
                    </a:lnTo>
                    <a:lnTo>
                      <a:pt x="1086" y="516"/>
                    </a:lnTo>
                    <a:lnTo>
                      <a:pt x="1074" y="510"/>
                    </a:lnTo>
                    <a:lnTo>
                      <a:pt x="1068" y="498"/>
                    </a:lnTo>
                    <a:lnTo>
                      <a:pt x="1068" y="462"/>
                    </a:lnTo>
                    <a:lnTo>
                      <a:pt x="1062" y="450"/>
                    </a:lnTo>
                    <a:lnTo>
                      <a:pt x="1062" y="438"/>
                    </a:lnTo>
                    <a:lnTo>
                      <a:pt x="1050" y="426"/>
                    </a:lnTo>
                    <a:lnTo>
                      <a:pt x="1002" y="402"/>
                    </a:lnTo>
                    <a:lnTo>
                      <a:pt x="996" y="396"/>
                    </a:lnTo>
                    <a:lnTo>
                      <a:pt x="990" y="384"/>
                    </a:lnTo>
                    <a:lnTo>
                      <a:pt x="990" y="360"/>
                    </a:lnTo>
                    <a:lnTo>
                      <a:pt x="972" y="342"/>
                    </a:lnTo>
                    <a:lnTo>
                      <a:pt x="966" y="330"/>
                    </a:lnTo>
                    <a:lnTo>
                      <a:pt x="960" y="324"/>
                    </a:lnTo>
                    <a:lnTo>
                      <a:pt x="960" y="300"/>
                    </a:lnTo>
                    <a:lnTo>
                      <a:pt x="954" y="300"/>
                    </a:lnTo>
                    <a:lnTo>
                      <a:pt x="948" y="294"/>
                    </a:lnTo>
                    <a:lnTo>
                      <a:pt x="882" y="294"/>
                    </a:lnTo>
                    <a:lnTo>
                      <a:pt x="876" y="288"/>
                    </a:lnTo>
                    <a:lnTo>
                      <a:pt x="876" y="252"/>
                    </a:lnTo>
                    <a:lnTo>
                      <a:pt x="852" y="246"/>
                    </a:lnTo>
                    <a:lnTo>
                      <a:pt x="804" y="246"/>
                    </a:lnTo>
                    <a:lnTo>
                      <a:pt x="750" y="240"/>
                    </a:lnTo>
                    <a:lnTo>
                      <a:pt x="684" y="240"/>
                    </a:lnTo>
                    <a:lnTo>
                      <a:pt x="492" y="96"/>
                    </a:lnTo>
                    <a:lnTo>
                      <a:pt x="480" y="90"/>
                    </a:lnTo>
                    <a:lnTo>
                      <a:pt x="474" y="84"/>
                    </a:lnTo>
                    <a:lnTo>
                      <a:pt x="426" y="60"/>
                    </a:lnTo>
                    <a:lnTo>
                      <a:pt x="414" y="48"/>
                    </a:lnTo>
                    <a:lnTo>
                      <a:pt x="402" y="42"/>
                    </a:lnTo>
                    <a:lnTo>
                      <a:pt x="372" y="12"/>
                    </a:lnTo>
                    <a:lnTo>
                      <a:pt x="306" y="12"/>
                    </a:lnTo>
                    <a:lnTo>
                      <a:pt x="294" y="0"/>
                    </a:lnTo>
                    <a:lnTo>
                      <a:pt x="288" y="6"/>
                    </a:lnTo>
                    <a:lnTo>
                      <a:pt x="276" y="12"/>
                    </a:lnTo>
                    <a:lnTo>
                      <a:pt x="270" y="12"/>
                    </a:lnTo>
                    <a:lnTo>
                      <a:pt x="264" y="18"/>
                    </a:lnTo>
                    <a:lnTo>
                      <a:pt x="252" y="24"/>
                    </a:lnTo>
                    <a:lnTo>
                      <a:pt x="210" y="24"/>
                    </a:lnTo>
                    <a:lnTo>
                      <a:pt x="198" y="48"/>
                    </a:lnTo>
                    <a:lnTo>
                      <a:pt x="132" y="48"/>
                    </a:lnTo>
                    <a:lnTo>
                      <a:pt x="120" y="54"/>
                    </a:lnTo>
                    <a:lnTo>
                      <a:pt x="108" y="54"/>
                    </a:lnTo>
                    <a:lnTo>
                      <a:pt x="108" y="60"/>
                    </a:lnTo>
                    <a:lnTo>
                      <a:pt x="132" y="60"/>
                    </a:lnTo>
                    <a:lnTo>
                      <a:pt x="144" y="66"/>
                    </a:lnTo>
                    <a:lnTo>
                      <a:pt x="156" y="66"/>
                    </a:lnTo>
                    <a:lnTo>
                      <a:pt x="180" y="90"/>
                    </a:lnTo>
                    <a:lnTo>
                      <a:pt x="192" y="114"/>
                    </a:lnTo>
                    <a:lnTo>
                      <a:pt x="198" y="120"/>
                    </a:lnTo>
                    <a:lnTo>
                      <a:pt x="198" y="132"/>
                    </a:lnTo>
                    <a:lnTo>
                      <a:pt x="192" y="138"/>
                    </a:lnTo>
                    <a:lnTo>
                      <a:pt x="192" y="150"/>
                    </a:lnTo>
                    <a:lnTo>
                      <a:pt x="186" y="156"/>
                    </a:lnTo>
                    <a:lnTo>
                      <a:pt x="180" y="168"/>
                    </a:lnTo>
                    <a:lnTo>
                      <a:pt x="174" y="174"/>
                    </a:lnTo>
                    <a:lnTo>
                      <a:pt x="162" y="180"/>
                    </a:lnTo>
                    <a:lnTo>
                      <a:pt x="150" y="180"/>
                    </a:lnTo>
                    <a:lnTo>
                      <a:pt x="138" y="186"/>
                    </a:lnTo>
                    <a:lnTo>
                      <a:pt x="132" y="186"/>
                    </a:lnTo>
                    <a:lnTo>
                      <a:pt x="120" y="198"/>
                    </a:lnTo>
                    <a:lnTo>
                      <a:pt x="120" y="210"/>
                    </a:lnTo>
                    <a:lnTo>
                      <a:pt x="108" y="234"/>
                    </a:lnTo>
                    <a:lnTo>
                      <a:pt x="96" y="246"/>
                    </a:lnTo>
                    <a:lnTo>
                      <a:pt x="60" y="246"/>
                    </a:lnTo>
                    <a:lnTo>
                      <a:pt x="36" y="234"/>
                    </a:lnTo>
                    <a:lnTo>
                      <a:pt x="6" y="234"/>
                    </a:lnTo>
                    <a:lnTo>
                      <a:pt x="6" y="264"/>
                    </a:lnTo>
                    <a:lnTo>
                      <a:pt x="0" y="306"/>
                    </a:lnTo>
                    <a:lnTo>
                      <a:pt x="0" y="348"/>
                    </a:lnTo>
                    <a:lnTo>
                      <a:pt x="6" y="372"/>
                    </a:lnTo>
                    <a:lnTo>
                      <a:pt x="24" y="378"/>
                    </a:lnTo>
                    <a:lnTo>
                      <a:pt x="36" y="390"/>
                    </a:lnTo>
                    <a:lnTo>
                      <a:pt x="54" y="390"/>
                    </a:lnTo>
                    <a:lnTo>
                      <a:pt x="72" y="408"/>
                    </a:lnTo>
                    <a:lnTo>
                      <a:pt x="90" y="438"/>
                    </a:lnTo>
                    <a:lnTo>
                      <a:pt x="102" y="474"/>
                    </a:lnTo>
                    <a:lnTo>
                      <a:pt x="120" y="504"/>
                    </a:lnTo>
                    <a:lnTo>
                      <a:pt x="132" y="516"/>
                    </a:lnTo>
                    <a:lnTo>
                      <a:pt x="150" y="528"/>
                    </a:lnTo>
                    <a:lnTo>
                      <a:pt x="162" y="540"/>
                    </a:lnTo>
                    <a:lnTo>
                      <a:pt x="174" y="558"/>
                    </a:lnTo>
                    <a:lnTo>
                      <a:pt x="180" y="570"/>
                    </a:lnTo>
                    <a:lnTo>
                      <a:pt x="186" y="594"/>
                    </a:lnTo>
                    <a:lnTo>
                      <a:pt x="192" y="612"/>
                    </a:lnTo>
                    <a:lnTo>
                      <a:pt x="198" y="636"/>
                    </a:lnTo>
                    <a:lnTo>
                      <a:pt x="210" y="648"/>
                    </a:lnTo>
                    <a:lnTo>
                      <a:pt x="234" y="660"/>
                    </a:lnTo>
                    <a:lnTo>
                      <a:pt x="264" y="660"/>
                    </a:lnTo>
                    <a:lnTo>
                      <a:pt x="282" y="666"/>
                    </a:lnTo>
                    <a:lnTo>
                      <a:pt x="294" y="678"/>
                    </a:lnTo>
                    <a:lnTo>
                      <a:pt x="312" y="708"/>
                    </a:lnTo>
                    <a:lnTo>
                      <a:pt x="330" y="756"/>
                    </a:lnTo>
                    <a:lnTo>
                      <a:pt x="336" y="804"/>
                    </a:lnTo>
                    <a:lnTo>
                      <a:pt x="342" y="840"/>
                    </a:lnTo>
                    <a:lnTo>
                      <a:pt x="348" y="870"/>
                    </a:lnTo>
                    <a:lnTo>
                      <a:pt x="366" y="906"/>
                    </a:lnTo>
                    <a:lnTo>
                      <a:pt x="384" y="924"/>
                    </a:lnTo>
                    <a:lnTo>
                      <a:pt x="390" y="936"/>
                    </a:lnTo>
                    <a:lnTo>
                      <a:pt x="414" y="936"/>
                    </a:lnTo>
                    <a:lnTo>
                      <a:pt x="438" y="948"/>
                    </a:lnTo>
                    <a:lnTo>
                      <a:pt x="456" y="972"/>
                    </a:lnTo>
                    <a:lnTo>
                      <a:pt x="480" y="1008"/>
                    </a:lnTo>
                    <a:lnTo>
                      <a:pt x="504" y="1056"/>
                    </a:lnTo>
                    <a:lnTo>
                      <a:pt x="552" y="1128"/>
                    </a:lnTo>
                    <a:lnTo>
                      <a:pt x="582" y="1170"/>
                    </a:lnTo>
                    <a:lnTo>
                      <a:pt x="606" y="1206"/>
                    </a:lnTo>
                    <a:lnTo>
                      <a:pt x="618" y="1236"/>
                    </a:lnTo>
                    <a:lnTo>
                      <a:pt x="618" y="1266"/>
                    </a:lnTo>
                    <a:lnTo>
                      <a:pt x="612" y="1278"/>
                    </a:lnTo>
                    <a:lnTo>
                      <a:pt x="624" y="1266"/>
                    </a:lnTo>
                    <a:lnTo>
                      <a:pt x="630" y="1254"/>
                    </a:lnTo>
                    <a:lnTo>
                      <a:pt x="636" y="1248"/>
                    </a:lnTo>
                    <a:lnTo>
                      <a:pt x="636" y="1200"/>
                    </a:lnTo>
                    <a:lnTo>
                      <a:pt x="642" y="1188"/>
                    </a:lnTo>
                    <a:lnTo>
                      <a:pt x="648" y="1182"/>
                    </a:lnTo>
                    <a:lnTo>
                      <a:pt x="654" y="1182"/>
                    </a:lnTo>
                    <a:lnTo>
                      <a:pt x="672" y="1200"/>
                    </a:lnTo>
                    <a:lnTo>
                      <a:pt x="696" y="1194"/>
                    </a:lnTo>
                    <a:lnTo>
                      <a:pt x="702" y="1188"/>
                    </a:lnTo>
                    <a:lnTo>
                      <a:pt x="792" y="1188"/>
                    </a:lnTo>
                    <a:lnTo>
                      <a:pt x="804" y="1194"/>
                    </a:lnTo>
                    <a:lnTo>
                      <a:pt x="810" y="1200"/>
                    </a:lnTo>
                    <a:lnTo>
                      <a:pt x="888" y="1200"/>
                    </a:lnTo>
                    <a:lnTo>
                      <a:pt x="894" y="1206"/>
                    </a:lnTo>
                    <a:lnTo>
                      <a:pt x="900" y="1218"/>
                    </a:lnTo>
                    <a:lnTo>
                      <a:pt x="912" y="1224"/>
                    </a:lnTo>
                    <a:lnTo>
                      <a:pt x="924" y="1224"/>
                    </a:lnTo>
                    <a:lnTo>
                      <a:pt x="930" y="1212"/>
                    </a:lnTo>
                    <a:lnTo>
                      <a:pt x="936" y="1206"/>
                    </a:lnTo>
                    <a:lnTo>
                      <a:pt x="936" y="1188"/>
                    </a:lnTo>
                    <a:lnTo>
                      <a:pt x="942" y="1176"/>
                    </a:lnTo>
                    <a:lnTo>
                      <a:pt x="948" y="1170"/>
                    </a:lnTo>
                    <a:lnTo>
                      <a:pt x="954" y="1158"/>
                    </a:lnTo>
                    <a:lnTo>
                      <a:pt x="966" y="1146"/>
                    </a:lnTo>
                    <a:lnTo>
                      <a:pt x="972" y="1134"/>
                    </a:lnTo>
                    <a:lnTo>
                      <a:pt x="990" y="1116"/>
                    </a:lnTo>
                    <a:lnTo>
                      <a:pt x="1020" y="1098"/>
                    </a:lnTo>
                    <a:lnTo>
                      <a:pt x="1050" y="1092"/>
                    </a:lnTo>
                    <a:lnTo>
                      <a:pt x="1068" y="1086"/>
                    </a:lnTo>
                    <a:lnTo>
                      <a:pt x="1092" y="1086"/>
                    </a:lnTo>
                    <a:lnTo>
                      <a:pt x="1140" y="1080"/>
                    </a:lnTo>
                    <a:lnTo>
                      <a:pt x="1188" y="1068"/>
                    </a:lnTo>
                    <a:lnTo>
                      <a:pt x="1230" y="1062"/>
                    </a:lnTo>
                    <a:lnTo>
                      <a:pt x="1248" y="1062"/>
                    </a:lnTo>
                    <a:lnTo>
                      <a:pt x="1452" y="990"/>
                    </a:lnTo>
                    <a:lnTo>
                      <a:pt x="1488" y="816"/>
                    </a:lnTo>
                    <a:lnTo>
                      <a:pt x="1482" y="810"/>
                    </a:lnTo>
                    <a:lnTo>
                      <a:pt x="1470" y="804"/>
                    </a:lnTo>
                    <a:lnTo>
                      <a:pt x="1464" y="798"/>
                    </a:lnTo>
                    <a:lnTo>
                      <a:pt x="1464" y="792"/>
                    </a:lnTo>
                    <a:close/>
                  </a:path>
                </a:pathLst>
              </a:custGeom>
              <a:solidFill>
                <a:srgbClr val="9D90A0">
                  <a:lumMod val="40000"/>
                  <a:lumOff val="60000"/>
                </a:srgbClr>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127" name="Rwanda" descr="© INSCALE GmbH, 05.05.2010&#10;http://www.presentationload.com/">
                <a:extLst>
                  <a:ext uri="{FF2B5EF4-FFF2-40B4-BE49-F238E27FC236}">
                    <a16:creationId xmlns:a16="http://schemas.microsoft.com/office/drawing/2014/main" id="{64255DE2-0246-408A-AC91-B2EFF7FC46AC}"/>
                  </a:ext>
                </a:extLst>
              </p:cNvPr>
              <p:cNvSpPr>
                <a:spLocks/>
              </p:cNvSpPr>
              <p:nvPr/>
            </p:nvSpPr>
            <p:spPr bwMode="gray">
              <a:xfrm>
                <a:off x="5025856" y="4588689"/>
                <a:ext cx="59277" cy="65843"/>
              </a:xfrm>
              <a:custGeom>
                <a:avLst/>
                <a:gdLst>
                  <a:gd name="T0" fmla="*/ 2147483647 w 150"/>
                  <a:gd name="T1" fmla="*/ 2147483647 h 150"/>
                  <a:gd name="T2" fmla="*/ 2147483647 w 150"/>
                  <a:gd name="T3" fmla="*/ 2147483647 h 150"/>
                  <a:gd name="T4" fmla="*/ 2147483647 w 150"/>
                  <a:gd name="T5" fmla="*/ 2147483647 h 150"/>
                  <a:gd name="T6" fmla="*/ 2147483647 w 150"/>
                  <a:gd name="T7" fmla="*/ 2147483647 h 150"/>
                  <a:gd name="T8" fmla="*/ 2147483647 w 150"/>
                  <a:gd name="T9" fmla="*/ 2147483647 h 150"/>
                  <a:gd name="T10" fmla="*/ 2147483647 w 150"/>
                  <a:gd name="T11" fmla="*/ 2147483647 h 150"/>
                  <a:gd name="T12" fmla="*/ 2147483647 w 150"/>
                  <a:gd name="T13" fmla="*/ 2147483647 h 150"/>
                  <a:gd name="T14" fmla="*/ 2147483647 w 150"/>
                  <a:gd name="T15" fmla="*/ 2147483647 h 150"/>
                  <a:gd name="T16" fmla="*/ 2147483647 w 150"/>
                  <a:gd name="T17" fmla="*/ 2147483647 h 150"/>
                  <a:gd name="T18" fmla="*/ 2147483647 w 150"/>
                  <a:gd name="T19" fmla="*/ 2147483647 h 150"/>
                  <a:gd name="T20" fmla="*/ 2147483647 w 150"/>
                  <a:gd name="T21" fmla="*/ 2147483647 h 150"/>
                  <a:gd name="T22" fmla="*/ 2147483647 w 150"/>
                  <a:gd name="T23" fmla="*/ 2147483647 h 150"/>
                  <a:gd name="T24" fmla="*/ 2147483647 w 150"/>
                  <a:gd name="T25" fmla="*/ 2147483647 h 150"/>
                  <a:gd name="T26" fmla="*/ 2147483647 w 150"/>
                  <a:gd name="T27" fmla="*/ 0 h 150"/>
                  <a:gd name="T28" fmla="*/ 2147483647 w 150"/>
                  <a:gd name="T29" fmla="*/ 2147483647 h 150"/>
                  <a:gd name="T30" fmla="*/ 2147483647 w 150"/>
                  <a:gd name="T31" fmla="*/ 2147483647 h 150"/>
                  <a:gd name="T32" fmla="*/ 2147483647 w 150"/>
                  <a:gd name="T33" fmla="*/ 2147483647 h 150"/>
                  <a:gd name="T34" fmla="*/ 2147483647 w 150"/>
                  <a:gd name="T35" fmla="*/ 2147483647 h 150"/>
                  <a:gd name="T36" fmla="*/ 2147483647 w 150"/>
                  <a:gd name="T37" fmla="*/ 2147483647 h 150"/>
                  <a:gd name="T38" fmla="*/ 2147483647 w 150"/>
                  <a:gd name="T39" fmla="*/ 2147483647 h 150"/>
                  <a:gd name="T40" fmla="*/ 2147483647 w 150"/>
                  <a:gd name="T41" fmla="*/ 2147483647 h 150"/>
                  <a:gd name="T42" fmla="*/ 2147483647 w 150"/>
                  <a:gd name="T43" fmla="*/ 2147483647 h 150"/>
                  <a:gd name="T44" fmla="*/ 2147483647 w 150"/>
                  <a:gd name="T45" fmla="*/ 2147483647 h 150"/>
                  <a:gd name="T46" fmla="*/ 2147483647 w 150"/>
                  <a:gd name="T47" fmla="*/ 2147483647 h 150"/>
                  <a:gd name="T48" fmla="*/ 2147483647 w 150"/>
                  <a:gd name="T49" fmla="*/ 2147483647 h 150"/>
                  <a:gd name="T50" fmla="*/ 2147483647 w 150"/>
                  <a:gd name="T51" fmla="*/ 2147483647 h 150"/>
                  <a:gd name="T52" fmla="*/ 2147483647 w 150"/>
                  <a:gd name="T53" fmla="*/ 2147483647 h 150"/>
                  <a:gd name="T54" fmla="*/ 2147483647 w 150"/>
                  <a:gd name="T55" fmla="*/ 2147483647 h 150"/>
                  <a:gd name="T56" fmla="*/ 2147483647 w 150"/>
                  <a:gd name="T57" fmla="*/ 2147483647 h 150"/>
                  <a:gd name="T58" fmla="*/ 2147483647 w 150"/>
                  <a:gd name="T59" fmla="*/ 2147483647 h 150"/>
                  <a:gd name="T60" fmla="*/ 0 w 150"/>
                  <a:gd name="T61" fmla="*/ 2147483647 h 150"/>
                  <a:gd name="T62" fmla="*/ 0 w 150"/>
                  <a:gd name="T63" fmla="*/ 2147483647 h 150"/>
                  <a:gd name="T64" fmla="*/ 2147483647 w 150"/>
                  <a:gd name="T65" fmla="*/ 2147483647 h 150"/>
                  <a:gd name="T66" fmla="*/ 2147483647 w 150"/>
                  <a:gd name="T67" fmla="*/ 2147483647 h 150"/>
                  <a:gd name="T68" fmla="*/ 2147483647 w 150"/>
                  <a:gd name="T69" fmla="*/ 2147483647 h 150"/>
                  <a:gd name="T70" fmla="*/ 2147483647 w 150"/>
                  <a:gd name="T71" fmla="*/ 2147483647 h 150"/>
                  <a:gd name="T72" fmla="*/ 2147483647 w 150"/>
                  <a:gd name="T73" fmla="*/ 2147483647 h 15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50"/>
                  <a:gd name="T112" fmla="*/ 0 h 150"/>
                  <a:gd name="T113" fmla="*/ 150 w 150"/>
                  <a:gd name="T114" fmla="*/ 150 h 15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50" h="150">
                    <a:moveTo>
                      <a:pt x="48" y="150"/>
                    </a:moveTo>
                    <a:lnTo>
                      <a:pt x="54" y="150"/>
                    </a:lnTo>
                    <a:lnTo>
                      <a:pt x="60" y="144"/>
                    </a:lnTo>
                    <a:lnTo>
                      <a:pt x="72" y="138"/>
                    </a:lnTo>
                    <a:lnTo>
                      <a:pt x="78" y="114"/>
                    </a:lnTo>
                    <a:lnTo>
                      <a:pt x="138" y="114"/>
                    </a:lnTo>
                    <a:lnTo>
                      <a:pt x="150" y="102"/>
                    </a:lnTo>
                    <a:lnTo>
                      <a:pt x="150" y="72"/>
                    </a:lnTo>
                    <a:lnTo>
                      <a:pt x="144" y="66"/>
                    </a:lnTo>
                    <a:lnTo>
                      <a:pt x="144" y="48"/>
                    </a:lnTo>
                    <a:lnTo>
                      <a:pt x="138" y="42"/>
                    </a:lnTo>
                    <a:lnTo>
                      <a:pt x="132" y="30"/>
                    </a:lnTo>
                    <a:lnTo>
                      <a:pt x="126" y="24"/>
                    </a:lnTo>
                    <a:lnTo>
                      <a:pt x="132" y="0"/>
                    </a:lnTo>
                    <a:lnTo>
                      <a:pt x="108" y="6"/>
                    </a:lnTo>
                    <a:lnTo>
                      <a:pt x="108" y="12"/>
                    </a:lnTo>
                    <a:lnTo>
                      <a:pt x="102" y="18"/>
                    </a:lnTo>
                    <a:lnTo>
                      <a:pt x="90" y="42"/>
                    </a:lnTo>
                    <a:lnTo>
                      <a:pt x="84" y="42"/>
                    </a:lnTo>
                    <a:lnTo>
                      <a:pt x="72" y="30"/>
                    </a:lnTo>
                    <a:lnTo>
                      <a:pt x="54" y="30"/>
                    </a:lnTo>
                    <a:lnTo>
                      <a:pt x="48" y="36"/>
                    </a:lnTo>
                    <a:lnTo>
                      <a:pt x="24" y="48"/>
                    </a:lnTo>
                    <a:lnTo>
                      <a:pt x="18" y="54"/>
                    </a:lnTo>
                    <a:lnTo>
                      <a:pt x="18" y="60"/>
                    </a:lnTo>
                    <a:lnTo>
                      <a:pt x="24" y="72"/>
                    </a:lnTo>
                    <a:lnTo>
                      <a:pt x="30" y="78"/>
                    </a:lnTo>
                    <a:lnTo>
                      <a:pt x="30" y="90"/>
                    </a:lnTo>
                    <a:lnTo>
                      <a:pt x="18" y="102"/>
                    </a:lnTo>
                    <a:lnTo>
                      <a:pt x="6" y="108"/>
                    </a:lnTo>
                    <a:lnTo>
                      <a:pt x="0" y="120"/>
                    </a:lnTo>
                    <a:lnTo>
                      <a:pt x="0" y="126"/>
                    </a:lnTo>
                    <a:lnTo>
                      <a:pt x="6" y="132"/>
                    </a:lnTo>
                    <a:lnTo>
                      <a:pt x="30" y="132"/>
                    </a:lnTo>
                    <a:lnTo>
                      <a:pt x="36" y="144"/>
                    </a:lnTo>
                    <a:lnTo>
                      <a:pt x="42" y="150"/>
                    </a:lnTo>
                    <a:lnTo>
                      <a:pt x="48" y="150"/>
                    </a:lnTo>
                    <a:close/>
                  </a:path>
                </a:pathLst>
              </a:custGeom>
              <a:solidFill>
                <a:srgbClr val="9D90A0">
                  <a:lumMod val="40000"/>
                  <a:lumOff val="60000"/>
                </a:srgbClr>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128" name="Qatar" descr="© INSCALE GmbH, 05.05.2010&#10;http://www.presentationload.com/">
                <a:extLst>
                  <a:ext uri="{FF2B5EF4-FFF2-40B4-BE49-F238E27FC236}">
                    <a16:creationId xmlns:a16="http://schemas.microsoft.com/office/drawing/2014/main" id="{7DE73885-88FC-4877-941E-C2E098144AFF}"/>
                  </a:ext>
                </a:extLst>
              </p:cNvPr>
              <p:cNvSpPr>
                <a:spLocks/>
              </p:cNvSpPr>
              <p:nvPr/>
            </p:nvSpPr>
            <p:spPr bwMode="gray">
              <a:xfrm>
                <a:off x="5618623" y="3623575"/>
                <a:ext cx="24959" cy="64110"/>
              </a:xfrm>
              <a:custGeom>
                <a:avLst/>
                <a:gdLst>
                  <a:gd name="T0" fmla="*/ 2147483647 w 66"/>
                  <a:gd name="T1" fmla="*/ 2147483647 h 144"/>
                  <a:gd name="T2" fmla="*/ 2147483647 w 66"/>
                  <a:gd name="T3" fmla="*/ 2147483647 h 144"/>
                  <a:gd name="T4" fmla="*/ 2147483647 w 66"/>
                  <a:gd name="T5" fmla="*/ 2147483647 h 144"/>
                  <a:gd name="T6" fmla="*/ 2147483647 w 66"/>
                  <a:gd name="T7" fmla="*/ 2147483647 h 144"/>
                  <a:gd name="T8" fmla="*/ 2147483647 w 66"/>
                  <a:gd name="T9" fmla="*/ 2147483647 h 144"/>
                  <a:gd name="T10" fmla="*/ 2147483647 w 66"/>
                  <a:gd name="T11" fmla="*/ 2147483647 h 144"/>
                  <a:gd name="T12" fmla="*/ 2147483647 w 66"/>
                  <a:gd name="T13" fmla="*/ 2147483647 h 144"/>
                  <a:gd name="T14" fmla="*/ 2147483647 w 66"/>
                  <a:gd name="T15" fmla="*/ 2147483647 h 144"/>
                  <a:gd name="T16" fmla="*/ 2147483647 w 66"/>
                  <a:gd name="T17" fmla="*/ 2147483647 h 144"/>
                  <a:gd name="T18" fmla="*/ 2147483647 w 66"/>
                  <a:gd name="T19" fmla="*/ 0 h 144"/>
                  <a:gd name="T20" fmla="*/ 2147483647 w 66"/>
                  <a:gd name="T21" fmla="*/ 0 h 144"/>
                  <a:gd name="T22" fmla="*/ 2147483647 w 66"/>
                  <a:gd name="T23" fmla="*/ 2147483647 h 144"/>
                  <a:gd name="T24" fmla="*/ 2147483647 w 66"/>
                  <a:gd name="T25" fmla="*/ 2147483647 h 144"/>
                  <a:gd name="T26" fmla="*/ 2147483647 w 66"/>
                  <a:gd name="T27" fmla="*/ 2147483647 h 144"/>
                  <a:gd name="T28" fmla="*/ 2147483647 w 66"/>
                  <a:gd name="T29" fmla="*/ 2147483647 h 144"/>
                  <a:gd name="T30" fmla="*/ 0 w 66"/>
                  <a:gd name="T31" fmla="*/ 2147483647 h 144"/>
                  <a:gd name="T32" fmla="*/ 2147483647 w 66"/>
                  <a:gd name="T33" fmla="*/ 2147483647 h 144"/>
                  <a:gd name="T34" fmla="*/ 2147483647 w 66"/>
                  <a:gd name="T35" fmla="*/ 2147483647 h 14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66"/>
                  <a:gd name="T55" fmla="*/ 0 h 144"/>
                  <a:gd name="T56" fmla="*/ 66 w 66"/>
                  <a:gd name="T57" fmla="*/ 144 h 14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66" h="144">
                    <a:moveTo>
                      <a:pt x="24" y="132"/>
                    </a:moveTo>
                    <a:lnTo>
                      <a:pt x="36" y="144"/>
                    </a:lnTo>
                    <a:lnTo>
                      <a:pt x="48" y="132"/>
                    </a:lnTo>
                    <a:lnTo>
                      <a:pt x="54" y="114"/>
                    </a:lnTo>
                    <a:lnTo>
                      <a:pt x="60" y="102"/>
                    </a:lnTo>
                    <a:lnTo>
                      <a:pt x="66" y="84"/>
                    </a:lnTo>
                    <a:lnTo>
                      <a:pt x="66" y="30"/>
                    </a:lnTo>
                    <a:lnTo>
                      <a:pt x="54" y="18"/>
                    </a:lnTo>
                    <a:lnTo>
                      <a:pt x="48" y="6"/>
                    </a:lnTo>
                    <a:lnTo>
                      <a:pt x="36" y="0"/>
                    </a:lnTo>
                    <a:lnTo>
                      <a:pt x="30" y="0"/>
                    </a:lnTo>
                    <a:lnTo>
                      <a:pt x="24" y="6"/>
                    </a:lnTo>
                    <a:lnTo>
                      <a:pt x="18" y="18"/>
                    </a:lnTo>
                    <a:lnTo>
                      <a:pt x="12" y="36"/>
                    </a:lnTo>
                    <a:lnTo>
                      <a:pt x="12" y="108"/>
                    </a:lnTo>
                    <a:lnTo>
                      <a:pt x="0" y="120"/>
                    </a:lnTo>
                    <a:lnTo>
                      <a:pt x="6" y="132"/>
                    </a:lnTo>
                    <a:lnTo>
                      <a:pt x="24" y="132"/>
                    </a:lnTo>
                    <a:close/>
                  </a:path>
                </a:pathLst>
              </a:custGeom>
              <a:solidFill>
                <a:srgbClr val="9D90A0">
                  <a:lumMod val="40000"/>
                  <a:lumOff val="60000"/>
                </a:srgbClr>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129" name="Oman" descr="© INSCALE GmbH, 05.05.2010&#10;http://www.presentationload.com/">
                <a:extLst>
                  <a:ext uri="{FF2B5EF4-FFF2-40B4-BE49-F238E27FC236}">
                    <a16:creationId xmlns:a16="http://schemas.microsoft.com/office/drawing/2014/main" id="{3846D361-97F1-4A86-9B24-52AD5124418A}"/>
                  </a:ext>
                </a:extLst>
              </p:cNvPr>
              <p:cNvSpPr>
                <a:spLocks/>
              </p:cNvSpPr>
              <p:nvPr/>
            </p:nvSpPr>
            <p:spPr bwMode="gray">
              <a:xfrm>
                <a:off x="5660740" y="3666893"/>
                <a:ext cx="213708" cy="294559"/>
              </a:xfrm>
              <a:custGeom>
                <a:avLst/>
                <a:gdLst>
                  <a:gd name="T0" fmla="*/ 2147483647 w 540"/>
                  <a:gd name="T1" fmla="*/ 2147483647 h 672"/>
                  <a:gd name="T2" fmla="*/ 2147483647 w 540"/>
                  <a:gd name="T3" fmla="*/ 2147483647 h 672"/>
                  <a:gd name="T4" fmla="*/ 2147483647 w 540"/>
                  <a:gd name="T5" fmla="*/ 2147483647 h 672"/>
                  <a:gd name="T6" fmla="*/ 2147483647 w 540"/>
                  <a:gd name="T7" fmla="*/ 2147483647 h 672"/>
                  <a:gd name="T8" fmla="*/ 2147483647 w 540"/>
                  <a:gd name="T9" fmla="*/ 2147483647 h 672"/>
                  <a:gd name="T10" fmla="*/ 2147483647 w 540"/>
                  <a:gd name="T11" fmla="*/ 2147483647 h 672"/>
                  <a:gd name="T12" fmla="*/ 2147483647 w 540"/>
                  <a:gd name="T13" fmla="*/ 2147483647 h 672"/>
                  <a:gd name="T14" fmla="*/ 2147483647 w 540"/>
                  <a:gd name="T15" fmla="*/ 2147483647 h 672"/>
                  <a:gd name="T16" fmla="*/ 2147483647 w 540"/>
                  <a:gd name="T17" fmla="*/ 2147483647 h 672"/>
                  <a:gd name="T18" fmla="*/ 2147483647 w 540"/>
                  <a:gd name="T19" fmla="*/ 2147483647 h 672"/>
                  <a:gd name="T20" fmla="*/ 2147483647 w 540"/>
                  <a:gd name="T21" fmla="*/ 2147483647 h 672"/>
                  <a:gd name="T22" fmla="*/ 2147483647 w 540"/>
                  <a:gd name="T23" fmla="*/ 2147483647 h 672"/>
                  <a:gd name="T24" fmla="*/ 2147483647 w 540"/>
                  <a:gd name="T25" fmla="*/ 2147483647 h 672"/>
                  <a:gd name="T26" fmla="*/ 2147483647 w 540"/>
                  <a:gd name="T27" fmla="*/ 2147483647 h 672"/>
                  <a:gd name="T28" fmla="*/ 2147483647 w 540"/>
                  <a:gd name="T29" fmla="*/ 2147483647 h 672"/>
                  <a:gd name="T30" fmla="*/ 2147483647 w 540"/>
                  <a:gd name="T31" fmla="*/ 2147483647 h 672"/>
                  <a:gd name="T32" fmla="*/ 2147483647 w 540"/>
                  <a:gd name="T33" fmla="*/ 2147483647 h 672"/>
                  <a:gd name="T34" fmla="*/ 2147483647 w 540"/>
                  <a:gd name="T35" fmla="*/ 2147483647 h 672"/>
                  <a:gd name="T36" fmla="*/ 2147483647 w 540"/>
                  <a:gd name="T37" fmla="*/ 2147483647 h 672"/>
                  <a:gd name="T38" fmla="*/ 2147483647 w 540"/>
                  <a:gd name="T39" fmla="*/ 2147483647 h 672"/>
                  <a:gd name="T40" fmla="*/ 2147483647 w 540"/>
                  <a:gd name="T41" fmla="*/ 2147483647 h 672"/>
                  <a:gd name="T42" fmla="*/ 2147483647 w 540"/>
                  <a:gd name="T43" fmla="*/ 2147483647 h 672"/>
                  <a:gd name="T44" fmla="*/ 2147483647 w 540"/>
                  <a:gd name="T45" fmla="*/ 2147483647 h 672"/>
                  <a:gd name="T46" fmla="*/ 2147483647 w 540"/>
                  <a:gd name="T47" fmla="*/ 2147483647 h 672"/>
                  <a:gd name="T48" fmla="*/ 2147483647 w 540"/>
                  <a:gd name="T49" fmla="*/ 2147483647 h 672"/>
                  <a:gd name="T50" fmla="*/ 2147483647 w 540"/>
                  <a:gd name="T51" fmla="*/ 0 h 672"/>
                  <a:gd name="T52" fmla="*/ 2147483647 w 540"/>
                  <a:gd name="T53" fmla="*/ 2147483647 h 672"/>
                  <a:gd name="T54" fmla="*/ 2147483647 w 540"/>
                  <a:gd name="T55" fmla="*/ 2147483647 h 672"/>
                  <a:gd name="T56" fmla="*/ 2147483647 w 540"/>
                  <a:gd name="T57" fmla="*/ 2147483647 h 672"/>
                  <a:gd name="T58" fmla="*/ 2147483647 w 540"/>
                  <a:gd name="T59" fmla="*/ 2147483647 h 672"/>
                  <a:gd name="T60" fmla="*/ 2147483647 w 540"/>
                  <a:gd name="T61" fmla="*/ 2147483647 h 672"/>
                  <a:gd name="T62" fmla="*/ 2147483647 w 540"/>
                  <a:gd name="T63" fmla="*/ 2147483647 h 672"/>
                  <a:gd name="T64" fmla="*/ 2147483647 w 540"/>
                  <a:gd name="T65" fmla="*/ 2147483647 h 672"/>
                  <a:gd name="T66" fmla="*/ 2147483647 w 540"/>
                  <a:gd name="T67" fmla="*/ 2147483647 h 672"/>
                  <a:gd name="T68" fmla="*/ 2147483647 w 540"/>
                  <a:gd name="T69" fmla="*/ 2147483647 h 672"/>
                  <a:gd name="T70" fmla="*/ 2147483647 w 540"/>
                  <a:gd name="T71" fmla="*/ 2147483647 h 672"/>
                  <a:gd name="T72" fmla="*/ 2147483647 w 540"/>
                  <a:gd name="T73" fmla="*/ 2147483647 h 672"/>
                  <a:gd name="T74" fmla="*/ 2147483647 w 540"/>
                  <a:gd name="T75" fmla="*/ 2147483647 h 672"/>
                  <a:gd name="T76" fmla="*/ 2147483647 w 540"/>
                  <a:gd name="T77" fmla="*/ 2147483647 h 672"/>
                  <a:gd name="T78" fmla="*/ 2147483647 w 540"/>
                  <a:gd name="T79" fmla="*/ 2147483647 h 672"/>
                  <a:gd name="T80" fmla="*/ 2147483647 w 540"/>
                  <a:gd name="T81" fmla="*/ 2147483647 h 672"/>
                  <a:gd name="T82" fmla="*/ 2147483647 w 540"/>
                  <a:gd name="T83" fmla="*/ 2147483647 h 672"/>
                  <a:gd name="T84" fmla="*/ 2147483647 w 540"/>
                  <a:gd name="T85" fmla="*/ 2147483647 h 672"/>
                  <a:gd name="T86" fmla="*/ 2147483647 w 540"/>
                  <a:gd name="T87" fmla="*/ 2147483647 h 67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540"/>
                  <a:gd name="T133" fmla="*/ 0 h 672"/>
                  <a:gd name="T134" fmla="*/ 540 w 540"/>
                  <a:gd name="T135" fmla="*/ 672 h 67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540" h="672">
                    <a:moveTo>
                      <a:pt x="258" y="564"/>
                    </a:moveTo>
                    <a:lnTo>
                      <a:pt x="276" y="564"/>
                    </a:lnTo>
                    <a:lnTo>
                      <a:pt x="288" y="558"/>
                    </a:lnTo>
                    <a:lnTo>
                      <a:pt x="306" y="552"/>
                    </a:lnTo>
                    <a:lnTo>
                      <a:pt x="330" y="540"/>
                    </a:lnTo>
                    <a:lnTo>
                      <a:pt x="336" y="528"/>
                    </a:lnTo>
                    <a:lnTo>
                      <a:pt x="342" y="510"/>
                    </a:lnTo>
                    <a:lnTo>
                      <a:pt x="342" y="498"/>
                    </a:lnTo>
                    <a:lnTo>
                      <a:pt x="348" y="498"/>
                    </a:lnTo>
                    <a:lnTo>
                      <a:pt x="354" y="492"/>
                    </a:lnTo>
                    <a:lnTo>
                      <a:pt x="366" y="486"/>
                    </a:lnTo>
                    <a:lnTo>
                      <a:pt x="384" y="480"/>
                    </a:lnTo>
                    <a:lnTo>
                      <a:pt x="408" y="456"/>
                    </a:lnTo>
                    <a:lnTo>
                      <a:pt x="414" y="444"/>
                    </a:lnTo>
                    <a:lnTo>
                      <a:pt x="414" y="426"/>
                    </a:lnTo>
                    <a:lnTo>
                      <a:pt x="420" y="408"/>
                    </a:lnTo>
                    <a:lnTo>
                      <a:pt x="420" y="378"/>
                    </a:lnTo>
                    <a:lnTo>
                      <a:pt x="426" y="372"/>
                    </a:lnTo>
                    <a:lnTo>
                      <a:pt x="432" y="372"/>
                    </a:lnTo>
                    <a:lnTo>
                      <a:pt x="444" y="378"/>
                    </a:lnTo>
                    <a:lnTo>
                      <a:pt x="450" y="384"/>
                    </a:lnTo>
                    <a:lnTo>
                      <a:pt x="462" y="384"/>
                    </a:lnTo>
                    <a:lnTo>
                      <a:pt x="468" y="378"/>
                    </a:lnTo>
                    <a:lnTo>
                      <a:pt x="480" y="354"/>
                    </a:lnTo>
                    <a:lnTo>
                      <a:pt x="480" y="330"/>
                    </a:lnTo>
                    <a:lnTo>
                      <a:pt x="534" y="276"/>
                    </a:lnTo>
                    <a:lnTo>
                      <a:pt x="534" y="264"/>
                    </a:lnTo>
                    <a:lnTo>
                      <a:pt x="540" y="252"/>
                    </a:lnTo>
                    <a:lnTo>
                      <a:pt x="540" y="204"/>
                    </a:lnTo>
                    <a:lnTo>
                      <a:pt x="528" y="192"/>
                    </a:lnTo>
                    <a:lnTo>
                      <a:pt x="510" y="192"/>
                    </a:lnTo>
                    <a:lnTo>
                      <a:pt x="510" y="186"/>
                    </a:lnTo>
                    <a:lnTo>
                      <a:pt x="492" y="168"/>
                    </a:lnTo>
                    <a:lnTo>
                      <a:pt x="486" y="150"/>
                    </a:lnTo>
                    <a:lnTo>
                      <a:pt x="462" y="126"/>
                    </a:lnTo>
                    <a:lnTo>
                      <a:pt x="456" y="114"/>
                    </a:lnTo>
                    <a:lnTo>
                      <a:pt x="432" y="96"/>
                    </a:lnTo>
                    <a:lnTo>
                      <a:pt x="396" y="84"/>
                    </a:lnTo>
                    <a:lnTo>
                      <a:pt x="366" y="78"/>
                    </a:lnTo>
                    <a:lnTo>
                      <a:pt x="348" y="78"/>
                    </a:lnTo>
                    <a:lnTo>
                      <a:pt x="342" y="72"/>
                    </a:lnTo>
                    <a:lnTo>
                      <a:pt x="330" y="72"/>
                    </a:lnTo>
                    <a:lnTo>
                      <a:pt x="318" y="60"/>
                    </a:lnTo>
                    <a:lnTo>
                      <a:pt x="294" y="48"/>
                    </a:lnTo>
                    <a:lnTo>
                      <a:pt x="288" y="36"/>
                    </a:lnTo>
                    <a:lnTo>
                      <a:pt x="288" y="30"/>
                    </a:lnTo>
                    <a:lnTo>
                      <a:pt x="282" y="18"/>
                    </a:lnTo>
                    <a:lnTo>
                      <a:pt x="276" y="12"/>
                    </a:lnTo>
                    <a:lnTo>
                      <a:pt x="252" y="18"/>
                    </a:lnTo>
                    <a:lnTo>
                      <a:pt x="246" y="6"/>
                    </a:lnTo>
                    <a:lnTo>
                      <a:pt x="246" y="0"/>
                    </a:lnTo>
                    <a:lnTo>
                      <a:pt x="240" y="0"/>
                    </a:lnTo>
                    <a:lnTo>
                      <a:pt x="234" y="6"/>
                    </a:lnTo>
                    <a:lnTo>
                      <a:pt x="234" y="12"/>
                    </a:lnTo>
                    <a:lnTo>
                      <a:pt x="228" y="24"/>
                    </a:lnTo>
                    <a:lnTo>
                      <a:pt x="228" y="54"/>
                    </a:lnTo>
                    <a:lnTo>
                      <a:pt x="246" y="72"/>
                    </a:lnTo>
                    <a:lnTo>
                      <a:pt x="246" y="78"/>
                    </a:lnTo>
                    <a:lnTo>
                      <a:pt x="240" y="78"/>
                    </a:lnTo>
                    <a:lnTo>
                      <a:pt x="240" y="72"/>
                    </a:lnTo>
                    <a:lnTo>
                      <a:pt x="228" y="72"/>
                    </a:lnTo>
                    <a:lnTo>
                      <a:pt x="228" y="78"/>
                    </a:lnTo>
                    <a:lnTo>
                      <a:pt x="222" y="84"/>
                    </a:lnTo>
                    <a:lnTo>
                      <a:pt x="222" y="96"/>
                    </a:lnTo>
                    <a:lnTo>
                      <a:pt x="216" y="108"/>
                    </a:lnTo>
                    <a:lnTo>
                      <a:pt x="216" y="120"/>
                    </a:lnTo>
                    <a:lnTo>
                      <a:pt x="210" y="132"/>
                    </a:lnTo>
                    <a:lnTo>
                      <a:pt x="204" y="138"/>
                    </a:lnTo>
                    <a:lnTo>
                      <a:pt x="198" y="150"/>
                    </a:lnTo>
                    <a:lnTo>
                      <a:pt x="192" y="156"/>
                    </a:lnTo>
                    <a:lnTo>
                      <a:pt x="192" y="168"/>
                    </a:lnTo>
                    <a:lnTo>
                      <a:pt x="210" y="204"/>
                    </a:lnTo>
                    <a:lnTo>
                      <a:pt x="216" y="210"/>
                    </a:lnTo>
                    <a:lnTo>
                      <a:pt x="216" y="222"/>
                    </a:lnTo>
                    <a:lnTo>
                      <a:pt x="222" y="228"/>
                    </a:lnTo>
                    <a:lnTo>
                      <a:pt x="234" y="234"/>
                    </a:lnTo>
                    <a:lnTo>
                      <a:pt x="240" y="240"/>
                    </a:lnTo>
                    <a:lnTo>
                      <a:pt x="204" y="414"/>
                    </a:lnTo>
                    <a:lnTo>
                      <a:pt x="0" y="486"/>
                    </a:lnTo>
                    <a:lnTo>
                      <a:pt x="84" y="672"/>
                    </a:lnTo>
                    <a:lnTo>
                      <a:pt x="114" y="660"/>
                    </a:lnTo>
                    <a:lnTo>
                      <a:pt x="198" y="636"/>
                    </a:lnTo>
                    <a:lnTo>
                      <a:pt x="228" y="624"/>
                    </a:lnTo>
                    <a:lnTo>
                      <a:pt x="246" y="618"/>
                    </a:lnTo>
                    <a:lnTo>
                      <a:pt x="252" y="606"/>
                    </a:lnTo>
                    <a:lnTo>
                      <a:pt x="252" y="594"/>
                    </a:lnTo>
                    <a:lnTo>
                      <a:pt x="258" y="582"/>
                    </a:lnTo>
                    <a:lnTo>
                      <a:pt x="258" y="564"/>
                    </a:lnTo>
                    <a:close/>
                  </a:path>
                </a:pathLst>
              </a:custGeom>
              <a:solidFill>
                <a:srgbClr val="9D90A0">
                  <a:lumMod val="40000"/>
                  <a:lumOff val="60000"/>
                </a:srgbClr>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130" name="Nigeria" descr="© INSCALE GmbH, 05.05.2010&#10;http://www.presentationload.com/">
                <a:extLst>
                  <a:ext uri="{FF2B5EF4-FFF2-40B4-BE49-F238E27FC236}">
                    <a16:creationId xmlns:a16="http://schemas.microsoft.com/office/drawing/2014/main" id="{39F1856A-09CA-49CB-ABB2-9CAC93BBBCD5}"/>
                  </a:ext>
                </a:extLst>
              </p:cNvPr>
              <p:cNvSpPr>
                <a:spLocks/>
              </p:cNvSpPr>
              <p:nvPr/>
            </p:nvSpPr>
            <p:spPr bwMode="gray">
              <a:xfrm>
                <a:off x="4292698" y="4061948"/>
                <a:ext cx="330701" cy="337876"/>
              </a:xfrm>
              <a:custGeom>
                <a:avLst/>
                <a:gdLst>
                  <a:gd name="T0" fmla="*/ 2147483647 w 840"/>
                  <a:gd name="T1" fmla="*/ 2147483647 h 768"/>
                  <a:gd name="T2" fmla="*/ 2147483647 w 840"/>
                  <a:gd name="T3" fmla="*/ 2147483647 h 768"/>
                  <a:gd name="T4" fmla="*/ 2147483647 w 840"/>
                  <a:gd name="T5" fmla="*/ 2147483647 h 768"/>
                  <a:gd name="T6" fmla="*/ 2147483647 w 840"/>
                  <a:gd name="T7" fmla="*/ 2147483647 h 768"/>
                  <a:gd name="T8" fmla="*/ 2147483647 w 840"/>
                  <a:gd name="T9" fmla="*/ 2147483647 h 768"/>
                  <a:gd name="T10" fmla="*/ 2147483647 w 840"/>
                  <a:gd name="T11" fmla="*/ 2147483647 h 768"/>
                  <a:gd name="T12" fmla="*/ 2147483647 w 840"/>
                  <a:gd name="T13" fmla="*/ 2147483647 h 768"/>
                  <a:gd name="T14" fmla="*/ 2147483647 w 840"/>
                  <a:gd name="T15" fmla="*/ 2147483647 h 768"/>
                  <a:gd name="T16" fmla="*/ 2147483647 w 840"/>
                  <a:gd name="T17" fmla="*/ 2147483647 h 768"/>
                  <a:gd name="T18" fmla="*/ 2147483647 w 840"/>
                  <a:gd name="T19" fmla="*/ 2147483647 h 768"/>
                  <a:gd name="T20" fmla="*/ 2147483647 w 840"/>
                  <a:gd name="T21" fmla="*/ 2147483647 h 768"/>
                  <a:gd name="T22" fmla="*/ 2147483647 w 840"/>
                  <a:gd name="T23" fmla="*/ 2147483647 h 768"/>
                  <a:gd name="T24" fmla="*/ 2147483647 w 840"/>
                  <a:gd name="T25" fmla="*/ 2147483647 h 768"/>
                  <a:gd name="T26" fmla="*/ 2147483647 w 840"/>
                  <a:gd name="T27" fmla="*/ 2147483647 h 768"/>
                  <a:gd name="T28" fmla="*/ 2147483647 w 840"/>
                  <a:gd name="T29" fmla="*/ 2147483647 h 768"/>
                  <a:gd name="T30" fmla="*/ 2147483647 w 840"/>
                  <a:gd name="T31" fmla="*/ 2147483647 h 768"/>
                  <a:gd name="T32" fmla="*/ 2147483647 w 840"/>
                  <a:gd name="T33" fmla="*/ 2147483647 h 768"/>
                  <a:gd name="T34" fmla="*/ 2147483647 w 840"/>
                  <a:gd name="T35" fmla="*/ 2147483647 h 768"/>
                  <a:gd name="T36" fmla="*/ 2147483647 w 840"/>
                  <a:gd name="T37" fmla="*/ 2147483647 h 768"/>
                  <a:gd name="T38" fmla="*/ 2147483647 w 840"/>
                  <a:gd name="T39" fmla="*/ 2147483647 h 768"/>
                  <a:gd name="T40" fmla="*/ 2147483647 w 840"/>
                  <a:gd name="T41" fmla="*/ 2147483647 h 768"/>
                  <a:gd name="T42" fmla="*/ 2147483647 w 840"/>
                  <a:gd name="T43" fmla="*/ 2147483647 h 768"/>
                  <a:gd name="T44" fmla="*/ 2147483647 w 840"/>
                  <a:gd name="T45" fmla="*/ 2147483647 h 768"/>
                  <a:gd name="T46" fmla="*/ 2147483647 w 840"/>
                  <a:gd name="T47" fmla="*/ 2147483647 h 768"/>
                  <a:gd name="T48" fmla="*/ 2147483647 w 840"/>
                  <a:gd name="T49" fmla="*/ 2147483647 h 768"/>
                  <a:gd name="T50" fmla="*/ 2147483647 w 840"/>
                  <a:gd name="T51" fmla="*/ 2147483647 h 768"/>
                  <a:gd name="T52" fmla="*/ 2147483647 w 840"/>
                  <a:gd name="T53" fmla="*/ 2147483647 h 768"/>
                  <a:gd name="T54" fmla="*/ 2147483647 w 840"/>
                  <a:gd name="T55" fmla="*/ 2147483647 h 768"/>
                  <a:gd name="T56" fmla="*/ 2147483647 w 840"/>
                  <a:gd name="T57" fmla="*/ 2147483647 h 768"/>
                  <a:gd name="T58" fmla="*/ 2147483647 w 840"/>
                  <a:gd name="T59" fmla="*/ 2147483647 h 768"/>
                  <a:gd name="T60" fmla="*/ 2147483647 w 840"/>
                  <a:gd name="T61" fmla="*/ 2147483647 h 768"/>
                  <a:gd name="T62" fmla="*/ 2147483647 w 840"/>
                  <a:gd name="T63" fmla="*/ 2147483647 h 768"/>
                  <a:gd name="T64" fmla="*/ 2147483647 w 840"/>
                  <a:gd name="T65" fmla="*/ 2147483647 h 768"/>
                  <a:gd name="T66" fmla="*/ 2147483647 w 840"/>
                  <a:gd name="T67" fmla="*/ 2147483647 h 768"/>
                  <a:gd name="T68" fmla="*/ 2147483647 w 840"/>
                  <a:gd name="T69" fmla="*/ 2147483647 h 768"/>
                  <a:gd name="T70" fmla="*/ 2147483647 w 840"/>
                  <a:gd name="T71" fmla="*/ 2147483647 h 768"/>
                  <a:gd name="T72" fmla="*/ 2147483647 w 840"/>
                  <a:gd name="T73" fmla="*/ 2147483647 h 768"/>
                  <a:gd name="T74" fmla="*/ 2147483647 w 840"/>
                  <a:gd name="T75" fmla="*/ 2147483647 h 768"/>
                  <a:gd name="T76" fmla="*/ 2147483647 w 840"/>
                  <a:gd name="T77" fmla="*/ 2147483647 h 768"/>
                  <a:gd name="T78" fmla="*/ 2147483647 w 840"/>
                  <a:gd name="T79" fmla="*/ 2147483647 h 768"/>
                  <a:gd name="T80" fmla="*/ 2147483647 w 840"/>
                  <a:gd name="T81" fmla="*/ 2147483647 h 768"/>
                  <a:gd name="T82" fmla="*/ 2147483647 w 840"/>
                  <a:gd name="T83" fmla="*/ 2147483647 h 768"/>
                  <a:gd name="T84" fmla="*/ 2147483647 w 840"/>
                  <a:gd name="T85" fmla="*/ 2147483647 h 768"/>
                  <a:gd name="T86" fmla="*/ 2147483647 w 840"/>
                  <a:gd name="T87" fmla="*/ 2147483647 h 768"/>
                  <a:gd name="T88" fmla="*/ 2147483647 w 840"/>
                  <a:gd name="T89" fmla="*/ 2147483647 h 768"/>
                  <a:gd name="T90" fmla="*/ 2147483647 w 840"/>
                  <a:gd name="T91" fmla="*/ 2147483647 h 768"/>
                  <a:gd name="T92" fmla="*/ 2147483647 w 840"/>
                  <a:gd name="T93" fmla="*/ 2147483647 h 768"/>
                  <a:gd name="T94" fmla="*/ 2147483647 w 840"/>
                  <a:gd name="T95" fmla="*/ 2147483647 h 768"/>
                  <a:gd name="T96" fmla="*/ 2147483647 w 840"/>
                  <a:gd name="T97" fmla="*/ 2147483647 h 768"/>
                  <a:gd name="T98" fmla="*/ 2147483647 w 840"/>
                  <a:gd name="T99" fmla="*/ 2147483647 h 768"/>
                  <a:gd name="T100" fmla="*/ 2147483647 w 840"/>
                  <a:gd name="T101" fmla="*/ 2147483647 h 768"/>
                  <a:gd name="T102" fmla="*/ 2147483647 w 840"/>
                  <a:gd name="T103" fmla="*/ 2147483647 h 768"/>
                  <a:gd name="T104" fmla="*/ 2147483647 w 840"/>
                  <a:gd name="T105" fmla="*/ 2147483647 h 768"/>
                  <a:gd name="T106" fmla="*/ 2147483647 w 840"/>
                  <a:gd name="T107" fmla="*/ 2147483647 h 768"/>
                  <a:gd name="T108" fmla="*/ 2147483647 w 840"/>
                  <a:gd name="T109" fmla="*/ 2147483647 h 768"/>
                  <a:gd name="T110" fmla="*/ 2147483647 w 840"/>
                  <a:gd name="T111" fmla="*/ 2147483647 h 768"/>
                  <a:gd name="T112" fmla="*/ 2147483647 w 840"/>
                  <a:gd name="T113" fmla="*/ 2147483647 h 768"/>
                  <a:gd name="T114" fmla="*/ 2147483647 w 840"/>
                  <a:gd name="T115" fmla="*/ 2147483647 h 768"/>
                  <a:gd name="T116" fmla="*/ 2147483647 w 840"/>
                  <a:gd name="T117" fmla="*/ 2147483647 h 768"/>
                  <a:gd name="T118" fmla="*/ 2147483647 w 840"/>
                  <a:gd name="T119" fmla="*/ 2147483647 h 76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40"/>
                  <a:gd name="T181" fmla="*/ 0 h 768"/>
                  <a:gd name="T182" fmla="*/ 840 w 840"/>
                  <a:gd name="T183" fmla="*/ 768 h 76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40" h="768">
                    <a:moveTo>
                      <a:pt x="420" y="738"/>
                    </a:moveTo>
                    <a:lnTo>
                      <a:pt x="420" y="732"/>
                    </a:lnTo>
                    <a:lnTo>
                      <a:pt x="426" y="726"/>
                    </a:lnTo>
                    <a:lnTo>
                      <a:pt x="426" y="714"/>
                    </a:lnTo>
                    <a:lnTo>
                      <a:pt x="432" y="702"/>
                    </a:lnTo>
                    <a:lnTo>
                      <a:pt x="432" y="648"/>
                    </a:lnTo>
                    <a:lnTo>
                      <a:pt x="498" y="594"/>
                    </a:lnTo>
                    <a:lnTo>
                      <a:pt x="498" y="588"/>
                    </a:lnTo>
                    <a:lnTo>
                      <a:pt x="504" y="582"/>
                    </a:lnTo>
                    <a:lnTo>
                      <a:pt x="516" y="558"/>
                    </a:lnTo>
                    <a:lnTo>
                      <a:pt x="522" y="552"/>
                    </a:lnTo>
                    <a:lnTo>
                      <a:pt x="528" y="552"/>
                    </a:lnTo>
                    <a:lnTo>
                      <a:pt x="534" y="558"/>
                    </a:lnTo>
                    <a:lnTo>
                      <a:pt x="546" y="564"/>
                    </a:lnTo>
                    <a:lnTo>
                      <a:pt x="552" y="564"/>
                    </a:lnTo>
                    <a:lnTo>
                      <a:pt x="558" y="558"/>
                    </a:lnTo>
                    <a:lnTo>
                      <a:pt x="558" y="546"/>
                    </a:lnTo>
                    <a:lnTo>
                      <a:pt x="552" y="540"/>
                    </a:lnTo>
                    <a:lnTo>
                      <a:pt x="564" y="540"/>
                    </a:lnTo>
                    <a:lnTo>
                      <a:pt x="570" y="552"/>
                    </a:lnTo>
                    <a:lnTo>
                      <a:pt x="582" y="564"/>
                    </a:lnTo>
                    <a:lnTo>
                      <a:pt x="588" y="576"/>
                    </a:lnTo>
                    <a:lnTo>
                      <a:pt x="588" y="582"/>
                    </a:lnTo>
                    <a:lnTo>
                      <a:pt x="594" y="594"/>
                    </a:lnTo>
                    <a:lnTo>
                      <a:pt x="600" y="600"/>
                    </a:lnTo>
                    <a:lnTo>
                      <a:pt x="606" y="600"/>
                    </a:lnTo>
                    <a:lnTo>
                      <a:pt x="624" y="582"/>
                    </a:lnTo>
                    <a:lnTo>
                      <a:pt x="624" y="570"/>
                    </a:lnTo>
                    <a:lnTo>
                      <a:pt x="630" y="558"/>
                    </a:lnTo>
                    <a:lnTo>
                      <a:pt x="642" y="552"/>
                    </a:lnTo>
                    <a:lnTo>
                      <a:pt x="648" y="546"/>
                    </a:lnTo>
                    <a:lnTo>
                      <a:pt x="648" y="516"/>
                    </a:lnTo>
                    <a:lnTo>
                      <a:pt x="672" y="486"/>
                    </a:lnTo>
                    <a:lnTo>
                      <a:pt x="684" y="438"/>
                    </a:lnTo>
                    <a:lnTo>
                      <a:pt x="696" y="432"/>
                    </a:lnTo>
                    <a:lnTo>
                      <a:pt x="702" y="426"/>
                    </a:lnTo>
                    <a:lnTo>
                      <a:pt x="714" y="420"/>
                    </a:lnTo>
                    <a:lnTo>
                      <a:pt x="720" y="414"/>
                    </a:lnTo>
                    <a:lnTo>
                      <a:pt x="720" y="402"/>
                    </a:lnTo>
                    <a:lnTo>
                      <a:pt x="726" y="384"/>
                    </a:lnTo>
                    <a:lnTo>
                      <a:pt x="726" y="354"/>
                    </a:lnTo>
                    <a:lnTo>
                      <a:pt x="744" y="354"/>
                    </a:lnTo>
                    <a:lnTo>
                      <a:pt x="750" y="348"/>
                    </a:lnTo>
                    <a:lnTo>
                      <a:pt x="756" y="330"/>
                    </a:lnTo>
                    <a:lnTo>
                      <a:pt x="756" y="300"/>
                    </a:lnTo>
                    <a:lnTo>
                      <a:pt x="762" y="294"/>
                    </a:lnTo>
                    <a:lnTo>
                      <a:pt x="768" y="264"/>
                    </a:lnTo>
                    <a:lnTo>
                      <a:pt x="774" y="252"/>
                    </a:lnTo>
                    <a:lnTo>
                      <a:pt x="786" y="240"/>
                    </a:lnTo>
                    <a:lnTo>
                      <a:pt x="786" y="234"/>
                    </a:lnTo>
                    <a:lnTo>
                      <a:pt x="792" y="228"/>
                    </a:lnTo>
                    <a:lnTo>
                      <a:pt x="792" y="222"/>
                    </a:lnTo>
                    <a:lnTo>
                      <a:pt x="798" y="216"/>
                    </a:lnTo>
                    <a:lnTo>
                      <a:pt x="798" y="210"/>
                    </a:lnTo>
                    <a:lnTo>
                      <a:pt x="810" y="210"/>
                    </a:lnTo>
                    <a:lnTo>
                      <a:pt x="822" y="204"/>
                    </a:lnTo>
                    <a:lnTo>
                      <a:pt x="840" y="186"/>
                    </a:lnTo>
                    <a:lnTo>
                      <a:pt x="840" y="174"/>
                    </a:lnTo>
                    <a:lnTo>
                      <a:pt x="834" y="168"/>
                    </a:lnTo>
                    <a:lnTo>
                      <a:pt x="834" y="162"/>
                    </a:lnTo>
                    <a:lnTo>
                      <a:pt x="840" y="156"/>
                    </a:lnTo>
                    <a:lnTo>
                      <a:pt x="840" y="126"/>
                    </a:lnTo>
                    <a:lnTo>
                      <a:pt x="810" y="126"/>
                    </a:lnTo>
                    <a:lnTo>
                      <a:pt x="810" y="120"/>
                    </a:lnTo>
                    <a:lnTo>
                      <a:pt x="804" y="108"/>
                    </a:lnTo>
                    <a:lnTo>
                      <a:pt x="804" y="60"/>
                    </a:lnTo>
                    <a:lnTo>
                      <a:pt x="774" y="12"/>
                    </a:lnTo>
                    <a:lnTo>
                      <a:pt x="756" y="12"/>
                    </a:lnTo>
                    <a:lnTo>
                      <a:pt x="750" y="18"/>
                    </a:lnTo>
                    <a:lnTo>
                      <a:pt x="750" y="24"/>
                    </a:lnTo>
                    <a:lnTo>
                      <a:pt x="744" y="30"/>
                    </a:lnTo>
                    <a:lnTo>
                      <a:pt x="744" y="36"/>
                    </a:lnTo>
                    <a:lnTo>
                      <a:pt x="720" y="36"/>
                    </a:lnTo>
                    <a:lnTo>
                      <a:pt x="714" y="42"/>
                    </a:lnTo>
                    <a:lnTo>
                      <a:pt x="702" y="48"/>
                    </a:lnTo>
                    <a:lnTo>
                      <a:pt x="696" y="54"/>
                    </a:lnTo>
                    <a:lnTo>
                      <a:pt x="684" y="60"/>
                    </a:lnTo>
                    <a:lnTo>
                      <a:pt x="654" y="60"/>
                    </a:lnTo>
                    <a:lnTo>
                      <a:pt x="648" y="54"/>
                    </a:lnTo>
                    <a:lnTo>
                      <a:pt x="636" y="48"/>
                    </a:lnTo>
                    <a:lnTo>
                      <a:pt x="600" y="36"/>
                    </a:lnTo>
                    <a:lnTo>
                      <a:pt x="546" y="36"/>
                    </a:lnTo>
                    <a:lnTo>
                      <a:pt x="528" y="42"/>
                    </a:lnTo>
                    <a:lnTo>
                      <a:pt x="516" y="54"/>
                    </a:lnTo>
                    <a:lnTo>
                      <a:pt x="504" y="60"/>
                    </a:lnTo>
                    <a:lnTo>
                      <a:pt x="492" y="84"/>
                    </a:lnTo>
                    <a:lnTo>
                      <a:pt x="486" y="90"/>
                    </a:lnTo>
                    <a:lnTo>
                      <a:pt x="480" y="90"/>
                    </a:lnTo>
                    <a:lnTo>
                      <a:pt x="468" y="84"/>
                    </a:lnTo>
                    <a:lnTo>
                      <a:pt x="438" y="84"/>
                    </a:lnTo>
                    <a:lnTo>
                      <a:pt x="414" y="72"/>
                    </a:lnTo>
                    <a:lnTo>
                      <a:pt x="402" y="60"/>
                    </a:lnTo>
                    <a:lnTo>
                      <a:pt x="390" y="54"/>
                    </a:lnTo>
                    <a:lnTo>
                      <a:pt x="384" y="48"/>
                    </a:lnTo>
                    <a:lnTo>
                      <a:pt x="372" y="42"/>
                    </a:lnTo>
                    <a:lnTo>
                      <a:pt x="360" y="42"/>
                    </a:lnTo>
                    <a:lnTo>
                      <a:pt x="336" y="54"/>
                    </a:lnTo>
                    <a:lnTo>
                      <a:pt x="324" y="66"/>
                    </a:lnTo>
                    <a:lnTo>
                      <a:pt x="312" y="72"/>
                    </a:lnTo>
                    <a:lnTo>
                      <a:pt x="306" y="72"/>
                    </a:lnTo>
                    <a:lnTo>
                      <a:pt x="294" y="66"/>
                    </a:lnTo>
                    <a:lnTo>
                      <a:pt x="288" y="60"/>
                    </a:lnTo>
                    <a:lnTo>
                      <a:pt x="288" y="54"/>
                    </a:lnTo>
                    <a:lnTo>
                      <a:pt x="282" y="48"/>
                    </a:lnTo>
                    <a:lnTo>
                      <a:pt x="282" y="42"/>
                    </a:lnTo>
                    <a:lnTo>
                      <a:pt x="258" y="18"/>
                    </a:lnTo>
                    <a:lnTo>
                      <a:pt x="222" y="18"/>
                    </a:lnTo>
                    <a:lnTo>
                      <a:pt x="222" y="12"/>
                    </a:lnTo>
                    <a:lnTo>
                      <a:pt x="210" y="0"/>
                    </a:lnTo>
                    <a:lnTo>
                      <a:pt x="198" y="0"/>
                    </a:lnTo>
                    <a:lnTo>
                      <a:pt x="186" y="6"/>
                    </a:lnTo>
                    <a:lnTo>
                      <a:pt x="180" y="6"/>
                    </a:lnTo>
                    <a:lnTo>
                      <a:pt x="180" y="12"/>
                    </a:lnTo>
                    <a:lnTo>
                      <a:pt x="126" y="12"/>
                    </a:lnTo>
                    <a:lnTo>
                      <a:pt x="102" y="36"/>
                    </a:lnTo>
                    <a:lnTo>
                      <a:pt x="102" y="60"/>
                    </a:lnTo>
                    <a:lnTo>
                      <a:pt x="96" y="78"/>
                    </a:lnTo>
                    <a:lnTo>
                      <a:pt x="90" y="90"/>
                    </a:lnTo>
                    <a:lnTo>
                      <a:pt x="84" y="96"/>
                    </a:lnTo>
                    <a:lnTo>
                      <a:pt x="78" y="108"/>
                    </a:lnTo>
                    <a:lnTo>
                      <a:pt x="72" y="114"/>
                    </a:lnTo>
                    <a:lnTo>
                      <a:pt x="66" y="114"/>
                    </a:lnTo>
                    <a:lnTo>
                      <a:pt x="66" y="168"/>
                    </a:lnTo>
                    <a:lnTo>
                      <a:pt x="60" y="180"/>
                    </a:lnTo>
                    <a:lnTo>
                      <a:pt x="60" y="186"/>
                    </a:lnTo>
                    <a:lnTo>
                      <a:pt x="54" y="192"/>
                    </a:lnTo>
                    <a:lnTo>
                      <a:pt x="66" y="216"/>
                    </a:lnTo>
                    <a:lnTo>
                      <a:pt x="72" y="222"/>
                    </a:lnTo>
                    <a:lnTo>
                      <a:pt x="78" y="234"/>
                    </a:lnTo>
                    <a:lnTo>
                      <a:pt x="78" y="246"/>
                    </a:lnTo>
                    <a:lnTo>
                      <a:pt x="84" y="252"/>
                    </a:lnTo>
                    <a:lnTo>
                      <a:pt x="84" y="264"/>
                    </a:lnTo>
                    <a:lnTo>
                      <a:pt x="78" y="270"/>
                    </a:lnTo>
                    <a:lnTo>
                      <a:pt x="72" y="270"/>
                    </a:lnTo>
                    <a:lnTo>
                      <a:pt x="60" y="276"/>
                    </a:lnTo>
                    <a:lnTo>
                      <a:pt x="60" y="318"/>
                    </a:lnTo>
                    <a:lnTo>
                      <a:pt x="48" y="324"/>
                    </a:lnTo>
                    <a:lnTo>
                      <a:pt x="42" y="336"/>
                    </a:lnTo>
                    <a:lnTo>
                      <a:pt x="36" y="342"/>
                    </a:lnTo>
                    <a:lnTo>
                      <a:pt x="36" y="372"/>
                    </a:lnTo>
                    <a:lnTo>
                      <a:pt x="24" y="396"/>
                    </a:lnTo>
                    <a:lnTo>
                      <a:pt x="6" y="396"/>
                    </a:lnTo>
                    <a:lnTo>
                      <a:pt x="0" y="426"/>
                    </a:lnTo>
                    <a:lnTo>
                      <a:pt x="6" y="462"/>
                    </a:lnTo>
                    <a:lnTo>
                      <a:pt x="0" y="492"/>
                    </a:lnTo>
                    <a:lnTo>
                      <a:pt x="0" y="606"/>
                    </a:lnTo>
                    <a:lnTo>
                      <a:pt x="6" y="612"/>
                    </a:lnTo>
                    <a:lnTo>
                      <a:pt x="30" y="612"/>
                    </a:lnTo>
                    <a:lnTo>
                      <a:pt x="54" y="600"/>
                    </a:lnTo>
                    <a:lnTo>
                      <a:pt x="60" y="594"/>
                    </a:lnTo>
                    <a:lnTo>
                      <a:pt x="66" y="600"/>
                    </a:lnTo>
                    <a:lnTo>
                      <a:pt x="108" y="600"/>
                    </a:lnTo>
                    <a:lnTo>
                      <a:pt x="126" y="606"/>
                    </a:lnTo>
                    <a:lnTo>
                      <a:pt x="138" y="618"/>
                    </a:lnTo>
                    <a:lnTo>
                      <a:pt x="150" y="636"/>
                    </a:lnTo>
                    <a:lnTo>
                      <a:pt x="156" y="648"/>
                    </a:lnTo>
                    <a:lnTo>
                      <a:pt x="168" y="660"/>
                    </a:lnTo>
                    <a:lnTo>
                      <a:pt x="186" y="660"/>
                    </a:lnTo>
                    <a:lnTo>
                      <a:pt x="180" y="666"/>
                    </a:lnTo>
                    <a:lnTo>
                      <a:pt x="180" y="678"/>
                    </a:lnTo>
                    <a:lnTo>
                      <a:pt x="174" y="684"/>
                    </a:lnTo>
                    <a:lnTo>
                      <a:pt x="186" y="684"/>
                    </a:lnTo>
                    <a:lnTo>
                      <a:pt x="198" y="678"/>
                    </a:lnTo>
                    <a:lnTo>
                      <a:pt x="198" y="684"/>
                    </a:lnTo>
                    <a:lnTo>
                      <a:pt x="192" y="690"/>
                    </a:lnTo>
                    <a:lnTo>
                      <a:pt x="186" y="702"/>
                    </a:lnTo>
                    <a:lnTo>
                      <a:pt x="186" y="714"/>
                    </a:lnTo>
                    <a:lnTo>
                      <a:pt x="204" y="750"/>
                    </a:lnTo>
                    <a:lnTo>
                      <a:pt x="216" y="762"/>
                    </a:lnTo>
                    <a:lnTo>
                      <a:pt x="234" y="768"/>
                    </a:lnTo>
                    <a:lnTo>
                      <a:pt x="270" y="768"/>
                    </a:lnTo>
                    <a:lnTo>
                      <a:pt x="276" y="762"/>
                    </a:lnTo>
                    <a:lnTo>
                      <a:pt x="282" y="762"/>
                    </a:lnTo>
                    <a:lnTo>
                      <a:pt x="288" y="738"/>
                    </a:lnTo>
                    <a:lnTo>
                      <a:pt x="312" y="750"/>
                    </a:lnTo>
                    <a:lnTo>
                      <a:pt x="336" y="744"/>
                    </a:lnTo>
                    <a:lnTo>
                      <a:pt x="354" y="756"/>
                    </a:lnTo>
                    <a:lnTo>
                      <a:pt x="396" y="756"/>
                    </a:lnTo>
                    <a:lnTo>
                      <a:pt x="396" y="732"/>
                    </a:lnTo>
                    <a:lnTo>
                      <a:pt x="420" y="732"/>
                    </a:lnTo>
                    <a:lnTo>
                      <a:pt x="420" y="738"/>
                    </a:lnTo>
                    <a:close/>
                  </a:path>
                </a:pathLst>
              </a:custGeom>
              <a:solidFill>
                <a:srgbClr val="9D90A0">
                  <a:lumMod val="40000"/>
                  <a:lumOff val="60000"/>
                </a:srgbClr>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131" name="Niger" descr="© INSCALE GmbH, 05.05.2010&#10;http://www.presentationload.com/">
                <a:extLst>
                  <a:ext uri="{FF2B5EF4-FFF2-40B4-BE49-F238E27FC236}">
                    <a16:creationId xmlns:a16="http://schemas.microsoft.com/office/drawing/2014/main" id="{B0555353-2196-4CAB-809B-231D6DEDCDE8}"/>
                  </a:ext>
                </a:extLst>
              </p:cNvPr>
              <p:cNvSpPr>
                <a:spLocks/>
              </p:cNvSpPr>
              <p:nvPr/>
            </p:nvSpPr>
            <p:spPr bwMode="gray">
              <a:xfrm>
                <a:off x="4222502" y="3722339"/>
                <a:ext cx="439895" cy="414115"/>
              </a:xfrm>
              <a:custGeom>
                <a:avLst/>
                <a:gdLst>
                  <a:gd name="T0" fmla="*/ 2147483647 w 1110"/>
                  <a:gd name="T1" fmla="*/ 2147483647 h 942"/>
                  <a:gd name="T2" fmla="*/ 2147483647 w 1110"/>
                  <a:gd name="T3" fmla="*/ 2147483647 h 942"/>
                  <a:gd name="T4" fmla="*/ 2147483647 w 1110"/>
                  <a:gd name="T5" fmla="*/ 2147483647 h 942"/>
                  <a:gd name="T6" fmla="*/ 2147483647 w 1110"/>
                  <a:gd name="T7" fmla="*/ 2147483647 h 942"/>
                  <a:gd name="T8" fmla="*/ 2147483647 w 1110"/>
                  <a:gd name="T9" fmla="*/ 2147483647 h 942"/>
                  <a:gd name="T10" fmla="*/ 2147483647 w 1110"/>
                  <a:gd name="T11" fmla="*/ 2147483647 h 942"/>
                  <a:gd name="T12" fmla="*/ 2147483647 w 1110"/>
                  <a:gd name="T13" fmla="*/ 2147483647 h 942"/>
                  <a:gd name="T14" fmla="*/ 2147483647 w 1110"/>
                  <a:gd name="T15" fmla="*/ 2147483647 h 942"/>
                  <a:gd name="T16" fmla="*/ 2147483647 w 1110"/>
                  <a:gd name="T17" fmla="*/ 2147483647 h 942"/>
                  <a:gd name="T18" fmla="*/ 2147483647 w 1110"/>
                  <a:gd name="T19" fmla="*/ 2147483647 h 942"/>
                  <a:gd name="T20" fmla="*/ 2147483647 w 1110"/>
                  <a:gd name="T21" fmla="*/ 2147483647 h 942"/>
                  <a:gd name="T22" fmla="*/ 2147483647 w 1110"/>
                  <a:gd name="T23" fmla="*/ 2147483647 h 942"/>
                  <a:gd name="T24" fmla="*/ 2147483647 w 1110"/>
                  <a:gd name="T25" fmla="*/ 2147483647 h 942"/>
                  <a:gd name="T26" fmla="*/ 2147483647 w 1110"/>
                  <a:gd name="T27" fmla="*/ 2147483647 h 942"/>
                  <a:gd name="T28" fmla="*/ 2147483647 w 1110"/>
                  <a:gd name="T29" fmla="*/ 2147483647 h 942"/>
                  <a:gd name="T30" fmla="*/ 2147483647 w 1110"/>
                  <a:gd name="T31" fmla="*/ 2147483647 h 942"/>
                  <a:gd name="T32" fmla="*/ 2147483647 w 1110"/>
                  <a:gd name="T33" fmla="*/ 2147483647 h 942"/>
                  <a:gd name="T34" fmla="*/ 2147483647 w 1110"/>
                  <a:gd name="T35" fmla="*/ 2147483647 h 942"/>
                  <a:gd name="T36" fmla="*/ 2147483647 w 1110"/>
                  <a:gd name="T37" fmla="*/ 2147483647 h 942"/>
                  <a:gd name="T38" fmla="*/ 2147483647 w 1110"/>
                  <a:gd name="T39" fmla="*/ 2147483647 h 942"/>
                  <a:gd name="T40" fmla="*/ 2147483647 w 1110"/>
                  <a:gd name="T41" fmla="*/ 2147483647 h 942"/>
                  <a:gd name="T42" fmla="*/ 2147483647 w 1110"/>
                  <a:gd name="T43" fmla="*/ 2147483647 h 942"/>
                  <a:gd name="T44" fmla="*/ 2147483647 w 1110"/>
                  <a:gd name="T45" fmla="*/ 2147483647 h 942"/>
                  <a:gd name="T46" fmla="*/ 2147483647 w 1110"/>
                  <a:gd name="T47" fmla="*/ 2147483647 h 942"/>
                  <a:gd name="T48" fmla="*/ 2147483647 w 1110"/>
                  <a:gd name="T49" fmla="*/ 2147483647 h 942"/>
                  <a:gd name="T50" fmla="*/ 2147483647 w 1110"/>
                  <a:gd name="T51" fmla="*/ 2147483647 h 942"/>
                  <a:gd name="T52" fmla="*/ 2147483647 w 1110"/>
                  <a:gd name="T53" fmla="*/ 2147483647 h 942"/>
                  <a:gd name="T54" fmla="*/ 2147483647 w 1110"/>
                  <a:gd name="T55" fmla="*/ 2147483647 h 942"/>
                  <a:gd name="T56" fmla="*/ 2147483647 w 1110"/>
                  <a:gd name="T57" fmla="*/ 2147483647 h 942"/>
                  <a:gd name="T58" fmla="*/ 2147483647 w 1110"/>
                  <a:gd name="T59" fmla="*/ 2147483647 h 942"/>
                  <a:gd name="T60" fmla="*/ 2147483647 w 1110"/>
                  <a:gd name="T61" fmla="*/ 2147483647 h 942"/>
                  <a:gd name="T62" fmla="*/ 2147483647 w 1110"/>
                  <a:gd name="T63" fmla="*/ 2147483647 h 942"/>
                  <a:gd name="T64" fmla="*/ 2147483647 w 1110"/>
                  <a:gd name="T65" fmla="*/ 2147483647 h 942"/>
                  <a:gd name="T66" fmla="*/ 2147483647 w 1110"/>
                  <a:gd name="T67" fmla="*/ 2147483647 h 942"/>
                  <a:gd name="T68" fmla="*/ 2147483647 w 1110"/>
                  <a:gd name="T69" fmla="*/ 2147483647 h 942"/>
                  <a:gd name="T70" fmla="*/ 2147483647 w 1110"/>
                  <a:gd name="T71" fmla="*/ 2147483647 h 942"/>
                  <a:gd name="T72" fmla="*/ 2147483647 w 1110"/>
                  <a:gd name="T73" fmla="*/ 2147483647 h 942"/>
                  <a:gd name="T74" fmla="*/ 2147483647 w 1110"/>
                  <a:gd name="T75" fmla="*/ 2147483647 h 942"/>
                  <a:gd name="T76" fmla="*/ 2147483647 w 1110"/>
                  <a:gd name="T77" fmla="*/ 2147483647 h 942"/>
                  <a:gd name="T78" fmla="*/ 2147483647 w 1110"/>
                  <a:gd name="T79" fmla="*/ 2147483647 h 942"/>
                  <a:gd name="T80" fmla="*/ 2147483647 w 1110"/>
                  <a:gd name="T81" fmla="*/ 2147483647 h 942"/>
                  <a:gd name="T82" fmla="*/ 2147483647 w 1110"/>
                  <a:gd name="T83" fmla="*/ 2147483647 h 942"/>
                  <a:gd name="T84" fmla="*/ 2147483647 w 1110"/>
                  <a:gd name="T85" fmla="*/ 2147483647 h 942"/>
                  <a:gd name="T86" fmla="*/ 2147483647 w 1110"/>
                  <a:gd name="T87" fmla="*/ 2147483647 h 942"/>
                  <a:gd name="T88" fmla="*/ 2147483647 w 1110"/>
                  <a:gd name="T89" fmla="*/ 2147483647 h 942"/>
                  <a:gd name="T90" fmla="*/ 2147483647 w 1110"/>
                  <a:gd name="T91" fmla="*/ 2147483647 h 942"/>
                  <a:gd name="T92" fmla="*/ 2147483647 w 1110"/>
                  <a:gd name="T93" fmla="*/ 2147483647 h 942"/>
                  <a:gd name="T94" fmla="*/ 2147483647 w 1110"/>
                  <a:gd name="T95" fmla="*/ 2147483647 h 942"/>
                  <a:gd name="T96" fmla="*/ 2147483647 w 1110"/>
                  <a:gd name="T97" fmla="*/ 2147483647 h 942"/>
                  <a:gd name="T98" fmla="*/ 0 w 1110"/>
                  <a:gd name="T99" fmla="*/ 2147483647 h 942"/>
                  <a:gd name="T100" fmla="*/ 2147483647 w 1110"/>
                  <a:gd name="T101" fmla="*/ 2147483647 h 94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110"/>
                  <a:gd name="T154" fmla="*/ 0 h 942"/>
                  <a:gd name="T155" fmla="*/ 1110 w 1110"/>
                  <a:gd name="T156" fmla="*/ 942 h 942"/>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110" h="942">
                    <a:moveTo>
                      <a:pt x="54" y="792"/>
                    </a:moveTo>
                    <a:lnTo>
                      <a:pt x="54" y="810"/>
                    </a:lnTo>
                    <a:lnTo>
                      <a:pt x="66" y="810"/>
                    </a:lnTo>
                    <a:lnTo>
                      <a:pt x="48" y="828"/>
                    </a:lnTo>
                    <a:lnTo>
                      <a:pt x="48" y="834"/>
                    </a:lnTo>
                    <a:lnTo>
                      <a:pt x="72" y="858"/>
                    </a:lnTo>
                    <a:lnTo>
                      <a:pt x="84" y="864"/>
                    </a:lnTo>
                    <a:lnTo>
                      <a:pt x="90" y="876"/>
                    </a:lnTo>
                    <a:lnTo>
                      <a:pt x="108" y="876"/>
                    </a:lnTo>
                    <a:lnTo>
                      <a:pt x="120" y="864"/>
                    </a:lnTo>
                    <a:lnTo>
                      <a:pt x="132" y="864"/>
                    </a:lnTo>
                    <a:lnTo>
                      <a:pt x="144" y="876"/>
                    </a:lnTo>
                    <a:lnTo>
                      <a:pt x="150" y="888"/>
                    </a:lnTo>
                    <a:lnTo>
                      <a:pt x="126" y="894"/>
                    </a:lnTo>
                    <a:lnTo>
                      <a:pt x="150" y="930"/>
                    </a:lnTo>
                    <a:lnTo>
                      <a:pt x="150" y="906"/>
                    </a:lnTo>
                    <a:lnTo>
                      <a:pt x="180" y="894"/>
                    </a:lnTo>
                    <a:lnTo>
                      <a:pt x="192" y="906"/>
                    </a:lnTo>
                    <a:lnTo>
                      <a:pt x="198" y="918"/>
                    </a:lnTo>
                    <a:lnTo>
                      <a:pt x="204" y="924"/>
                    </a:lnTo>
                    <a:lnTo>
                      <a:pt x="210" y="924"/>
                    </a:lnTo>
                    <a:lnTo>
                      <a:pt x="216" y="930"/>
                    </a:lnTo>
                    <a:lnTo>
                      <a:pt x="222" y="930"/>
                    </a:lnTo>
                    <a:lnTo>
                      <a:pt x="234" y="936"/>
                    </a:lnTo>
                    <a:lnTo>
                      <a:pt x="240" y="942"/>
                    </a:lnTo>
                    <a:lnTo>
                      <a:pt x="240" y="888"/>
                    </a:lnTo>
                    <a:lnTo>
                      <a:pt x="246" y="888"/>
                    </a:lnTo>
                    <a:lnTo>
                      <a:pt x="252" y="882"/>
                    </a:lnTo>
                    <a:lnTo>
                      <a:pt x="258" y="870"/>
                    </a:lnTo>
                    <a:lnTo>
                      <a:pt x="264" y="864"/>
                    </a:lnTo>
                    <a:lnTo>
                      <a:pt x="270" y="852"/>
                    </a:lnTo>
                    <a:lnTo>
                      <a:pt x="276" y="834"/>
                    </a:lnTo>
                    <a:lnTo>
                      <a:pt x="276" y="810"/>
                    </a:lnTo>
                    <a:lnTo>
                      <a:pt x="300" y="786"/>
                    </a:lnTo>
                    <a:lnTo>
                      <a:pt x="354" y="786"/>
                    </a:lnTo>
                    <a:lnTo>
                      <a:pt x="354" y="780"/>
                    </a:lnTo>
                    <a:lnTo>
                      <a:pt x="360" y="780"/>
                    </a:lnTo>
                    <a:lnTo>
                      <a:pt x="372" y="774"/>
                    </a:lnTo>
                    <a:lnTo>
                      <a:pt x="384" y="774"/>
                    </a:lnTo>
                    <a:lnTo>
                      <a:pt x="396" y="786"/>
                    </a:lnTo>
                    <a:lnTo>
                      <a:pt x="396" y="792"/>
                    </a:lnTo>
                    <a:lnTo>
                      <a:pt x="432" y="792"/>
                    </a:lnTo>
                    <a:lnTo>
                      <a:pt x="456" y="816"/>
                    </a:lnTo>
                    <a:lnTo>
                      <a:pt x="456" y="822"/>
                    </a:lnTo>
                    <a:lnTo>
                      <a:pt x="462" y="828"/>
                    </a:lnTo>
                    <a:lnTo>
                      <a:pt x="462" y="834"/>
                    </a:lnTo>
                    <a:lnTo>
                      <a:pt x="468" y="840"/>
                    </a:lnTo>
                    <a:lnTo>
                      <a:pt x="480" y="846"/>
                    </a:lnTo>
                    <a:lnTo>
                      <a:pt x="486" y="846"/>
                    </a:lnTo>
                    <a:lnTo>
                      <a:pt x="498" y="840"/>
                    </a:lnTo>
                    <a:lnTo>
                      <a:pt x="510" y="828"/>
                    </a:lnTo>
                    <a:lnTo>
                      <a:pt x="534" y="816"/>
                    </a:lnTo>
                    <a:lnTo>
                      <a:pt x="546" y="816"/>
                    </a:lnTo>
                    <a:lnTo>
                      <a:pt x="558" y="822"/>
                    </a:lnTo>
                    <a:lnTo>
                      <a:pt x="564" y="828"/>
                    </a:lnTo>
                    <a:lnTo>
                      <a:pt x="576" y="834"/>
                    </a:lnTo>
                    <a:lnTo>
                      <a:pt x="588" y="846"/>
                    </a:lnTo>
                    <a:lnTo>
                      <a:pt x="612" y="858"/>
                    </a:lnTo>
                    <a:lnTo>
                      <a:pt x="642" y="858"/>
                    </a:lnTo>
                    <a:lnTo>
                      <a:pt x="654" y="864"/>
                    </a:lnTo>
                    <a:lnTo>
                      <a:pt x="660" y="864"/>
                    </a:lnTo>
                    <a:lnTo>
                      <a:pt x="666" y="858"/>
                    </a:lnTo>
                    <a:lnTo>
                      <a:pt x="678" y="834"/>
                    </a:lnTo>
                    <a:lnTo>
                      <a:pt x="690" y="828"/>
                    </a:lnTo>
                    <a:lnTo>
                      <a:pt x="702" y="816"/>
                    </a:lnTo>
                    <a:lnTo>
                      <a:pt x="720" y="810"/>
                    </a:lnTo>
                    <a:lnTo>
                      <a:pt x="774" y="810"/>
                    </a:lnTo>
                    <a:lnTo>
                      <a:pt x="810" y="822"/>
                    </a:lnTo>
                    <a:lnTo>
                      <a:pt x="822" y="828"/>
                    </a:lnTo>
                    <a:lnTo>
                      <a:pt x="828" y="834"/>
                    </a:lnTo>
                    <a:lnTo>
                      <a:pt x="858" y="834"/>
                    </a:lnTo>
                    <a:lnTo>
                      <a:pt x="870" y="828"/>
                    </a:lnTo>
                    <a:lnTo>
                      <a:pt x="876" y="822"/>
                    </a:lnTo>
                    <a:lnTo>
                      <a:pt x="888" y="816"/>
                    </a:lnTo>
                    <a:lnTo>
                      <a:pt x="894" y="810"/>
                    </a:lnTo>
                    <a:lnTo>
                      <a:pt x="918" y="810"/>
                    </a:lnTo>
                    <a:lnTo>
                      <a:pt x="918" y="804"/>
                    </a:lnTo>
                    <a:lnTo>
                      <a:pt x="924" y="798"/>
                    </a:lnTo>
                    <a:lnTo>
                      <a:pt x="924" y="792"/>
                    </a:lnTo>
                    <a:lnTo>
                      <a:pt x="930" y="786"/>
                    </a:lnTo>
                    <a:lnTo>
                      <a:pt x="936" y="786"/>
                    </a:lnTo>
                    <a:lnTo>
                      <a:pt x="930" y="726"/>
                    </a:lnTo>
                    <a:lnTo>
                      <a:pt x="948" y="720"/>
                    </a:lnTo>
                    <a:lnTo>
                      <a:pt x="948" y="714"/>
                    </a:lnTo>
                    <a:lnTo>
                      <a:pt x="954" y="708"/>
                    </a:lnTo>
                    <a:lnTo>
                      <a:pt x="954" y="696"/>
                    </a:lnTo>
                    <a:lnTo>
                      <a:pt x="960" y="678"/>
                    </a:lnTo>
                    <a:lnTo>
                      <a:pt x="966" y="666"/>
                    </a:lnTo>
                    <a:lnTo>
                      <a:pt x="978" y="648"/>
                    </a:lnTo>
                    <a:lnTo>
                      <a:pt x="984" y="636"/>
                    </a:lnTo>
                    <a:lnTo>
                      <a:pt x="1002" y="618"/>
                    </a:lnTo>
                    <a:lnTo>
                      <a:pt x="1026" y="588"/>
                    </a:lnTo>
                    <a:lnTo>
                      <a:pt x="1050" y="564"/>
                    </a:lnTo>
                    <a:lnTo>
                      <a:pt x="1068" y="540"/>
                    </a:lnTo>
                    <a:lnTo>
                      <a:pt x="1074" y="534"/>
                    </a:lnTo>
                    <a:lnTo>
                      <a:pt x="1092" y="288"/>
                    </a:lnTo>
                    <a:lnTo>
                      <a:pt x="1110" y="252"/>
                    </a:lnTo>
                    <a:lnTo>
                      <a:pt x="1080" y="216"/>
                    </a:lnTo>
                    <a:lnTo>
                      <a:pt x="1074" y="192"/>
                    </a:lnTo>
                    <a:lnTo>
                      <a:pt x="1044" y="156"/>
                    </a:lnTo>
                    <a:lnTo>
                      <a:pt x="1056" y="108"/>
                    </a:lnTo>
                    <a:lnTo>
                      <a:pt x="1038" y="42"/>
                    </a:lnTo>
                    <a:lnTo>
                      <a:pt x="1020" y="48"/>
                    </a:lnTo>
                    <a:lnTo>
                      <a:pt x="1002" y="60"/>
                    </a:lnTo>
                    <a:lnTo>
                      <a:pt x="990" y="66"/>
                    </a:lnTo>
                    <a:lnTo>
                      <a:pt x="984" y="66"/>
                    </a:lnTo>
                    <a:lnTo>
                      <a:pt x="978" y="60"/>
                    </a:lnTo>
                    <a:lnTo>
                      <a:pt x="966" y="54"/>
                    </a:lnTo>
                    <a:lnTo>
                      <a:pt x="960" y="42"/>
                    </a:lnTo>
                    <a:lnTo>
                      <a:pt x="954" y="36"/>
                    </a:lnTo>
                    <a:lnTo>
                      <a:pt x="942" y="30"/>
                    </a:lnTo>
                    <a:lnTo>
                      <a:pt x="936" y="24"/>
                    </a:lnTo>
                    <a:lnTo>
                      <a:pt x="930" y="24"/>
                    </a:lnTo>
                    <a:lnTo>
                      <a:pt x="918" y="18"/>
                    </a:lnTo>
                    <a:lnTo>
                      <a:pt x="900" y="12"/>
                    </a:lnTo>
                    <a:lnTo>
                      <a:pt x="888" y="12"/>
                    </a:lnTo>
                    <a:lnTo>
                      <a:pt x="876" y="6"/>
                    </a:lnTo>
                    <a:lnTo>
                      <a:pt x="864" y="6"/>
                    </a:lnTo>
                    <a:lnTo>
                      <a:pt x="828" y="0"/>
                    </a:lnTo>
                    <a:lnTo>
                      <a:pt x="816" y="6"/>
                    </a:lnTo>
                    <a:lnTo>
                      <a:pt x="786" y="30"/>
                    </a:lnTo>
                    <a:lnTo>
                      <a:pt x="738" y="66"/>
                    </a:lnTo>
                    <a:lnTo>
                      <a:pt x="684" y="102"/>
                    </a:lnTo>
                    <a:lnTo>
                      <a:pt x="624" y="144"/>
                    </a:lnTo>
                    <a:lnTo>
                      <a:pt x="576" y="180"/>
                    </a:lnTo>
                    <a:lnTo>
                      <a:pt x="534" y="210"/>
                    </a:lnTo>
                    <a:lnTo>
                      <a:pt x="510" y="222"/>
                    </a:lnTo>
                    <a:lnTo>
                      <a:pt x="480" y="246"/>
                    </a:lnTo>
                    <a:lnTo>
                      <a:pt x="450" y="282"/>
                    </a:lnTo>
                    <a:lnTo>
                      <a:pt x="414" y="312"/>
                    </a:lnTo>
                    <a:lnTo>
                      <a:pt x="390" y="330"/>
                    </a:lnTo>
                    <a:lnTo>
                      <a:pt x="366" y="336"/>
                    </a:lnTo>
                    <a:lnTo>
                      <a:pt x="324" y="342"/>
                    </a:lnTo>
                    <a:lnTo>
                      <a:pt x="282" y="354"/>
                    </a:lnTo>
                    <a:lnTo>
                      <a:pt x="282" y="558"/>
                    </a:lnTo>
                    <a:lnTo>
                      <a:pt x="264" y="582"/>
                    </a:lnTo>
                    <a:lnTo>
                      <a:pt x="264" y="594"/>
                    </a:lnTo>
                    <a:lnTo>
                      <a:pt x="258" y="606"/>
                    </a:lnTo>
                    <a:lnTo>
                      <a:pt x="258" y="624"/>
                    </a:lnTo>
                    <a:lnTo>
                      <a:pt x="252" y="636"/>
                    </a:lnTo>
                    <a:lnTo>
                      <a:pt x="240" y="642"/>
                    </a:lnTo>
                    <a:lnTo>
                      <a:pt x="222" y="648"/>
                    </a:lnTo>
                    <a:lnTo>
                      <a:pt x="198" y="648"/>
                    </a:lnTo>
                    <a:lnTo>
                      <a:pt x="186" y="654"/>
                    </a:lnTo>
                    <a:lnTo>
                      <a:pt x="138" y="648"/>
                    </a:lnTo>
                    <a:lnTo>
                      <a:pt x="138" y="666"/>
                    </a:lnTo>
                    <a:lnTo>
                      <a:pt x="72" y="660"/>
                    </a:lnTo>
                    <a:lnTo>
                      <a:pt x="48" y="678"/>
                    </a:lnTo>
                    <a:lnTo>
                      <a:pt x="0" y="690"/>
                    </a:lnTo>
                    <a:lnTo>
                      <a:pt x="0" y="726"/>
                    </a:lnTo>
                    <a:lnTo>
                      <a:pt x="6" y="738"/>
                    </a:lnTo>
                    <a:lnTo>
                      <a:pt x="6" y="762"/>
                    </a:lnTo>
                    <a:lnTo>
                      <a:pt x="18" y="786"/>
                    </a:lnTo>
                    <a:lnTo>
                      <a:pt x="30" y="792"/>
                    </a:lnTo>
                    <a:lnTo>
                      <a:pt x="54" y="792"/>
                    </a:lnTo>
                    <a:close/>
                  </a:path>
                </a:pathLst>
              </a:custGeom>
              <a:solidFill>
                <a:srgbClr val="9D90A0">
                  <a:lumMod val="40000"/>
                  <a:lumOff val="60000"/>
                </a:srgbClr>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132" name="Namibia" descr="© INSCALE GmbH, 05.05.2010&#10;http://www.presentationload.com/">
                <a:extLst>
                  <a:ext uri="{FF2B5EF4-FFF2-40B4-BE49-F238E27FC236}">
                    <a16:creationId xmlns:a16="http://schemas.microsoft.com/office/drawing/2014/main" id="{A16CA542-8197-4AFB-B4A1-3F612782406C}"/>
                  </a:ext>
                </a:extLst>
              </p:cNvPr>
              <p:cNvSpPr>
                <a:spLocks/>
              </p:cNvSpPr>
              <p:nvPr/>
            </p:nvSpPr>
            <p:spPr bwMode="gray">
              <a:xfrm>
                <a:off x="4542284" y="5153549"/>
                <a:ext cx="377499" cy="427977"/>
              </a:xfrm>
              <a:custGeom>
                <a:avLst/>
                <a:gdLst>
                  <a:gd name="T0" fmla="*/ 2147483647 w 954"/>
                  <a:gd name="T1" fmla="*/ 2147483647 h 972"/>
                  <a:gd name="T2" fmla="*/ 2147483647 w 954"/>
                  <a:gd name="T3" fmla="*/ 2147483647 h 972"/>
                  <a:gd name="T4" fmla="*/ 2147483647 w 954"/>
                  <a:gd name="T5" fmla="*/ 2147483647 h 972"/>
                  <a:gd name="T6" fmla="*/ 2147483647 w 954"/>
                  <a:gd name="T7" fmla="*/ 2147483647 h 972"/>
                  <a:gd name="T8" fmla="*/ 2147483647 w 954"/>
                  <a:gd name="T9" fmla="*/ 2147483647 h 972"/>
                  <a:gd name="T10" fmla="*/ 2147483647 w 954"/>
                  <a:gd name="T11" fmla="*/ 2147483647 h 972"/>
                  <a:gd name="T12" fmla="*/ 2147483647 w 954"/>
                  <a:gd name="T13" fmla="*/ 2147483647 h 972"/>
                  <a:gd name="T14" fmla="*/ 2147483647 w 954"/>
                  <a:gd name="T15" fmla="*/ 2147483647 h 972"/>
                  <a:gd name="T16" fmla="*/ 2147483647 w 954"/>
                  <a:gd name="T17" fmla="*/ 2147483647 h 972"/>
                  <a:gd name="T18" fmla="*/ 2147483647 w 954"/>
                  <a:gd name="T19" fmla="*/ 2147483647 h 972"/>
                  <a:gd name="T20" fmla="*/ 2147483647 w 954"/>
                  <a:gd name="T21" fmla="*/ 2147483647 h 972"/>
                  <a:gd name="T22" fmla="*/ 2147483647 w 954"/>
                  <a:gd name="T23" fmla="*/ 2147483647 h 972"/>
                  <a:gd name="T24" fmla="*/ 2147483647 w 954"/>
                  <a:gd name="T25" fmla="*/ 2147483647 h 972"/>
                  <a:gd name="T26" fmla="*/ 2147483647 w 954"/>
                  <a:gd name="T27" fmla="*/ 2147483647 h 972"/>
                  <a:gd name="T28" fmla="*/ 2147483647 w 954"/>
                  <a:gd name="T29" fmla="*/ 2147483647 h 972"/>
                  <a:gd name="T30" fmla="*/ 2147483647 w 954"/>
                  <a:gd name="T31" fmla="*/ 2147483647 h 972"/>
                  <a:gd name="T32" fmla="*/ 2147483647 w 954"/>
                  <a:gd name="T33" fmla="*/ 2147483647 h 972"/>
                  <a:gd name="T34" fmla="*/ 2147483647 w 954"/>
                  <a:gd name="T35" fmla="*/ 2147483647 h 972"/>
                  <a:gd name="T36" fmla="*/ 2147483647 w 954"/>
                  <a:gd name="T37" fmla="*/ 2147483647 h 972"/>
                  <a:gd name="T38" fmla="*/ 2147483647 w 954"/>
                  <a:gd name="T39" fmla="*/ 2147483647 h 972"/>
                  <a:gd name="T40" fmla="*/ 2147483647 w 954"/>
                  <a:gd name="T41" fmla="*/ 2147483647 h 972"/>
                  <a:gd name="T42" fmla="*/ 2147483647 w 954"/>
                  <a:gd name="T43" fmla="*/ 2147483647 h 972"/>
                  <a:gd name="T44" fmla="*/ 2147483647 w 954"/>
                  <a:gd name="T45" fmla="*/ 2147483647 h 972"/>
                  <a:gd name="T46" fmla="*/ 2147483647 w 954"/>
                  <a:gd name="T47" fmla="*/ 2147483647 h 972"/>
                  <a:gd name="T48" fmla="*/ 2147483647 w 954"/>
                  <a:gd name="T49" fmla="*/ 2147483647 h 972"/>
                  <a:gd name="T50" fmla="*/ 2147483647 w 954"/>
                  <a:gd name="T51" fmla="*/ 2147483647 h 972"/>
                  <a:gd name="T52" fmla="*/ 2147483647 w 954"/>
                  <a:gd name="T53" fmla="*/ 2147483647 h 972"/>
                  <a:gd name="T54" fmla="*/ 2147483647 w 954"/>
                  <a:gd name="T55" fmla="*/ 2147483647 h 972"/>
                  <a:gd name="T56" fmla="*/ 2147483647 w 954"/>
                  <a:gd name="T57" fmla="*/ 2147483647 h 972"/>
                  <a:gd name="T58" fmla="*/ 2147483647 w 954"/>
                  <a:gd name="T59" fmla="*/ 2147483647 h 972"/>
                  <a:gd name="T60" fmla="*/ 2147483647 w 954"/>
                  <a:gd name="T61" fmla="*/ 2147483647 h 972"/>
                  <a:gd name="T62" fmla="*/ 2147483647 w 954"/>
                  <a:gd name="T63" fmla="*/ 2147483647 h 972"/>
                  <a:gd name="T64" fmla="*/ 2147483647 w 954"/>
                  <a:gd name="T65" fmla="*/ 2147483647 h 972"/>
                  <a:gd name="T66" fmla="*/ 2147483647 w 954"/>
                  <a:gd name="T67" fmla="*/ 0 h 972"/>
                  <a:gd name="T68" fmla="*/ 2147483647 w 954"/>
                  <a:gd name="T69" fmla="*/ 2147483647 h 972"/>
                  <a:gd name="T70" fmla="*/ 2147483647 w 954"/>
                  <a:gd name="T71" fmla="*/ 2147483647 h 972"/>
                  <a:gd name="T72" fmla="*/ 0 w 954"/>
                  <a:gd name="T73" fmla="*/ 2147483647 h 972"/>
                  <a:gd name="T74" fmla="*/ 2147483647 w 954"/>
                  <a:gd name="T75" fmla="*/ 2147483647 h 972"/>
                  <a:gd name="T76" fmla="*/ 2147483647 w 954"/>
                  <a:gd name="T77" fmla="*/ 2147483647 h 972"/>
                  <a:gd name="T78" fmla="*/ 2147483647 w 954"/>
                  <a:gd name="T79" fmla="*/ 2147483647 h 972"/>
                  <a:gd name="T80" fmla="*/ 2147483647 w 954"/>
                  <a:gd name="T81" fmla="*/ 2147483647 h 972"/>
                  <a:gd name="T82" fmla="*/ 2147483647 w 954"/>
                  <a:gd name="T83" fmla="*/ 2147483647 h 972"/>
                  <a:gd name="T84" fmla="*/ 2147483647 w 954"/>
                  <a:gd name="T85" fmla="*/ 2147483647 h 972"/>
                  <a:gd name="T86" fmla="*/ 2147483647 w 954"/>
                  <a:gd name="T87" fmla="*/ 2147483647 h 972"/>
                  <a:gd name="T88" fmla="*/ 2147483647 w 954"/>
                  <a:gd name="T89" fmla="*/ 2147483647 h 972"/>
                  <a:gd name="T90" fmla="*/ 2147483647 w 954"/>
                  <a:gd name="T91" fmla="*/ 2147483647 h 972"/>
                  <a:gd name="T92" fmla="*/ 2147483647 w 954"/>
                  <a:gd name="T93" fmla="*/ 2147483647 h 972"/>
                  <a:gd name="T94" fmla="*/ 2147483647 w 954"/>
                  <a:gd name="T95" fmla="*/ 2147483647 h 972"/>
                  <a:gd name="T96" fmla="*/ 2147483647 w 954"/>
                  <a:gd name="T97" fmla="*/ 2147483647 h 972"/>
                  <a:gd name="T98" fmla="*/ 2147483647 w 954"/>
                  <a:gd name="T99" fmla="*/ 2147483647 h 972"/>
                  <a:gd name="T100" fmla="*/ 2147483647 w 954"/>
                  <a:gd name="T101" fmla="*/ 2147483647 h 972"/>
                  <a:gd name="T102" fmla="*/ 2147483647 w 954"/>
                  <a:gd name="T103" fmla="*/ 2147483647 h 972"/>
                  <a:gd name="T104" fmla="*/ 2147483647 w 954"/>
                  <a:gd name="T105" fmla="*/ 2147483647 h 972"/>
                  <a:gd name="T106" fmla="*/ 2147483647 w 954"/>
                  <a:gd name="T107" fmla="*/ 2147483647 h 972"/>
                  <a:gd name="T108" fmla="*/ 2147483647 w 954"/>
                  <a:gd name="T109" fmla="*/ 2147483647 h 972"/>
                  <a:gd name="T110" fmla="*/ 2147483647 w 954"/>
                  <a:gd name="T111" fmla="*/ 2147483647 h 972"/>
                  <a:gd name="T112" fmla="*/ 2147483647 w 954"/>
                  <a:gd name="T113" fmla="*/ 2147483647 h 972"/>
                  <a:gd name="T114" fmla="*/ 2147483647 w 954"/>
                  <a:gd name="T115" fmla="*/ 2147483647 h 972"/>
                  <a:gd name="T116" fmla="*/ 2147483647 w 954"/>
                  <a:gd name="T117" fmla="*/ 2147483647 h 972"/>
                  <a:gd name="T118" fmla="*/ 2147483647 w 954"/>
                  <a:gd name="T119" fmla="*/ 2147483647 h 97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54"/>
                  <a:gd name="T181" fmla="*/ 0 h 972"/>
                  <a:gd name="T182" fmla="*/ 954 w 954"/>
                  <a:gd name="T183" fmla="*/ 972 h 972"/>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54" h="972">
                    <a:moveTo>
                      <a:pt x="366" y="894"/>
                    </a:moveTo>
                    <a:lnTo>
                      <a:pt x="372" y="894"/>
                    </a:lnTo>
                    <a:lnTo>
                      <a:pt x="390" y="912"/>
                    </a:lnTo>
                    <a:lnTo>
                      <a:pt x="390" y="936"/>
                    </a:lnTo>
                    <a:lnTo>
                      <a:pt x="396" y="948"/>
                    </a:lnTo>
                    <a:lnTo>
                      <a:pt x="402" y="954"/>
                    </a:lnTo>
                    <a:lnTo>
                      <a:pt x="426" y="954"/>
                    </a:lnTo>
                    <a:lnTo>
                      <a:pt x="432" y="960"/>
                    </a:lnTo>
                    <a:lnTo>
                      <a:pt x="432" y="966"/>
                    </a:lnTo>
                    <a:lnTo>
                      <a:pt x="438" y="972"/>
                    </a:lnTo>
                    <a:lnTo>
                      <a:pt x="462" y="972"/>
                    </a:lnTo>
                    <a:lnTo>
                      <a:pt x="474" y="960"/>
                    </a:lnTo>
                    <a:lnTo>
                      <a:pt x="486" y="960"/>
                    </a:lnTo>
                    <a:lnTo>
                      <a:pt x="498" y="972"/>
                    </a:lnTo>
                    <a:lnTo>
                      <a:pt x="522" y="972"/>
                    </a:lnTo>
                    <a:lnTo>
                      <a:pt x="522" y="948"/>
                    </a:lnTo>
                    <a:lnTo>
                      <a:pt x="534" y="948"/>
                    </a:lnTo>
                    <a:lnTo>
                      <a:pt x="534" y="942"/>
                    </a:lnTo>
                    <a:lnTo>
                      <a:pt x="540" y="936"/>
                    </a:lnTo>
                    <a:lnTo>
                      <a:pt x="552" y="930"/>
                    </a:lnTo>
                    <a:lnTo>
                      <a:pt x="570" y="930"/>
                    </a:lnTo>
                    <a:lnTo>
                      <a:pt x="582" y="414"/>
                    </a:lnTo>
                    <a:lnTo>
                      <a:pt x="654" y="414"/>
                    </a:lnTo>
                    <a:lnTo>
                      <a:pt x="648" y="288"/>
                    </a:lnTo>
                    <a:lnTo>
                      <a:pt x="654" y="282"/>
                    </a:lnTo>
                    <a:lnTo>
                      <a:pt x="654" y="108"/>
                    </a:lnTo>
                    <a:lnTo>
                      <a:pt x="690" y="108"/>
                    </a:lnTo>
                    <a:lnTo>
                      <a:pt x="708" y="102"/>
                    </a:lnTo>
                    <a:lnTo>
                      <a:pt x="744" y="102"/>
                    </a:lnTo>
                    <a:lnTo>
                      <a:pt x="792" y="90"/>
                    </a:lnTo>
                    <a:lnTo>
                      <a:pt x="804" y="84"/>
                    </a:lnTo>
                    <a:lnTo>
                      <a:pt x="822" y="84"/>
                    </a:lnTo>
                    <a:lnTo>
                      <a:pt x="828" y="90"/>
                    </a:lnTo>
                    <a:lnTo>
                      <a:pt x="828" y="108"/>
                    </a:lnTo>
                    <a:lnTo>
                      <a:pt x="834" y="108"/>
                    </a:lnTo>
                    <a:lnTo>
                      <a:pt x="834" y="126"/>
                    </a:lnTo>
                    <a:lnTo>
                      <a:pt x="840" y="126"/>
                    </a:lnTo>
                    <a:lnTo>
                      <a:pt x="882" y="84"/>
                    </a:lnTo>
                    <a:lnTo>
                      <a:pt x="906" y="84"/>
                    </a:lnTo>
                    <a:lnTo>
                      <a:pt x="918" y="72"/>
                    </a:lnTo>
                    <a:lnTo>
                      <a:pt x="954" y="66"/>
                    </a:lnTo>
                    <a:lnTo>
                      <a:pt x="936" y="48"/>
                    </a:lnTo>
                    <a:lnTo>
                      <a:pt x="906" y="54"/>
                    </a:lnTo>
                    <a:lnTo>
                      <a:pt x="906" y="48"/>
                    </a:lnTo>
                    <a:lnTo>
                      <a:pt x="900" y="42"/>
                    </a:lnTo>
                    <a:lnTo>
                      <a:pt x="882" y="42"/>
                    </a:lnTo>
                    <a:lnTo>
                      <a:pt x="876" y="48"/>
                    </a:lnTo>
                    <a:lnTo>
                      <a:pt x="870" y="48"/>
                    </a:lnTo>
                    <a:lnTo>
                      <a:pt x="846" y="60"/>
                    </a:lnTo>
                    <a:lnTo>
                      <a:pt x="828" y="54"/>
                    </a:lnTo>
                    <a:lnTo>
                      <a:pt x="816" y="60"/>
                    </a:lnTo>
                    <a:lnTo>
                      <a:pt x="780" y="72"/>
                    </a:lnTo>
                    <a:lnTo>
                      <a:pt x="732" y="78"/>
                    </a:lnTo>
                    <a:lnTo>
                      <a:pt x="696" y="84"/>
                    </a:lnTo>
                    <a:lnTo>
                      <a:pt x="624" y="84"/>
                    </a:lnTo>
                    <a:lnTo>
                      <a:pt x="618" y="72"/>
                    </a:lnTo>
                    <a:lnTo>
                      <a:pt x="546" y="78"/>
                    </a:lnTo>
                    <a:lnTo>
                      <a:pt x="540" y="66"/>
                    </a:lnTo>
                    <a:lnTo>
                      <a:pt x="504" y="66"/>
                    </a:lnTo>
                    <a:lnTo>
                      <a:pt x="480" y="42"/>
                    </a:lnTo>
                    <a:lnTo>
                      <a:pt x="480" y="36"/>
                    </a:lnTo>
                    <a:lnTo>
                      <a:pt x="174" y="36"/>
                    </a:lnTo>
                    <a:lnTo>
                      <a:pt x="168" y="30"/>
                    </a:lnTo>
                    <a:lnTo>
                      <a:pt x="156" y="30"/>
                    </a:lnTo>
                    <a:lnTo>
                      <a:pt x="132" y="18"/>
                    </a:lnTo>
                    <a:lnTo>
                      <a:pt x="126" y="6"/>
                    </a:lnTo>
                    <a:lnTo>
                      <a:pt x="120" y="0"/>
                    </a:lnTo>
                    <a:lnTo>
                      <a:pt x="90" y="0"/>
                    </a:lnTo>
                    <a:lnTo>
                      <a:pt x="90" y="6"/>
                    </a:lnTo>
                    <a:lnTo>
                      <a:pt x="72" y="24"/>
                    </a:lnTo>
                    <a:lnTo>
                      <a:pt x="42" y="24"/>
                    </a:lnTo>
                    <a:lnTo>
                      <a:pt x="36" y="18"/>
                    </a:lnTo>
                    <a:lnTo>
                      <a:pt x="18" y="24"/>
                    </a:lnTo>
                    <a:lnTo>
                      <a:pt x="0" y="24"/>
                    </a:lnTo>
                    <a:lnTo>
                      <a:pt x="6" y="96"/>
                    </a:lnTo>
                    <a:lnTo>
                      <a:pt x="12" y="108"/>
                    </a:lnTo>
                    <a:lnTo>
                      <a:pt x="30" y="126"/>
                    </a:lnTo>
                    <a:lnTo>
                      <a:pt x="36" y="138"/>
                    </a:lnTo>
                    <a:lnTo>
                      <a:pt x="54" y="162"/>
                    </a:lnTo>
                    <a:lnTo>
                      <a:pt x="72" y="192"/>
                    </a:lnTo>
                    <a:lnTo>
                      <a:pt x="96" y="228"/>
                    </a:lnTo>
                    <a:lnTo>
                      <a:pt x="102" y="258"/>
                    </a:lnTo>
                    <a:lnTo>
                      <a:pt x="102" y="276"/>
                    </a:lnTo>
                    <a:lnTo>
                      <a:pt x="114" y="294"/>
                    </a:lnTo>
                    <a:lnTo>
                      <a:pt x="120" y="312"/>
                    </a:lnTo>
                    <a:lnTo>
                      <a:pt x="138" y="348"/>
                    </a:lnTo>
                    <a:lnTo>
                      <a:pt x="156" y="366"/>
                    </a:lnTo>
                    <a:lnTo>
                      <a:pt x="156" y="390"/>
                    </a:lnTo>
                    <a:lnTo>
                      <a:pt x="162" y="396"/>
                    </a:lnTo>
                    <a:lnTo>
                      <a:pt x="174" y="402"/>
                    </a:lnTo>
                    <a:lnTo>
                      <a:pt x="180" y="414"/>
                    </a:lnTo>
                    <a:lnTo>
                      <a:pt x="192" y="420"/>
                    </a:lnTo>
                    <a:lnTo>
                      <a:pt x="198" y="432"/>
                    </a:lnTo>
                    <a:lnTo>
                      <a:pt x="198" y="582"/>
                    </a:lnTo>
                    <a:lnTo>
                      <a:pt x="222" y="630"/>
                    </a:lnTo>
                    <a:lnTo>
                      <a:pt x="222" y="678"/>
                    </a:lnTo>
                    <a:lnTo>
                      <a:pt x="216" y="678"/>
                    </a:lnTo>
                    <a:lnTo>
                      <a:pt x="228" y="726"/>
                    </a:lnTo>
                    <a:lnTo>
                      <a:pt x="228" y="762"/>
                    </a:lnTo>
                    <a:lnTo>
                      <a:pt x="240" y="762"/>
                    </a:lnTo>
                    <a:lnTo>
                      <a:pt x="240" y="804"/>
                    </a:lnTo>
                    <a:lnTo>
                      <a:pt x="252" y="810"/>
                    </a:lnTo>
                    <a:lnTo>
                      <a:pt x="258" y="816"/>
                    </a:lnTo>
                    <a:lnTo>
                      <a:pt x="258" y="846"/>
                    </a:lnTo>
                    <a:lnTo>
                      <a:pt x="264" y="858"/>
                    </a:lnTo>
                    <a:lnTo>
                      <a:pt x="270" y="864"/>
                    </a:lnTo>
                    <a:lnTo>
                      <a:pt x="276" y="876"/>
                    </a:lnTo>
                    <a:lnTo>
                      <a:pt x="282" y="894"/>
                    </a:lnTo>
                    <a:lnTo>
                      <a:pt x="282" y="900"/>
                    </a:lnTo>
                    <a:lnTo>
                      <a:pt x="288" y="912"/>
                    </a:lnTo>
                    <a:lnTo>
                      <a:pt x="294" y="918"/>
                    </a:lnTo>
                    <a:lnTo>
                      <a:pt x="318" y="930"/>
                    </a:lnTo>
                    <a:lnTo>
                      <a:pt x="324" y="936"/>
                    </a:lnTo>
                    <a:lnTo>
                      <a:pt x="330" y="936"/>
                    </a:lnTo>
                    <a:lnTo>
                      <a:pt x="330" y="942"/>
                    </a:lnTo>
                    <a:lnTo>
                      <a:pt x="348" y="930"/>
                    </a:lnTo>
                    <a:lnTo>
                      <a:pt x="348" y="924"/>
                    </a:lnTo>
                    <a:lnTo>
                      <a:pt x="354" y="918"/>
                    </a:lnTo>
                    <a:lnTo>
                      <a:pt x="360" y="906"/>
                    </a:lnTo>
                    <a:lnTo>
                      <a:pt x="360" y="900"/>
                    </a:lnTo>
                    <a:lnTo>
                      <a:pt x="366" y="894"/>
                    </a:lnTo>
                    <a:close/>
                  </a:path>
                </a:pathLst>
              </a:custGeom>
              <a:solidFill>
                <a:srgbClr val="9D90A0">
                  <a:lumMod val="40000"/>
                  <a:lumOff val="60000"/>
                </a:srgbClr>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133" name="Mozambique" descr="© INSCALE GmbH, 05.05.2010&#10;http://www.presentationload.com/">
                <a:extLst>
                  <a:ext uri="{FF2B5EF4-FFF2-40B4-BE49-F238E27FC236}">
                    <a16:creationId xmlns:a16="http://schemas.microsoft.com/office/drawing/2014/main" id="{D05152F5-1349-4A6F-84C8-5F413A79D49C}"/>
                  </a:ext>
                </a:extLst>
              </p:cNvPr>
              <p:cNvSpPr>
                <a:spLocks/>
              </p:cNvSpPr>
              <p:nvPr/>
            </p:nvSpPr>
            <p:spPr bwMode="gray">
              <a:xfrm>
                <a:off x="5057055" y="4924833"/>
                <a:ext cx="301063" cy="587385"/>
              </a:xfrm>
              <a:custGeom>
                <a:avLst/>
                <a:gdLst>
                  <a:gd name="T0" fmla="*/ 2147483647 w 762"/>
                  <a:gd name="T1" fmla="*/ 2147483647 h 1338"/>
                  <a:gd name="T2" fmla="*/ 2147483647 w 762"/>
                  <a:gd name="T3" fmla="*/ 2147483647 h 1338"/>
                  <a:gd name="T4" fmla="*/ 2147483647 w 762"/>
                  <a:gd name="T5" fmla="*/ 2147483647 h 1338"/>
                  <a:gd name="T6" fmla="*/ 2147483647 w 762"/>
                  <a:gd name="T7" fmla="*/ 2147483647 h 1338"/>
                  <a:gd name="T8" fmla="*/ 2147483647 w 762"/>
                  <a:gd name="T9" fmla="*/ 2147483647 h 1338"/>
                  <a:gd name="T10" fmla="*/ 2147483647 w 762"/>
                  <a:gd name="T11" fmla="*/ 2147483647 h 1338"/>
                  <a:gd name="T12" fmla="*/ 2147483647 w 762"/>
                  <a:gd name="T13" fmla="*/ 2147483647 h 1338"/>
                  <a:gd name="T14" fmla="*/ 2147483647 w 762"/>
                  <a:gd name="T15" fmla="*/ 2147483647 h 1338"/>
                  <a:gd name="T16" fmla="*/ 2147483647 w 762"/>
                  <a:gd name="T17" fmla="*/ 2147483647 h 1338"/>
                  <a:gd name="T18" fmla="*/ 2147483647 w 762"/>
                  <a:gd name="T19" fmla="*/ 2147483647 h 1338"/>
                  <a:gd name="T20" fmla="*/ 2147483647 w 762"/>
                  <a:gd name="T21" fmla="*/ 2147483647 h 1338"/>
                  <a:gd name="T22" fmla="*/ 2147483647 w 762"/>
                  <a:gd name="T23" fmla="*/ 2147483647 h 1338"/>
                  <a:gd name="T24" fmla="*/ 2147483647 w 762"/>
                  <a:gd name="T25" fmla="*/ 2147483647 h 1338"/>
                  <a:gd name="T26" fmla="*/ 2147483647 w 762"/>
                  <a:gd name="T27" fmla="*/ 2147483647 h 1338"/>
                  <a:gd name="T28" fmla="*/ 2147483647 w 762"/>
                  <a:gd name="T29" fmla="*/ 2147483647 h 1338"/>
                  <a:gd name="T30" fmla="*/ 2147483647 w 762"/>
                  <a:gd name="T31" fmla="*/ 2147483647 h 1338"/>
                  <a:gd name="T32" fmla="*/ 2147483647 w 762"/>
                  <a:gd name="T33" fmla="*/ 2147483647 h 1338"/>
                  <a:gd name="T34" fmla="*/ 2147483647 w 762"/>
                  <a:gd name="T35" fmla="*/ 2147483647 h 1338"/>
                  <a:gd name="T36" fmla="*/ 2147483647 w 762"/>
                  <a:gd name="T37" fmla="*/ 2147483647 h 1338"/>
                  <a:gd name="T38" fmla="*/ 2147483647 w 762"/>
                  <a:gd name="T39" fmla="*/ 2147483647 h 1338"/>
                  <a:gd name="T40" fmla="*/ 2147483647 w 762"/>
                  <a:gd name="T41" fmla="*/ 2147483647 h 1338"/>
                  <a:gd name="T42" fmla="*/ 2147483647 w 762"/>
                  <a:gd name="T43" fmla="*/ 2147483647 h 1338"/>
                  <a:gd name="T44" fmla="*/ 2147483647 w 762"/>
                  <a:gd name="T45" fmla="*/ 2147483647 h 1338"/>
                  <a:gd name="T46" fmla="*/ 2147483647 w 762"/>
                  <a:gd name="T47" fmla="*/ 2147483647 h 1338"/>
                  <a:gd name="T48" fmla="*/ 2147483647 w 762"/>
                  <a:gd name="T49" fmla="*/ 2147483647 h 1338"/>
                  <a:gd name="T50" fmla="*/ 2147483647 w 762"/>
                  <a:gd name="T51" fmla="*/ 2147483647 h 1338"/>
                  <a:gd name="T52" fmla="*/ 2147483647 w 762"/>
                  <a:gd name="T53" fmla="*/ 2147483647 h 1338"/>
                  <a:gd name="T54" fmla="*/ 2147483647 w 762"/>
                  <a:gd name="T55" fmla="*/ 2147483647 h 1338"/>
                  <a:gd name="T56" fmla="*/ 0 w 762"/>
                  <a:gd name="T57" fmla="*/ 2147483647 h 1338"/>
                  <a:gd name="T58" fmla="*/ 2147483647 w 762"/>
                  <a:gd name="T59" fmla="*/ 2147483647 h 1338"/>
                  <a:gd name="T60" fmla="*/ 2147483647 w 762"/>
                  <a:gd name="T61" fmla="*/ 2147483647 h 1338"/>
                  <a:gd name="T62" fmla="*/ 2147483647 w 762"/>
                  <a:gd name="T63" fmla="*/ 2147483647 h 1338"/>
                  <a:gd name="T64" fmla="*/ 2147483647 w 762"/>
                  <a:gd name="T65" fmla="*/ 2147483647 h 1338"/>
                  <a:gd name="T66" fmla="*/ 2147483647 w 762"/>
                  <a:gd name="T67" fmla="*/ 2147483647 h 1338"/>
                  <a:gd name="T68" fmla="*/ 2147483647 w 762"/>
                  <a:gd name="T69" fmla="*/ 2147483647 h 1338"/>
                  <a:gd name="T70" fmla="*/ 2147483647 w 762"/>
                  <a:gd name="T71" fmla="*/ 2147483647 h 1338"/>
                  <a:gd name="T72" fmla="*/ 2147483647 w 762"/>
                  <a:gd name="T73" fmla="*/ 2147483647 h 1338"/>
                  <a:gd name="T74" fmla="*/ 2147483647 w 762"/>
                  <a:gd name="T75" fmla="*/ 2147483647 h 1338"/>
                  <a:gd name="T76" fmla="*/ 2147483647 w 762"/>
                  <a:gd name="T77" fmla="*/ 2147483647 h 1338"/>
                  <a:gd name="T78" fmla="*/ 2147483647 w 762"/>
                  <a:gd name="T79" fmla="*/ 2147483647 h 1338"/>
                  <a:gd name="T80" fmla="*/ 2147483647 w 762"/>
                  <a:gd name="T81" fmla="*/ 2147483647 h 1338"/>
                  <a:gd name="T82" fmla="*/ 2147483647 w 762"/>
                  <a:gd name="T83" fmla="*/ 2147483647 h 1338"/>
                  <a:gd name="T84" fmla="*/ 2147483647 w 762"/>
                  <a:gd name="T85" fmla="*/ 2147483647 h 1338"/>
                  <a:gd name="T86" fmla="*/ 2147483647 w 762"/>
                  <a:gd name="T87" fmla="*/ 2147483647 h 1338"/>
                  <a:gd name="T88" fmla="*/ 2147483647 w 762"/>
                  <a:gd name="T89" fmla="*/ 2147483647 h 1338"/>
                  <a:gd name="T90" fmla="*/ 2147483647 w 762"/>
                  <a:gd name="T91" fmla="*/ 2147483647 h 1338"/>
                  <a:gd name="T92" fmla="*/ 2147483647 w 762"/>
                  <a:gd name="T93" fmla="*/ 2147483647 h 1338"/>
                  <a:gd name="T94" fmla="*/ 2147483647 w 762"/>
                  <a:gd name="T95" fmla="*/ 2147483647 h 1338"/>
                  <a:gd name="T96" fmla="*/ 2147483647 w 762"/>
                  <a:gd name="T97" fmla="*/ 2147483647 h 1338"/>
                  <a:gd name="T98" fmla="*/ 2147483647 w 762"/>
                  <a:gd name="T99" fmla="*/ 2147483647 h 1338"/>
                  <a:gd name="T100" fmla="*/ 2147483647 w 762"/>
                  <a:gd name="T101" fmla="*/ 2147483647 h 1338"/>
                  <a:gd name="T102" fmla="*/ 2147483647 w 762"/>
                  <a:gd name="T103" fmla="*/ 2147483647 h 1338"/>
                  <a:gd name="T104" fmla="*/ 2147483647 w 762"/>
                  <a:gd name="T105" fmla="*/ 2147483647 h 1338"/>
                  <a:gd name="T106" fmla="*/ 2147483647 w 762"/>
                  <a:gd name="T107" fmla="*/ 2147483647 h 1338"/>
                  <a:gd name="T108" fmla="*/ 2147483647 w 762"/>
                  <a:gd name="T109" fmla="*/ 2147483647 h 1338"/>
                  <a:gd name="T110" fmla="*/ 2147483647 w 762"/>
                  <a:gd name="T111" fmla="*/ 2147483647 h 1338"/>
                  <a:gd name="T112" fmla="*/ 2147483647 w 762"/>
                  <a:gd name="T113" fmla="*/ 2147483647 h 1338"/>
                  <a:gd name="T114" fmla="*/ 2147483647 w 762"/>
                  <a:gd name="T115" fmla="*/ 2147483647 h 1338"/>
                  <a:gd name="T116" fmla="*/ 2147483647 w 762"/>
                  <a:gd name="T117" fmla="*/ 2147483647 h 1338"/>
                  <a:gd name="T118" fmla="*/ 2147483647 w 762"/>
                  <a:gd name="T119" fmla="*/ 2147483647 h 1338"/>
                  <a:gd name="T120" fmla="*/ 2147483647 w 762"/>
                  <a:gd name="T121" fmla="*/ 2147483647 h 1338"/>
                  <a:gd name="T122" fmla="*/ 2147483647 w 762"/>
                  <a:gd name="T123" fmla="*/ 2147483647 h 133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62"/>
                  <a:gd name="T187" fmla="*/ 0 h 1338"/>
                  <a:gd name="T188" fmla="*/ 762 w 762"/>
                  <a:gd name="T189" fmla="*/ 1338 h 133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62" h="1338">
                    <a:moveTo>
                      <a:pt x="762" y="342"/>
                    </a:moveTo>
                    <a:lnTo>
                      <a:pt x="762" y="324"/>
                    </a:lnTo>
                    <a:lnTo>
                      <a:pt x="756" y="318"/>
                    </a:lnTo>
                    <a:lnTo>
                      <a:pt x="744" y="318"/>
                    </a:lnTo>
                    <a:lnTo>
                      <a:pt x="744" y="258"/>
                    </a:lnTo>
                    <a:lnTo>
                      <a:pt x="732" y="246"/>
                    </a:lnTo>
                    <a:lnTo>
                      <a:pt x="750" y="234"/>
                    </a:lnTo>
                    <a:lnTo>
                      <a:pt x="738" y="186"/>
                    </a:lnTo>
                    <a:lnTo>
                      <a:pt x="750" y="156"/>
                    </a:lnTo>
                    <a:lnTo>
                      <a:pt x="738" y="120"/>
                    </a:lnTo>
                    <a:lnTo>
                      <a:pt x="738" y="108"/>
                    </a:lnTo>
                    <a:lnTo>
                      <a:pt x="750" y="72"/>
                    </a:lnTo>
                    <a:lnTo>
                      <a:pt x="756" y="42"/>
                    </a:lnTo>
                    <a:lnTo>
                      <a:pt x="756" y="12"/>
                    </a:lnTo>
                    <a:lnTo>
                      <a:pt x="744" y="0"/>
                    </a:lnTo>
                    <a:lnTo>
                      <a:pt x="666" y="54"/>
                    </a:lnTo>
                    <a:lnTo>
                      <a:pt x="636" y="60"/>
                    </a:lnTo>
                    <a:lnTo>
                      <a:pt x="630" y="60"/>
                    </a:lnTo>
                    <a:lnTo>
                      <a:pt x="618" y="72"/>
                    </a:lnTo>
                    <a:lnTo>
                      <a:pt x="606" y="78"/>
                    </a:lnTo>
                    <a:lnTo>
                      <a:pt x="594" y="78"/>
                    </a:lnTo>
                    <a:lnTo>
                      <a:pt x="594" y="72"/>
                    </a:lnTo>
                    <a:lnTo>
                      <a:pt x="588" y="66"/>
                    </a:lnTo>
                    <a:lnTo>
                      <a:pt x="564" y="66"/>
                    </a:lnTo>
                    <a:lnTo>
                      <a:pt x="558" y="72"/>
                    </a:lnTo>
                    <a:lnTo>
                      <a:pt x="552" y="84"/>
                    </a:lnTo>
                    <a:lnTo>
                      <a:pt x="540" y="90"/>
                    </a:lnTo>
                    <a:lnTo>
                      <a:pt x="528" y="102"/>
                    </a:lnTo>
                    <a:lnTo>
                      <a:pt x="510" y="102"/>
                    </a:lnTo>
                    <a:lnTo>
                      <a:pt x="498" y="96"/>
                    </a:lnTo>
                    <a:lnTo>
                      <a:pt x="492" y="90"/>
                    </a:lnTo>
                    <a:lnTo>
                      <a:pt x="486" y="90"/>
                    </a:lnTo>
                    <a:lnTo>
                      <a:pt x="468" y="108"/>
                    </a:lnTo>
                    <a:lnTo>
                      <a:pt x="456" y="108"/>
                    </a:lnTo>
                    <a:lnTo>
                      <a:pt x="450" y="102"/>
                    </a:lnTo>
                    <a:lnTo>
                      <a:pt x="438" y="96"/>
                    </a:lnTo>
                    <a:lnTo>
                      <a:pt x="432" y="84"/>
                    </a:lnTo>
                    <a:lnTo>
                      <a:pt x="420" y="78"/>
                    </a:lnTo>
                    <a:lnTo>
                      <a:pt x="408" y="78"/>
                    </a:lnTo>
                    <a:lnTo>
                      <a:pt x="396" y="90"/>
                    </a:lnTo>
                    <a:lnTo>
                      <a:pt x="390" y="90"/>
                    </a:lnTo>
                    <a:lnTo>
                      <a:pt x="384" y="96"/>
                    </a:lnTo>
                    <a:lnTo>
                      <a:pt x="354" y="96"/>
                    </a:lnTo>
                    <a:lnTo>
                      <a:pt x="354" y="114"/>
                    </a:lnTo>
                    <a:lnTo>
                      <a:pt x="330" y="138"/>
                    </a:lnTo>
                    <a:lnTo>
                      <a:pt x="330" y="150"/>
                    </a:lnTo>
                    <a:lnTo>
                      <a:pt x="342" y="162"/>
                    </a:lnTo>
                    <a:lnTo>
                      <a:pt x="348" y="174"/>
                    </a:lnTo>
                    <a:lnTo>
                      <a:pt x="348" y="204"/>
                    </a:lnTo>
                    <a:lnTo>
                      <a:pt x="342" y="216"/>
                    </a:lnTo>
                    <a:lnTo>
                      <a:pt x="336" y="234"/>
                    </a:lnTo>
                    <a:lnTo>
                      <a:pt x="336" y="246"/>
                    </a:lnTo>
                    <a:lnTo>
                      <a:pt x="342" y="246"/>
                    </a:lnTo>
                    <a:lnTo>
                      <a:pt x="342" y="252"/>
                    </a:lnTo>
                    <a:lnTo>
                      <a:pt x="348" y="252"/>
                    </a:lnTo>
                    <a:lnTo>
                      <a:pt x="372" y="276"/>
                    </a:lnTo>
                    <a:lnTo>
                      <a:pt x="384" y="300"/>
                    </a:lnTo>
                    <a:lnTo>
                      <a:pt x="390" y="306"/>
                    </a:lnTo>
                    <a:lnTo>
                      <a:pt x="396" y="318"/>
                    </a:lnTo>
                    <a:lnTo>
                      <a:pt x="408" y="336"/>
                    </a:lnTo>
                    <a:lnTo>
                      <a:pt x="420" y="348"/>
                    </a:lnTo>
                    <a:lnTo>
                      <a:pt x="420" y="366"/>
                    </a:lnTo>
                    <a:lnTo>
                      <a:pt x="414" y="372"/>
                    </a:lnTo>
                    <a:lnTo>
                      <a:pt x="408" y="384"/>
                    </a:lnTo>
                    <a:lnTo>
                      <a:pt x="402" y="390"/>
                    </a:lnTo>
                    <a:lnTo>
                      <a:pt x="402" y="450"/>
                    </a:lnTo>
                    <a:lnTo>
                      <a:pt x="396" y="456"/>
                    </a:lnTo>
                    <a:lnTo>
                      <a:pt x="372" y="456"/>
                    </a:lnTo>
                    <a:lnTo>
                      <a:pt x="360" y="462"/>
                    </a:lnTo>
                    <a:lnTo>
                      <a:pt x="354" y="474"/>
                    </a:lnTo>
                    <a:lnTo>
                      <a:pt x="354" y="492"/>
                    </a:lnTo>
                    <a:lnTo>
                      <a:pt x="360" y="492"/>
                    </a:lnTo>
                    <a:lnTo>
                      <a:pt x="366" y="498"/>
                    </a:lnTo>
                    <a:lnTo>
                      <a:pt x="366" y="528"/>
                    </a:lnTo>
                    <a:lnTo>
                      <a:pt x="354" y="534"/>
                    </a:lnTo>
                    <a:lnTo>
                      <a:pt x="348" y="540"/>
                    </a:lnTo>
                    <a:lnTo>
                      <a:pt x="342" y="534"/>
                    </a:lnTo>
                    <a:lnTo>
                      <a:pt x="342" y="522"/>
                    </a:lnTo>
                    <a:lnTo>
                      <a:pt x="348" y="516"/>
                    </a:lnTo>
                    <a:lnTo>
                      <a:pt x="348" y="504"/>
                    </a:lnTo>
                    <a:lnTo>
                      <a:pt x="336" y="498"/>
                    </a:lnTo>
                    <a:lnTo>
                      <a:pt x="330" y="492"/>
                    </a:lnTo>
                    <a:lnTo>
                      <a:pt x="318" y="486"/>
                    </a:lnTo>
                    <a:lnTo>
                      <a:pt x="312" y="480"/>
                    </a:lnTo>
                    <a:lnTo>
                      <a:pt x="300" y="474"/>
                    </a:lnTo>
                    <a:lnTo>
                      <a:pt x="300" y="444"/>
                    </a:lnTo>
                    <a:lnTo>
                      <a:pt x="288" y="444"/>
                    </a:lnTo>
                    <a:lnTo>
                      <a:pt x="288" y="438"/>
                    </a:lnTo>
                    <a:lnTo>
                      <a:pt x="294" y="432"/>
                    </a:lnTo>
                    <a:lnTo>
                      <a:pt x="306" y="426"/>
                    </a:lnTo>
                    <a:lnTo>
                      <a:pt x="312" y="420"/>
                    </a:lnTo>
                    <a:lnTo>
                      <a:pt x="300" y="402"/>
                    </a:lnTo>
                    <a:lnTo>
                      <a:pt x="312" y="396"/>
                    </a:lnTo>
                    <a:lnTo>
                      <a:pt x="318" y="366"/>
                    </a:lnTo>
                    <a:lnTo>
                      <a:pt x="312" y="366"/>
                    </a:lnTo>
                    <a:lnTo>
                      <a:pt x="312" y="330"/>
                    </a:lnTo>
                    <a:lnTo>
                      <a:pt x="306" y="324"/>
                    </a:lnTo>
                    <a:lnTo>
                      <a:pt x="288" y="324"/>
                    </a:lnTo>
                    <a:lnTo>
                      <a:pt x="282" y="330"/>
                    </a:lnTo>
                    <a:lnTo>
                      <a:pt x="252" y="330"/>
                    </a:lnTo>
                    <a:lnTo>
                      <a:pt x="222" y="282"/>
                    </a:lnTo>
                    <a:lnTo>
                      <a:pt x="216" y="282"/>
                    </a:lnTo>
                    <a:lnTo>
                      <a:pt x="210" y="288"/>
                    </a:lnTo>
                    <a:lnTo>
                      <a:pt x="192" y="294"/>
                    </a:lnTo>
                    <a:lnTo>
                      <a:pt x="180" y="300"/>
                    </a:lnTo>
                    <a:lnTo>
                      <a:pt x="162" y="312"/>
                    </a:lnTo>
                    <a:lnTo>
                      <a:pt x="138" y="324"/>
                    </a:lnTo>
                    <a:lnTo>
                      <a:pt x="132" y="324"/>
                    </a:lnTo>
                    <a:lnTo>
                      <a:pt x="120" y="330"/>
                    </a:lnTo>
                    <a:lnTo>
                      <a:pt x="102" y="336"/>
                    </a:lnTo>
                    <a:lnTo>
                      <a:pt x="84" y="336"/>
                    </a:lnTo>
                    <a:lnTo>
                      <a:pt x="72" y="342"/>
                    </a:lnTo>
                    <a:lnTo>
                      <a:pt x="60" y="342"/>
                    </a:lnTo>
                    <a:lnTo>
                      <a:pt x="42" y="360"/>
                    </a:lnTo>
                    <a:lnTo>
                      <a:pt x="12" y="360"/>
                    </a:lnTo>
                    <a:lnTo>
                      <a:pt x="0" y="372"/>
                    </a:lnTo>
                    <a:lnTo>
                      <a:pt x="18" y="390"/>
                    </a:lnTo>
                    <a:lnTo>
                      <a:pt x="24" y="444"/>
                    </a:lnTo>
                    <a:lnTo>
                      <a:pt x="84" y="444"/>
                    </a:lnTo>
                    <a:lnTo>
                      <a:pt x="96" y="462"/>
                    </a:lnTo>
                    <a:lnTo>
                      <a:pt x="114" y="462"/>
                    </a:lnTo>
                    <a:lnTo>
                      <a:pt x="132" y="486"/>
                    </a:lnTo>
                    <a:lnTo>
                      <a:pt x="138" y="486"/>
                    </a:lnTo>
                    <a:lnTo>
                      <a:pt x="150" y="480"/>
                    </a:lnTo>
                    <a:lnTo>
                      <a:pt x="162" y="480"/>
                    </a:lnTo>
                    <a:lnTo>
                      <a:pt x="180" y="498"/>
                    </a:lnTo>
                    <a:lnTo>
                      <a:pt x="192" y="498"/>
                    </a:lnTo>
                    <a:lnTo>
                      <a:pt x="204" y="510"/>
                    </a:lnTo>
                    <a:lnTo>
                      <a:pt x="204" y="516"/>
                    </a:lnTo>
                    <a:lnTo>
                      <a:pt x="198" y="528"/>
                    </a:lnTo>
                    <a:lnTo>
                      <a:pt x="192" y="534"/>
                    </a:lnTo>
                    <a:lnTo>
                      <a:pt x="204" y="552"/>
                    </a:lnTo>
                    <a:lnTo>
                      <a:pt x="192" y="564"/>
                    </a:lnTo>
                    <a:lnTo>
                      <a:pt x="204" y="576"/>
                    </a:lnTo>
                    <a:lnTo>
                      <a:pt x="198" y="582"/>
                    </a:lnTo>
                    <a:lnTo>
                      <a:pt x="198" y="588"/>
                    </a:lnTo>
                    <a:lnTo>
                      <a:pt x="192" y="594"/>
                    </a:lnTo>
                    <a:lnTo>
                      <a:pt x="192" y="606"/>
                    </a:lnTo>
                    <a:lnTo>
                      <a:pt x="204" y="630"/>
                    </a:lnTo>
                    <a:lnTo>
                      <a:pt x="204" y="642"/>
                    </a:lnTo>
                    <a:lnTo>
                      <a:pt x="198" y="648"/>
                    </a:lnTo>
                    <a:lnTo>
                      <a:pt x="198" y="654"/>
                    </a:lnTo>
                    <a:lnTo>
                      <a:pt x="192" y="654"/>
                    </a:lnTo>
                    <a:lnTo>
                      <a:pt x="192" y="666"/>
                    </a:lnTo>
                    <a:lnTo>
                      <a:pt x="174" y="678"/>
                    </a:lnTo>
                    <a:lnTo>
                      <a:pt x="192" y="702"/>
                    </a:lnTo>
                    <a:lnTo>
                      <a:pt x="174" y="720"/>
                    </a:lnTo>
                    <a:lnTo>
                      <a:pt x="174" y="732"/>
                    </a:lnTo>
                    <a:lnTo>
                      <a:pt x="198" y="756"/>
                    </a:lnTo>
                    <a:lnTo>
                      <a:pt x="198" y="762"/>
                    </a:lnTo>
                    <a:lnTo>
                      <a:pt x="192" y="774"/>
                    </a:lnTo>
                    <a:lnTo>
                      <a:pt x="180" y="786"/>
                    </a:lnTo>
                    <a:lnTo>
                      <a:pt x="180" y="798"/>
                    </a:lnTo>
                    <a:lnTo>
                      <a:pt x="168" y="810"/>
                    </a:lnTo>
                    <a:lnTo>
                      <a:pt x="156" y="816"/>
                    </a:lnTo>
                    <a:lnTo>
                      <a:pt x="156" y="846"/>
                    </a:lnTo>
                    <a:lnTo>
                      <a:pt x="144" y="858"/>
                    </a:lnTo>
                    <a:lnTo>
                      <a:pt x="156" y="876"/>
                    </a:lnTo>
                    <a:lnTo>
                      <a:pt x="138" y="882"/>
                    </a:lnTo>
                    <a:lnTo>
                      <a:pt x="72" y="966"/>
                    </a:lnTo>
                    <a:lnTo>
                      <a:pt x="72" y="996"/>
                    </a:lnTo>
                    <a:lnTo>
                      <a:pt x="78" y="1014"/>
                    </a:lnTo>
                    <a:lnTo>
                      <a:pt x="78" y="1032"/>
                    </a:lnTo>
                    <a:lnTo>
                      <a:pt x="84" y="1044"/>
                    </a:lnTo>
                    <a:lnTo>
                      <a:pt x="84" y="1062"/>
                    </a:lnTo>
                    <a:lnTo>
                      <a:pt x="114" y="1122"/>
                    </a:lnTo>
                    <a:lnTo>
                      <a:pt x="114" y="1212"/>
                    </a:lnTo>
                    <a:lnTo>
                      <a:pt x="90" y="1248"/>
                    </a:lnTo>
                    <a:lnTo>
                      <a:pt x="114" y="1248"/>
                    </a:lnTo>
                    <a:lnTo>
                      <a:pt x="108" y="1260"/>
                    </a:lnTo>
                    <a:lnTo>
                      <a:pt x="108" y="1284"/>
                    </a:lnTo>
                    <a:lnTo>
                      <a:pt x="114" y="1290"/>
                    </a:lnTo>
                    <a:lnTo>
                      <a:pt x="120" y="1290"/>
                    </a:lnTo>
                    <a:lnTo>
                      <a:pt x="126" y="1314"/>
                    </a:lnTo>
                    <a:lnTo>
                      <a:pt x="144" y="1314"/>
                    </a:lnTo>
                    <a:lnTo>
                      <a:pt x="156" y="1326"/>
                    </a:lnTo>
                    <a:lnTo>
                      <a:pt x="162" y="1338"/>
                    </a:lnTo>
                    <a:lnTo>
                      <a:pt x="168" y="1320"/>
                    </a:lnTo>
                    <a:lnTo>
                      <a:pt x="168" y="1284"/>
                    </a:lnTo>
                    <a:lnTo>
                      <a:pt x="162" y="1272"/>
                    </a:lnTo>
                    <a:lnTo>
                      <a:pt x="156" y="1266"/>
                    </a:lnTo>
                    <a:lnTo>
                      <a:pt x="150" y="1266"/>
                    </a:lnTo>
                    <a:lnTo>
                      <a:pt x="150" y="1242"/>
                    </a:lnTo>
                    <a:lnTo>
                      <a:pt x="162" y="1230"/>
                    </a:lnTo>
                    <a:lnTo>
                      <a:pt x="222" y="1188"/>
                    </a:lnTo>
                    <a:lnTo>
                      <a:pt x="276" y="1158"/>
                    </a:lnTo>
                    <a:lnTo>
                      <a:pt x="294" y="1146"/>
                    </a:lnTo>
                    <a:lnTo>
                      <a:pt x="312" y="1140"/>
                    </a:lnTo>
                    <a:lnTo>
                      <a:pt x="330" y="1128"/>
                    </a:lnTo>
                    <a:lnTo>
                      <a:pt x="342" y="1122"/>
                    </a:lnTo>
                    <a:lnTo>
                      <a:pt x="360" y="1104"/>
                    </a:lnTo>
                    <a:lnTo>
                      <a:pt x="360" y="1080"/>
                    </a:lnTo>
                    <a:lnTo>
                      <a:pt x="354" y="1080"/>
                    </a:lnTo>
                    <a:lnTo>
                      <a:pt x="354" y="1086"/>
                    </a:lnTo>
                    <a:lnTo>
                      <a:pt x="348" y="1080"/>
                    </a:lnTo>
                    <a:lnTo>
                      <a:pt x="342" y="1080"/>
                    </a:lnTo>
                    <a:lnTo>
                      <a:pt x="342" y="1068"/>
                    </a:lnTo>
                    <a:lnTo>
                      <a:pt x="366" y="1020"/>
                    </a:lnTo>
                    <a:lnTo>
                      <a:pt x="366" y="990"/>
                    </a:lnTo>
                    <a:lnTo>
                      <a:pt x="360" y="984"/>
                    </a:lnTo>
                    <a:lnTo>
                      <a:pt x="360" y="978"/>
                    </a:lnTo>
                    <a:lnTo>
                      <a:pt x="372" y="948"/>
                    </a:lnTo>
                    <a:lnTo>
                      <a:pt x="366" y="942"/>
                    </a:lnTo>
                    <a:lnTo>
                      <a:pt x="348" y="960"/>
                    </a:lnTo>
                    <a:lnTo>
                      <a:pt x="354" y="918"/>
                    </a:lnTo>
                    <a:lnTo>
                      <a:pt x="348" y="906"/>
                    </a:lnTo>
                    <a:lnTo>
                      <a:pt x="336" y="900"/>
                    </a:lnTo>
                    <a:lnTo>
                      <a:pt x="330" y="888"/>
                    </a:lnTo>
                    <a:lnTo>
                      <a:pt x="330" y="870"/>
                    </a:lnTo>
                    <a:lnTo>
                      <a:pt x="336" y="858"/>
                    </a:lnTo>
                    <a:lnTo>
                      <a:pt x="336" y="834"/>
                    </a:lnTo>
                    <a:lnTo>
                      <a:pt x="324" y="822"/>
                    </a:lnTo>
                    <a:lnTo>
                      <a:pt x="318" y="822"/>
                    </a:lnTo>
                    <a:lnTo>
                      <a:pt x="312" y="816"/>
                    </a:lnTo>
                    <a:lnTo>
                      <a:pt x="312" y="792"/>
                    </a:lnTo>
                    <a:lnTo>
                      <a:pt x="318" y="780"/>
                    </a:lnTo>
                    <a:lnTo>
                      <a:pt x="324" y="762"/>
                    </a:lnTo>
                    <a:lnTo>
                      <a:pt x="336" y="750"/>
                    </a:lnTo>
                    <a:lnTo>
                      <a:pt x="372" y="732"/>
                    </a:lnTo>
                    <a:lnTo>
                      <a:pt x="378" y="726"/>
                    </a:lnTo>
                    <a:lnTo>
                      <a:pt x="378" y="714"/>
                    </a:lnTo>
                    <a:lnTo>
                      <a:pt x="390" y="690"/>
                    </a:lnTo>
                    <a:lnTo>
                      <a:pt x="396" y="684"/>
                    </a:lnTo>
                    <a:lnTo>
                      <a:pt x="402" y="684"/>
                    </a:lnTo>
                    <a:lnTo>
                      <a:pt x="414" y="678"/>
                    </a:lnTo>
                    <a:lnTo>
                      <a:pt x="420" y="678"/>
                    </a:lnTo>
                    <a:lnTo>
                      <a:pt x="426" y="672"/>
                    </a:lnTo>
                    <a:lnTo>
                      <a:pt x="450" y="660"/>
                    </a:lnTo>
                    <a:lnTo>
                      <a:pt x="462" y="648"/>
                    </a:lnTo>
                    <a:lnTo>
                      <a:pt x="474" y="612"/>
                    </a:lnTo>
                    <a:lnTo>
                      <a:pt x="498" y="576"/>
                    </a:lnTo>
                    <a:lnTo>
                      <a:pt x="522" y="564"/>
                    </a:lnTo>
                    <a:lnTo>
                      <a:pt x="558" y="552"/>
                    </a:lnTo>
                    <a:lnTo>
                      <a:pt x="600" y="534"/>
                    </a:lnTo>
                    <a:lnTo>
                      <a:pt x="624" y="522"/>
                    </a:lnTo>
                    <a:lnTo>
                      <a:pt x="630" y="516"/>
                    </a:lnTo>
                    <a:lnTo>
                      <a:pt x="666" y="498"/>
                    </a:lnTo>
                    <a:lnTo>
                      <a:pt x="672" y="492"/>
                    </a:lnTo>
                    <a:lnTo>
                      <a:pt x="684" y="486"/>
                    </a:lnTo>
                    <a:lnTo>
                      <a:pt x="684" y="474"/>
                    </a:lnTo>
                    <a:lnTo>
                      <a:pt x="714" y="444"/>
                    </a:lnTo>
                    <a:lnTo>
                      <a:pt x="714" y="432"/>
                    </a:lnTo>
                    <a:lnTo>
                      <a:pt x="720" y="420"/>
                    </a:lnTo>
                    <a:lnTo>
                      <a:pt x="732" y="414"/>
                    </a:lnTo>
                    <a:lnTo>
                      <a:pt x="738" y="402"/>
                    </a:lnTo>
                    <a:lnTo>
                      <a:pt x="744" y="396"/>
                    </a:lnTo>
                    <a:lnTo>
                      <a:pt x="744" y="378"/>
                    </a:lnTo>
                    <a:lnTo>
                      <a:pt x="750" y="372"/>
                    </a:lnTo>
                    <a:lnTo>
                      <a:pt x="762" y="348"/>
                    </a:lnTo>
                    <a:lnTo>
                      <a:pt x="762" y="342"/>
                    </a:lnTo>
                    <a:close/>
                  </a:path>
                </a:pathLst>
              </a:custGeom>
              <a:solidFill>
                <a:srgbClr val="9D90A0">
                  <a:lumMod val="40000"/>
                  <a:lumOff val="60000"/>
                </a:srgbClr>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134" name="Morocco" descr="© INSCALE GmbH, 05.05.2010&#10;http://www.presentationload.com/">
                <a:extLst>
                  <a:ext uri="{FF2B5EF4-FFF2-40B4-BE49-F238E27FC236}">
                    <a16:creationId xmlns:a16="http://schemas.microsoft.com/office/drawing/2014/main" id="{417473E8-BF90-4311-BBFD-80ED8EA2270D}"/>
                  </a:ext>
                </a:extLst>
              </p:cNvPr>
              <p:cNvSpPr>
                <a:spLocks/>
              </p:cNvSpPr>
              <p:nvPr/>
            </p:nvSpPr>
            <p:spPr bwMode="gray">
              <a:xfrm>
                <a:off x="3863723" y="3283966"/>
                <a:ext cx="336941" cy="289361"/>
              </a:xfrm>
              <a:custGeom>
                <a:avLst/>
                <a:gdLst>
                  <a:gd name="T0" fmla="*/ 2147483647 w 846"/>
                  <a:gd name="T1" fmla="*/ 2147483647 h 660"/>
                  <a:gd name="T2" fmla="*/ 2147483647 w 846"/>
                  <a:gd name="T3" fmla="*/ 2147483647 h 660"/>
                  <a:gd name="T4" fmla="*/ 2147483647 w 846"/>
                  <a:gd name="T5" fmla="*/ 2147483647 h 660"/>
                  <a:gd name="T6" fmla="*/ 2147483647 w 846"/>
                  <a:gd name="T7" fmla="*/ 2147483647 h 660"/>
                  <a:gd name="T8" fmla="*/ 2147483647 w 846"/>
                  <a:gd name="T9" fmla="*/ 2147483647 h 660"/>
                  <a:gd name="T10" fmla="*/ 2147483647 w 846"/>
                  <a:gd name="T11" fmla="*/ 2147483647 h 660"/>
                  <a:gd name="T12" fmla="*/ 2147483647 w 846"/>
                  <a:gd name="T13" fmla="*/ 2147483647 h 660"/>
                  <a:gd name="T14" fmla="*/ 2147483647 w 846"/>
                  <a:gd name="T15" fmla="*/ 2147483647 h 660"/>
                  <a:gd name="T16" fmla="*/ 2147483647 w 846"/>
                  <a:gd name="T17" fmla="*/ 2147483647 h 660"/>
                  <a:gd name="T18" fmla="*/ 2147483647 w 846"/>
                  <a:gd name="T19" fmla="*/ 0 h 660"/>
                  <a:gd name="T20" fmla="*/ 2147483647 w 846"/>
                  <a:gd name="T21" fmla="*/ 2147483647 h 660"/>
                  <a:gd name="T22" fmla="*/ 2147483647 w 846"/>
                  <a:gd name="T23" fmla="*/ 2147483647 h 660"/>
                  <a:gd name="T24" fmla="*/ 2147483647 w 846"/>
                  <a:gd name="T25" fmla="*/ 2147483647 h 660"/>
                  <a:gd name="T26" fmla="*/ 2147483647 w 846"/>
                  <a:gd name="T27" fmla="*/ 2147483647 h 660"/>
                  <a:gd name="T28" fmla="*/ 2147483647 w 846"/>
                  <a:gd name="T29" fmla="*/ 2147483647 h 660"/>
                  <a:gd name="T30" fmla="*/ 2147483647 w 846"/>
                  <a:gd name="T31" fmla="*/ 2147483647 h 660"/>
                  <a:gd name="T32" fmla="*/ 2147483647 w 846"/>
                  <a:gd name="T33" fmla="*/ 2147483647 h 660"/>
                  <a:gd name="T34" fmla="*/ 2147483647 w 846"/>
                  <a:gd name="T35" fmla="*/ 2147483647 h 660"/>
                  <a:gd name="T36" fmla="*/ 2147483647 w 846"/>
                  <a:gd name="T37" fmla="*/ 2147483647 h 660"/>
                  <a:gd name="T38" fmla="*/ 2147483647 w 846"/>
                  <a:gd name="T39" fmla="*/ 2147483647 h 660"/>
                  <a:gd name="T40" fmla="*/ 2147483647 w 846"/>
                  <a:gd name="T41" fmla="*/ 2147483647 h 660"/>
                  <a:gd name="T42" fmla="*/ 2147483647 w 846"/>
                  <a:gd name="T43" fmla="*/ 2147483647 h 660"/>
                  <a:gd name="T44" fmla="*/ 2147483647 w 846"/>
                  <a:gd name="T45" fmla="*/ 2147483647 h 660"/>
                  <a:gd name="T46" fmla="*/ 2147483647 w 846"/>
                  <a:gd name="T47" fmla="*/ 2147483647 h 660"/>
                  <a:gd name="T48" fmla="*/ 2147483647 w 846"/>
                  <a:gd name="T49" fmla="*/ 2147483647 h 660"/>
                  <a:gd name="T50" fmla="*/ 2147483647 w 846"/>
                  <a:gd name="T51" fmla="*/ 2147483647 h 660"/>
                  <a:gd name="T52" fmla="*/ 2147483647 w 846"/>
                  <a:gd name="T53" fmla="*/ 2147483647 h 660"/>
                  <a:gd name="T54" fmla="*/ 2147483647 w 846"/>
                  <a:gd name="T55" fmla="*/ 2147483647 h 660"/>
                  <a:gd name="T56" fmla="*/ 2147483647 w 846"/>
                  <a:gd name="T57" fmla="*/ 2147483647 h 660"/>
                  <a:gd name="T58" fmla="*/ 2147483647 w 846"/>
                  <a:gd name="T59" fmla="*/ 2147483647 h 660"/>
                  <a:gd name="T60" fmla="*/ 2147483647 w 846"/>
                  <a:gd name="T61" fmla="*/ 2147483647 h 660"/>
                  <a:gd name="T62" fmla="*/ 2147483647 w 846"/>
                  <a:gd name="T63" fmla="*/ 2147483647 h 660"/>
                  <a:gd name="T64" fmla="*/ 2147483647 w 846"/>
                  <a:gd name="T65" fmla="*/ 2147483647 h 660"/>
                  <a:gd name="T66" fmla="*/ 2147483647 w 846"/>
                  <a:gd name="T67" fmla="*/ 2147483647 h 660"/>
                  <a:gd name="T68" fmla="*/ 2147483647 w 846"/>
                  <a:gd name="T69" fmla="*/ 2147483647 h 660"/>
                  <a:gd name="T70" fmla="*/ 2147483647 w 846"/>
                  <a:gd name="T71" fmla="*/ 2147483647 h 660"/>
                  <a:gd name="T72" fmla="*/ 2147483647 w 846"/>
                  <a:gd name="T73" fmla="*/ 2147483647 h 660"/>
                  <a:gd name="T74" fmla="*/ 2147483647 w 846"/>
                  <a:gd name="T75" fmla="*/ 2147483647 h 660"/>
                  <a:gd name="T76" fmla="*/ 2147483647 w 846"/>
                  <a:gd name="T77" fmla="*/ 2147483647 h 660"/>
                  <a:gd name="T78" fmla="*/ 2147483647 w 846"/>
                  <a:gd name="T79" fmla="*/ 2147483647 h 660"/>
                  <a:gd name="T80" fmla="*/ 2147483647 w 846"/>
                  <a:gd name="T81" fmla="*/ 2147483647 h 660"/>
                  <a:gd name="T82" fmla="*/ 2147483647 w 846"/>
                  <a:gd name="T83" fmla="*/ 2147483647 h 660"/>
                  <a:gd name="T84" fmla="*/ 2147483647 w 846"/>
                  <a:gd name="T85" fmla="*/ 2147483647 h 660"/>
                  <a:gd name="T86" fmla="*/ 2147483647 w 846"/>
                  <a:gd name="T87" fmla="*/ 2147483647 h 660"/>
                  <a:gd name="T88" fmla="*/ 2147483647 w 846"/>
                  <a:gd name="T89" fmla="*/ 2147483647 h 66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846"/>
                  <a:gd name="T136" fmla="*/ 0 h 660"/>
                  <a:gd name="T137" fmla="*/ 846 w 846"/>
                  <a:gd name="T138" fmla="*/ 660 h 660"/>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846" h="660">
                    <a:moveTo>
                      <a:pt x="822" y="246"/>
                    </a:moveTo>
                    <a:lnTo>
                      <a:pt x="822" y="216"/>
                    </a:lnTo>
                    <a:lnTo>
                      <a:pt x="804" y="216"/>
                    </a:lnTo>
                    <a:lnTo>
                      <a:pt x="816" y="186"/>
                    </a:lnTo>
                    <a:lnTo>
                      <a:pt x="804" y="168"/>
                    </a:lnTo>
                    <a:lnTo>
                      <a:pt x="810" y="102"/>
                    </a:lnTo>
                    <a:lnTo>
                      <a:pt x="798" y="102"/>
                    </a:lnTo>
                    <a:lnTo>
                      <a:pt x="798" y="90"/>
                    </a:lnTo>
                    <a:lnTo>
                      <a:pt x="804" y="84"/>
                    </a:lnTo>
                    <a:lnTo>
                      <a:pt x="792" y="78"/>
                    </a:lnTo>
                    <a:lnTo>
                      <a:pt x="786" y="66"/>
                    </a:lnTo>
                    <a:lnTo>
                      <a:pt x="780" y="60"/>
                    </a:lnTo>
                    <a:lnTo>
                      <a:pt x="744" y="42"/>
                    </a:lnTo>
                    <a:lnTo>
                      <a:pt x="720" y="42"/>
                    </a:lnTo>
                    <a:lnTo>
                      <a:pt x="708" y="48"/>
                    </a:lnTo>
                    <a:lnTo>
                      <a:pt x="702" y="54"/>
                    </a:lnTo>
                    <a:lnTo>
                      <a:pt x="696" y="54"/>
                    </a:lnTo>
                    <a:lnTo>
                      <a:pt x="690" y="48"/>
                    </a:lnTo>
                    <a:lnTo>
                      <a:pt x="678" y="48"/>
                    </a:lnTo>
                    <a:lnTo>
                      <a:pt x="666" y="42"/>
                    </a:lnTo>
                    <a:lnTo>
                      <a:pt x="654" y="42"/>
                    </a:lnTo>
                    <a:lnTo>
                      <a:pt x="642" y="48"/>
                    </a:lnTo>
                    <a:lnTo>
                      <a:pt x="636" y="54"/>
                    </a:lnTo>
                    <a:lnTo>
                      <a:pt x="624" y="54"/>
                    </a:lnTo>
                    <a:lnTo>
                      <a:pt x="588" y="36"/>
                    </a:lnTo>
                    <a:lnTo>
                      <a:pt x="570" y="18"/>
                    </a:lnTo>
                    <a:lnTo>
                      <a:pt x="564" y="6"/>
                    </a:lnTo>
                    <a:lnTo>
                      <a:pt x="558" y="6"/>
                    </a:lnTo>
                    <a:lnTo>
                      <a:pt x="552" y="0"/>
                    </a:lnTo>
                    <a:lnTo>
                      <a:pt x="528" y="0"/>
                    </a:lnTo>
                    <a:lnTo>
                      <a:pt x="528" y="6"/>
                    </a:lnTo>
                    <a:lnTo>
                      <a:pt x="522" y="12"/>
                    </a:lnTo>
                    <a:lnTo>
                      <a:pt x="522" y="30"/>
                    </a:lnTo>
                    <a:lnTo>
                      <a:pt x="516" y="48"/>
                    </a:lnTo>
                    <a:lnTo>
                      <a:pt x="498" y="84"/>
                    </a:lnTo>
                    <a:lnTo>
                      <a:pt x="492" y="102"/>
                    </a:lnTo>
                    <a:lnTo>
                      <a:pt x="468" y="138"/>
                    </a:lnTo>
                    <a:lnTo>
                      <a:pt x="462" y="150"/>
                    </a:lnTo>
                    <a:lnTo>
                      <a:pt x="450" y="162"/>
                    </a:lnTo>
                    <a:lnTo>
                      <a:pt x="438" y="168"/>
                    </a:lnTo>
                    <a:lnTo>
                      <a:pt x="420" y="168"/>
                    </a:lnTo>
                    <a:lnTo>
                      <a:pt x="408" y="174"/>
                    </a:lnTo>
                    <a:lnTo>
                      <a:pt x="402" y="174"/>
                    </a:lnTo>
                    <a:lnTo>
                      <a:pt x="396" y="180"/>
                    </a:lnTo>
                    <a:lnTo>
                      <a:pt x="384" y="186"/>
                    </a:lnTo>
                    <a:lnTo>
                      <a:pt x="378" y="198"/>
                    </a:lnTo>
                    <a:lnTo>
                      <a:pt x="360" y="192"/>
                    </a:lnTo>
                    <a:lnTo>
                      <a:pt x="330" y="204"/>
                    </a:lnTo>
                    <a:lnTo>
                      <a:pt x="330" y="210"/>
                    </a:lnTo>
                    <a:lnTo>
                      <a:pt x="324" y="216"/>
                    </a:lnTo>
                    <a:lnTo>
                      <a:pt x="324" y="228"/>
                    </a:lnTo>
                    <a:lnTo>
                      <a:pt x="318" y="240"/>
                    </a:lnTo>
                    <a:lnTo>
                      <a:pt x="312" y="240"/>
                    </a:lnTo>
                    <a:lnTo>
                      <a:pt x="288" y="264"/>
                    </a:lnTo>
                    <a:lnTo>
                      <a:pt x="288" y="288"/>
                    </a:lnTo>
                    <a:lnTo>
                      <a:pt x="276" y="312"/>
                    </a:lnTo>
                    <a:lnTo>
                      <a:pt x="264" y="324"/>
                    </a:lnTo>
                    <a:lnTo>
                      <a:pt x="258" y="336"/>
                    </a:lnTo>
                    <a:lnTo>
                      <a:pt x="246" y="354"/>
                    </a:lnTo>
                    <a:lnTo>
                      <a:pt x="246" y="402"/>
                    </a:lnTo>
                    <a:lnTo>
                      <a:pt x="240" y="408"/>
                    </a:lnTo>
                    <a:lnTo>
                      <a:pt x="234" y="408"/>
                    </a:lnTo>
                    <a:lnTo>
                      <a:pt x="234" y="414"/>
                    </a:lnTo>
                    <a:lnTo>
                      <a:pt x="240" y="420"/>
                    </a:lnTo>
                    <a:lnTo>
                      <a:pt x="252" y="420"/>
                    </a:lnTo>
                    <a:lnTo>
                      <a:pt x="252" y="474"/>
                    </a:lnTo>
                    <a:lnTo>
                      <a:pt x="240" y="474"/>
                    </a:lnTo>
                    <a:lnTo>
                      <a:pt x="228" y="480"/>
                    </a:lnTo>
                    <a:lnTo>
                      <a:pt x="192" y="540"/>
                    </a:lnTo>
                    <a:lnTo>
                      <a:pt x="180" y="552"/>
                    </a:lnTo>
                    <a:lnTo>
                      <a:pt x="168" y="552"/>
                    </a:lnTo>
                    <a:lnTo>
                      <a:pt x="162" y="558"/>
                    </a:lnTo>
                    <a:lnTo>
                      <a:pt x="150" y="564"/>
                    </a:lnTo>
                    <a:lnTo>
                      <a:pt x="144" y="576"/>
                    </a:lnTo>
                    <a:lnTo>
                      <a:pt x="132" y="588"/>
                    </a:lnTo>
                    <a:lnTo>
                      <a:pt x="126" y="600"/>
                    </a:lnTo>
                    <a:lnTo>
                      <a:pt x="120" y="606"/>
                    </a:lnTo>
                    <a:lnTo>
                      <a:pt x="84" y="624"/>
                    </a:lnTo>
                    <a:lnTo>
                      <a:pt x="66" y="624"/>
                    </a:lnTo>
                    <a:lnTo>
                      <a:pt x="54" y="630"/>
                    </a:lnTo>
                    <a:lnTo>
                      <a:pt x="48" y="630"/>
                    </a:lnTo>
                    <a:lnTo>
                      <a:pt x="42" y="636"/>
                    </a:lnTo>
                    <a:lnTo>
                      <a:pt x="12" y="636"/>
                    </a:lnTo>
                    <a:lnTo>
                      <a:pt x="6" y="642"/>
                    </a:lnTo>
                    <a:lnTo>
                      <a:pt x="6" y="654"/>
                    </a:lnTo>
                    <a:lnTo>
                      <a:pt x="0" y="660"/>
                    </a:lnTo>
                    <a:lnTo>
                      <a:pt x="312" y="660"/>
                    </a:lnTo>
                    <a:lnTo>
                      <a:pt x="312" y="600"/>
                    </a:lnTo>
                    <a:lnTo>
                      <a:pt x="318" y="570"/>
                    </a:lnTo>
                    <a:lnTo>
                      <a:pt x="330" y="564"/>
                    </a:lnTo>
                    <a:lnTo>
                      <a:pt x="336" y="558"/>
                    </a:lnTo>
                    <a:lnTo>
                      <a:pt x="348" y="552"/>
                    </a:lnTo>
                    <a:lnTo>
                      <a:pt x="378" y="522"/>
                    </a:lnTo>
                    <a:lnTo>
                      <a:pt x="378" y="516"/>
                    </a:lnTo>
                    <a:lnTo>
                      <a:pt x="396" y="516"/>
                    </a:lnTo>
                    <a:lnTo>
                      <a:pt x="426" y="498"/>
                    </a:lnTo>
                    <a:lnTo>
                      <a:pt x="438" y="504"/>
                    </a:lnTo>
                    <a:lnTo>
                      <a:pt x="444" y="510"/>
                    </a:lnTo>
                    <a:lnTo>
                      <a:pt x="456" y="510"/>
                    </a:lnTo>
                    <a:lnTo>
                      <a:pt x="462" y="498"/>
                    </a:lnTo>
                    <a:lnTo>
                      <a:pt x="462" y="492"/>
                    </a:lnTo>
                    <a:lnTo>
                      <a:pt x="486" y="486"/>
                    </a:lnTo>
                    <a:lnTo>
                      <a:pt x="492" y="474"/>
                    </a:lnTo>
                    <a:lnTo>
                      <a:pt x="504" y="474"/>
                    </a:lnTo>
                    <a:lnTo>
                      <a:pt x="516" y="480"/>
                    </a:lnTo>
                    <a:lnTo>
                      <a:pt x="540" y="480"/>
                    </a:lnTo>
                    <a:lnTo>
                      <a:pt x="552" y="468"/>
                    </a:lnTo>
                    <a:lnTo>
                      <a:pt x="564" y="444"/>
                    </a:lnTo>
                    <a:lnTo>
                      <a:pt x="570" y="438"/>
                    </a:lnTo>
                    <a:lnTo>
                      <a:pt x="576" y="426"/>
                    </a:lnTo>
                    <a:lnTo>
                      <a:pt x="618" y="426"/>
                    </a:lnTo>
                    <a:lnTo>
                      <a:pt x="624" y="420"/>
                    </a:lnTo>
                    <a:lnTo>
                      <a:pt x="636" y="414"/>
                    </a:lnTo>
                    <a:lnTo>
                      <a:pt x="648" y="402"/>
                    </a:lnTo>
                    <a:lnTo>
                      <a:pt x="648" y="396"/>
                    </a:lnTo>
                    <a:lnTo>
                      <a:pt x="672" y="384"/>
                    </a:lnTo>
                    <a:lnTo>
                      <a:pt x="660" y="366"/>
                    </a:lnTo>
                    <a:lnTo>
                      <a:pt x="654" y="354"/>
                    </a:lnTo>
                    <a:lnTo>
                      <a:pt x="648" y="348"/>
                    </a:lnTo>
                    <a:lnTo>
                      <a:pt x="648" y="336"/>
                    </a:lnTo>
                    <a:lnTo>
                      <a:pt x="654" y="330"/>
                    </a:lnTo>
                    <a:lnTo>
                      <a:pt x="678" y="330"/>
                    </a:lnTo>
                    <a:lnTo>
                      <a:pt x="690" y="324"/>
                    </a:lnTo>
                    <a:lnTo>
                      <a:pt x="714" y="324"/>
                    </a:lnTo>
                    <a:lnTo>
                      <a:pt x="714" y="312"/>
                    </a:lnTo>
                    <a:lnTo>
                      <a:pt x="720" y="306"/>
                    </a:lnTo>
                    <a:lnTo>
                      <a:pt x="720" y="300"/>
                    </a:lnTo>
                    <a:lnTo>
                      <a:pt x="732" y="300"/>
                    </a:lnTo>
                    <a:lnTo>
                      <a:pt x="738" y="306"/>
                    </a:lnTo>
                    <a:lnTo>
                      <a:pt x="744" y="300"/>
                    </a:lnTo>
                    <a:lnTo>
                      <a:pt x="744" y="294"/>
                    </a:lnTo>
                    <a:lnTo>
                      <a:pt x="762" y="294"/>
                    </a:lnTo>
                    <a:lnTo>
                      <a:pt x="774" y="300"/>
                    </a:lnTo>
                    <a:lnTo>
                      <a:pt x="828" y="294"/>
                    </a:lnTo>
                    <a:lnTo>
                      <a:pt x="828" y="282"/>
                    </a:lnTo>
                    <a:lnTo>
                      <a:pt x="846" y="264"/>
                    </a:lnTo>
                    <a:lnTo>
                      <a:pt x="822" y="246"/>
                    </a:lnTo>
                    <a:close/>
                  </a:path>
                </a:pathLst>
              </a:custGeom>
              <a:solidFill>
                <a:srgbClr val="9D90A0">
                  <a:lumMod val="40000"/>
                  <a:lumOff val="60000"/>
                </a:srgbClr>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135" name="Mauritania" descr="© INSCALE GmbH, 05.05.2010&#10;http://www.presentationload.com/">
                <a:extLst>
                  <a:ext uri="{FF2B5EF4-FFF2-40B4-BE49-F238E27FC236}">
                    <a16:creationId xmlns:a16="http://schemas.microsoft.com/office/drawing/2014/main" id="{79F3716F-29CA-46B5-9B28-65416E90537D}"/>
                  </a:ext>
                </a:extLst>
              </p:cNvPr>
              <p:cNvSpPr>
                <a:spLocks/>
              </p:cNvSpPr>
              <p:nvPr/>
            </p:nvSpPr>
            <p:spPr bwMode="gray">
              <a:xfrm>
                <a:off x="3751409" y="3588921"/>
                <a:ext cx="338501" cy="441838"/>
              </a:xfrm>
              <a:custGeom>
                <a:avLst/>
                <a:gdLst>
                  <a:gd name="T0" fmla="*/ 2147483647 w 858"/>
                  <a:gd name="T1" fmla="*/ 2147483647 h 1002"/>
                  <a:gd name="T2" fmla="*/ 2147483647 w 858"/>
                  <a:gd name="T3" fmla="*/ 2147483647 h 1002"/>
                  <a:gd name="T4" fmla="*/ 2147483647 w 858"/>
                  <a:gd name="T5" fmla="*/ 2147483647 h 1002"/>
                  <a:gd name="T6" fmla="*/ 2147483647 w 858"/>
                  <a:gd name="T7" fmla="*/ 2147483647 h 1002"/>
                  <a:gd name="T8" fmla="*/ 2147483647 w 858"/>
                  <a:gd name="T9" fmla="*/ 2147483647 h 1002"/>
                  <a:gd name="T10" fmla="*/ 2147483647 w 858"/>
                  <a:gd name="T11" fmla="*/ 2147483647 h 1002"/>
                  <a:gd name="T12" fmla="*/ 2147483647 w 858"/>
                  <a:gd name="T13" fmla="*/ 2147483647 h 1002"/>
                  <a:gd name="T14" fmla="*/ 2147483647 w 858"/>
                  <a:gd name="T15" fmla="*/ 2147483647 h 1002"/>
                  <a:gd name="T16" fmla="*/ 2147483647 w 858"/>
                  <a:gd name="T17" fmla="*/ 2147483647 h 1002"/>
                  <a:gd name="T18" fmla="*/ 2147483647 w 858"/>
                  <a:gd name="T19" fmla="*/ 2147483647 h 1002"/>
                  <a:gd name="T20" fmla="*/ 2147483647 w 858"/>
                  <a:gd name="T21" fmla="*/ 2147483647 h 1002"/>
                  <a:gd name="T22" fmla="*/ 2147483647 w 858"/>
                  <a:gd name="T23" fmla="*/ 2147483647 h 1002"/>
                  <a:gd name="T24" fmla="*/ 2147483647 w 858"/>
                  <a:gd name="T25" fmla="*/ 2147483647 h 1002"/>
                  <a:gd name="T26" fmla="*/ 2147483647 w 858"/>
                  <a:gd name="T27" fmla="*/ 2147483647 h 1002"/>
                  <a:gd name="T28" fmla="*/ 2147483647 w 858"/>
                  <a:gd name="T29" fmla="*/ 2147483647 h 1002"/>
                  <a:gd name="T30" fmla="*/ 2147483647 w 858"/>
                  <a:gd name="T31" fmla="*/ 2147483647 h 1002"/>
                  <a:gd name="T32" fmla="*/ 2147483647 w 858"/>
                  <a:gd name="T33" fmla="*/ 2147483647 h 1002"/>
                  <a:gd name="T34" fmla="*/ 2147483647 w 858"/>
                  <a:gd name="T35" fmla="*/ 2147483647 h 1002"/>
                  <a:gd name="T36" fmla="*/ 2147483647 w 858"/>
                  <a:gd name="T37" fmla="*/ 2147483647 h 1002"/>
                  <a:gd name="T38" fmla="*/ 2147483647 w 858"/>
                  <a:gd name="T39" fmla="*/ 2147483647 h 1002"/>
                  <a:gd name="T40" fmla="*/ 2147483647 w 858"/>
                  <a:gd name="T41" fmla="*/ 2147483647 h 1002"/>
                  <a:gd name="T42" fmla="*/ 2147483647 w 858"/>
                  <a:gd name="T43" fmla="*/ 2147483647 h 1002"/>
                  <a:gd name="T44" fmla="*/ 2147483647 w 858"/>
                  <a:gd name="T45" fmla="*/ 2147483647 h 1002"/>
                  <a:gd name="T46" fmla="*/ 2147483647 w 858"/>
                  <a:gd name="T47" fmla="*/ 2147483647 h 1002"/>
                  <a:gd name="T48" fmla="*/ 2147483647 w 858"/>
                  <a:gd name="T49" fmla="*/ 2147483647 h 1002"/>
                  <a:gd name="T50" fmla="*/ 2147483647 w 858"/>
                  <a:gd name="T51" fmla="*/ 2147483647 h 1002"/>
                  <a:gd name="T52" fmla="*/ 2147483647 w 858"/>
                  <a:gd name="T53" fmla="*/ 2147483647 h 1002"/>
                  <a:gd name="T54" fmla="*/ 2147483647 w 858"/>
                  <a:gd name="T55" fmla="*/ 2147483647 h 1002"/>
                  <a:gd name="T56" fmla="*/ 2147483647 w 858"/>
                  <a:gd name="T57" fmla="*/ 2147483647 h 1002"/>
                  <a:gd name="T58" fmla="*/ 2147483647 w 858"/>
                  <a:gd name="T59" fmla="*/ 2147483647 h 1002"/>
                  <a:gd name="T60" fmla="*/ 2147483647 w 858"/>
                  <a:gd name="T61" fmla="*/ 2147483647 h 1002"/>
                  <a:gd name="T62" fmla="*/ 2147483647 w 858"/>
                  <a:gd name="T63" fmla="*/ 2147483647 h 1002"/>
                  <a:gd name="T64" fmla="*/ 2147483647 w 858"/>
                  <a:gd name="T65" fmla="*/ 2147483647 h 1002"/>
                  <a:gd name="T66" fmla="*/ 2147483647 w 858"/>
                  <a:gd name="T67" fmla="*/ 2147483647 h 1002"/>
                  <a:gd name="T68" fmla="*/ 2147483647 w 858"/>
                  <a:gd name="T69" fmla="*/ 2147483647 h 1002"/>
                  <a:gd name="T70" fmla="*/ 2147483647 w 858"/>
                  <a:gd name="T71" fmla="*/ 2147483647 h 1002"/>
                  <a:gd name="T72" fmla="*/ 2147483647 w 858"/>
                  <a:gd name="T73" fmla="*/ 2147483647 h 1002"/>
                  <a:gd name="T74" fmla="*/ 2147483647 w 858"/>
                  <a:gd name="T75" fmla="*/ 2147483647 h 1002"/>
                  <a:gd name="T76" fmla="*/ 2147483647 w 858"/>
                  <a:gd name="T77" fmla="*/ 2147483647 h 1002"/>
                  <a:gd name="T78" fmla="*/ 2147483647 w 858"/>
                  <a:gd name="T79" fmla="*/ 2147483647 h 1002"/>
                  <a:gd name="T80" fmla="*/ 2147483647 w 858"/>
                  <a:gd name="T81" fmla="*/ 2147483647 h 1002"/>
                  <a:gd name="T82" fmla="*/ 2147483647 w 858"/>
                  <a:gd name="T83" fmla="*/ 2147483647 h 1002"/>
                  <a:gd name="T84" fmla="*/ 2147483647 w 858"/>
                  <a:gd name="T85" fmla="*/ 2147483647 h 1002"/>
                  <a:gd name="T86" fmla="*/ 2147483647 w 858"/>
                  <a:gd name="T87" fmla="*/ 2147483647 h 1002"/>
                  <a:gd name="T88" fmla="*/ 2147483647 w 858"/>
                  <a:gd name="T89" fmla="*/ 2147483647 h 1002"/>
                  <a:gd name="T90" fmla="*/ 2147483647 w 858"/>
                  <a:gd name="T91" fmla="*/ 2147483647 h 1002"/>
                  <a:gd name="T92" fmla="*/ 2147483647 w 858"/>
                  <a:gd name="T93" fmla="*/ 2147483647 h 1002"/>
                  <a:gd name="T94" fmla="*/ 2147483647 w 858"/>
                  <a:gd name="T95" fmla="*/ 2147483647 h 1002"/>
                  <a:gd name="T96" fmla="*/ 2147483647 w 858"/>
                  <a:gd name="T97" fmla="*/ 2147483647 h 1002"/>
                  <a:gd name="T98" fmla="*/ 0 w 858"/>
                  <a:gd name="T99" fmla="*/ 2147483647 h 1002"/>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858"/>
                  <a:gd name="T151" fmla="*/ 0 h 1002"/>
                  <a:gd name="T152" fmla="*/ 858 w 858"/>
                  <a:gd name="T153" fmla="*/ 1002 h 1002"/>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858" h="1002">
                    <a:moveTo>
                      <a:pt x="0" y="498"/>
                    </a:moveTo>
                    <a:lnTo>
                      <a:pt x="18" y="498"/>
                    </a:lnTo>
                    <a:lnTo>
                      <a:pt x="18" y="528"/>
                    </a:lnTo>
                    <a:lnTo>
                      <a:pt x="24" y="534"/>
                    </a:lnTo>
                    <a:lnTo>
                      <a:pt x="30" y="534"/>
                    </a:lnTo>
                    <a:lnTo>
                      <a:pt x="30" y="528"/>
                    </a:lnTo>
                    <a:lnTo>
                      <a:pt x="36" y="522"/>
                    </a:lnTo>
                    <a:lnTo>
                      <a:pt x="48" y="558"/>
                    </a:lnTo>
                    <a:lnTo>
                      <a:pt x="42" y="600"/>
                    </a:lnTo>
                    <a:lnTo>
                      <a:pt x="30" y="600"/>
                    </a:lnTo>
                    <a:lnTo>
                      <a:pt x="36" y="624"/>
                    </a:lnTo>
                    <a:lnTo>
                      <a:pt x="24" y="630"/>
                    </a:lnTo>
                    <a:lnTo>
                      <a:pt x="30" y="642"/>
                    </a:lnTo>
                    <a:lnTo>
                      <a:pt x="36" y="648"/>
                    </a:lnTo>
                    <a:lnTo>
                      <a:pt x="48" y="666"/>
                    </a:lnTo>
                    <a:lnTo>
                      <a:pt x="60" y="690"/>
                    </a:lnTo>
                    <a:lnTo>
                      <a:pt x="60" y="720"/>
                    </a:lnTo>
                    <a:lnTo>
                      <a:pt x="54" y="738"/>
                    </a:lnTo>
                    <a:lnTo>
                      <a:pt x="54" y="750"/>
                    </a:lnTo>
                    <a:lnTo>
                      <a:pt x="48" y="756"/>
                    </a:lnTo>
                    <a:lnTo>
                      <a:pt x="48" y="804"/>
                    </a:lnTo>
                    <a:lnTo>
                      <a:pt x="42" y="816"/>
                    </a:lnTo>
                    <a:lnTo>
                      <a:pt x="30" y="822"/>
                    </a:lnTo>
                    <a:lnTo>
                      <a:pt x="24" y="840"/>
                    </a:lnTo>
                    <a:lnTo>
                      <a:pt x="18" y="852"/>
                    </a:lnTo>
                    <a:lnTo>
                      <a:pt x="18" y="864"/>
                    </a:lnTo>
                    <a:lnTo>
                      <a:pt x="12" y="876"/>
                    </a:lnTo>
                    <a:lnTo>
                      <a:pt x="12" y="906"/>
                    </a:lnTo>
                    <a:lnTo>
                      <a:pt x="18" y="900"/>
                    </a:lnTo>
                    <a:lnTo>
                      <a:pt x="36" y="864"/>
                    </a:lnTo>
                    <a:lnTo>
                      <a:pt x="42" y="858"/>
                    </a:lnTo>
                    <a:lnTo>
                      <a:pt x="54" y="852"/>
                    </a:lnTo>
                    <a:lnTo>
                      <a:pt x="60" y="852"/>
                    </a:lnTo>
                    <a:lnTo>
                      <a:pt x="66" y="858"/>
                    </a:lnTo>
                    <a:lnTo>
                      <a:pt x="72" y="858"/>
                    </a:lnTo>
                    <a:lnTo>
                      <a:pt x="84" y="852"/>
                    </a:lnTo>
                    <a:lnTo>
                      <a:pt x="114" y="858"/>
                    </a:lnTo>
                    <a:lnTo>
                      <a:pt x="114" y="840"/>
                    </a:lnTo>
                    <a:lnTo>
                      <a:pt x="138" y="852"/>
                    </a:lnTo>
                    <a:lnTo>
                      <a:pt x="162" y="852"/>
                    </a:lnTo>
                    <a:lnTo>
                      <a:pt x="174" y="858"/>
                    </a:lnTo>
                    <a:lnTo>
                      <a:pt x="180" y="858"/>
                    </a:lnTo>
                    <a:lnTo>
                      <a:pt x="186" y="870"/>
                    </a:lnTo>
                    <a:lnTo>
                      <a:pt x="198" y="882"/>
                    </a:lnTo>
                    <a:lnTo>
                      <a:pt x="204" y="894"/>
                    </a:lnTo>
                    <a:lnTo>
                      <a:pt x="216" y="888"/>
                    </a:lnTo>
                    <a:lnTo>
                      <a:pt x="234" y="888"/>
                    </a:lnTo>
                    <a:lnTo>
                      <a:pt x="240" y="894"/>
                    </a:lnTo>
                    <a:lnTo>
                      <a:pt x="240" y="900"/>
                    </a:lnTo>
                    <a:lnTo>
                      <a:pt x="246" y="912"/>
                    </a:lnTo>
                    <a:lnTo>
                      <a:pt x="246" y="942"/>
                    </a:lnTo>
                    <a:lnTo>
                      <a:pt x="264" y="942"/>
                    </a:lnTo>
                    <a:lnTo>
                      <a:pt x="270" y="948"/>
                    </a:lnTo>
                    <a:lnTo>
                      <a:pt x="270" y="972"/>
                    </a:lnTo>
                    <a:lnTo>
                      <a:pt x="300" y="978"/>
                    </a:lnTo>
                    <a:lnTo>
                      <a:pt x="312" y="1002"/>
                    </a:lnTo>
                    <a:lnTo>
                      <a:pt x="330" y="1002"/>
                    </a:lnTo>
                    <a:lnTo>
                      <a:pt x="342" y="996"/>
                    </a:lnTo>
                    <a:lnTo>
                      <a:pt x="348" y="996"/>
                    </a:lnTo>
                    <a:lnTo>
                      <a:pt x="348" y="948"/>
                    </a:lnTo>
                    <a:lnTo>
                      <a:pt x="360" y="936"/>
                    </a:lnTo>
                    <a:lnTo>
                      <a:pt x="378" y="936"/>
                    </a:lnTo>
                    <a:lnTo>
                      <a:pt x="402" y="960"/>
                    </a:lnTo>
                    <a:lnTo>
                      <a:pt x="408" y="972"/>
                    </a:lnTo>
                    <a:lnTo>
                      <a:pt x="420" y="948"/>
                    </a:lnTo>
                    <a:lnTo>
                      <a:pt x="456" y="948"/>
                    </a:lnTo>
                    <a:lnTo>
                      <a:pt x="462" y="954"/>
                    </a:lnTo>
                    <a:lnTo>
                      <a:pt x="492" y="954"/>
                    </a:lnTo>
                    <a:lnTo>
                      <a:pt x="504" y="948"/>
                    </a:lnTo>
                    <a:lnTo>
                      <a:pt x="510" y="948"/>
                    </a:lnTo>
                    <a:lnTo>
                      <a:pt x="510" y="936"/>
                    </a:lnTo>
                    <a:lnTo>
                      <a:pt x="516" y="930"/>
                    </a:lnTo>
                    <a:lnTo>
                      <a:pt x="522" y="930"/>
                    </a:lnTo>
                    <a:lnTo>
                      <a:pt x="522" y="942"/>
                    </a:lnTo>
                    <a:lnTo>
                      <a:pt x="786" y="942"/>
                    </a:lnTo>
                    <a:lnTo>
                      <a:pt x="798" y="900"/>
                    </a:lnTo>
                    <a:lnTo>
                      <a:pt x="804" y="894"/>
                    </a:lnTo>
                    <a:lnTo>
                      <a:pt x="804" y="882"/>
                    </a:lnTo>
                    <a:lnTo>
                      <a:pt x="786" y="864"/>
                    </a:lnTo>
                    <a:lnTo>
                      <a:pt x="780" y="864"/>
                    </a:lnTo>
                    <a:lnTo>
                      <a:pt x="738" y="174"/>
                    </a:lnTo>
                    <a:lnTo>
                      <a:pt x="858" y="180"/>
                    </a:lnTo>
                    <a:lnTo>
                      <a:pt x="600" y="0"/>
                    </a:lnTo>
                    <a:lnTo>
                      <a:pt x="594" y="48"/>
                    </a:lnTo>
                    <a:lnTo>
                      <a:pt x="588" y="54"/>
                    </a:lnTo>
                    <a:lnTo>
                      <a:pt x="588" y="90"/>
                    </a:lnTo>
                    <a:lnTo>
                      <a:pt x="366" y="96"/>
                    </a:lnTo>
                    <a:lnTo>
                      <a:pt x="366" y="108"/>
                    </a:lnTo>
                    <a:lnTo>
                      <a:pt x="354" y="114"/>
                    </a:lnTo>
                    <a:lnTo>
                      <a:pt x="354" y="306"/>
                    </a:lnTo>
                    <a:lnTo>
                      <a:pt x="348" y="312"/>
                    </a:lnTo>
                    <a:lnTo>
                      <a:pt x="336" y="318"/>
                    </a:lnTo>
                    <a:lnTo>
                      <a:pt x="306" y="318"/>
                    </a:lnTo>
                    <a:lnTo>
                      <a:pt x="282" y="330"/>
                    </a:lnTo>
                    <a:lnTo>
                      <a:pt x="276" y="342"/>
                    </a:lnTo>
                    <a:lnTo>
                      <a:pt x="276" y="360"/>
                    </a:lnTo>
                    <a:lnTo>
                      <a:pt x="282" y="372"/>
                    </a:lnTo>
                    <a:lnTo>
                      <a:pt x="276" y="474"/>
                    </a:lnTo>
                    <a:lnTo>
                      <a:pt x="0" y="474"/>
                    </a:lnTo>
                    <a:lnTo>
                      <a:pt x="0" y="498"/>
                    </a:lnTo>
                    <a:close/>
                  </a:path>
                </a:pathLst>
              </a:custGeom>
              <a:solidFill>
                <a:srgbClr val="9D90A0">
                  <a:lumMod val="40000"/>
                  <a:lumOff val="60000"/>
                </a:srgbClr>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136" name="Mali" descr="© INSCALE GmbH, 05.05.2010&#10;http://www.presentationload.com/">
                <a:extLst>
                  <a:ext uri="{FF2B5EF4-FFF2-40B4-BE49-F238E27FC236}">
                    <a16:creationId xmlns:a16="http://schemas.microsoft.com/office/drawing/2014/main" id="{52EDA780-9A9B-4BD9-8319-ECDE19151F4F}"/>
                  </a:ext>
                </a:extLst>
              </p:cNvPr>
              <p:cNvSpPr>
                <a:spLocks/>
              </p:cNvSpPr>
              <p:nvPr/>
            </p:nvSpPr>
            <p:spPr bwMode="gray">
              <a:xfrm>
                <a:off x="3874642" y="3666893"/>
                <a:ext cx="460174" cy="526741"/>
              </a:xfrm>
              <a:custGeom>
                <a:avLst/>
                <a:gdLst>
                  <a:gd name="T0" fmla="*/ 2147483647 w 1164"/>
                  <a:gd name="T1" fmla="*/ 2147483647 h 1200"/>
                  <a:gd name="T2" fmla="*/ 2147483647 w 1164"/>
                  <a:gd name="T3" fmla="*/ 2147483647 h 1200"/>
                  <a:gd name="T4" fmla="*/ 2147483647 w 1164"/>
                  <a:gd name="T5" fmla="*/ 2147483647 h 1200"/>
                  <a:gd name="T6" fmla="*/ 2147483647 w 1164"/>
                  <a:gd name="T7" fmla="*/ 2147483647 h 1200"/>
                  <a:gd name="T8" fmla="*/ 2147483647 w 1164"/>
                  <a:gd name="T9" fmla="*/ 2147483647 h 1200"/>
                  <a:gd name="T10" fmla="*/ 2147483647 w 1164"/>
                  <a:gd name="T11" fmla="*/ 2147483647 h 1200"/>
                  <a:gd name="T12" fmla="*/ 2147483647 w 1164"/>
                  <a:gd name="T13" fmla="*/ 2147483647 h 1200"/>
                  <a:gd name="T14" fmla="*/ 2147483647 w 1164"/>
                  <a:gd name="T15" fmla="*/ 2147483647 h 1200"/>
                  <a:gd name="T16" fmla="*/ 2147483647 w 1164"/>
                  <a:gd name="T17" fmla="*/ 2147483647 h 1200"/>
                  <a:gd name="T18" fmla="*/ 2147483647 w 1164"/>
                  <a:gd name="T19" fmla="*/ 2147483647 h 1200"/>
                  <a:gd name="T20" fmla="*/ 2147483647 w 1164"/>
                  <a:gd name="T21" fmla="*/ 2147483647 h 1200"/>
                  <a:gd name="T22" fmla="*/ 2147483647 w 1164"/>
                  <a:gd name="T23" fmla="*/ 2147483647 h 1200"/>
                  <a:gd name="T24" fmla="*/ 2147483647 w 1164"/>
                  <a:gd name="T25" fmla="*/ 2147483647 h 1200"/>
                  <a:gd name="T26" fmla="*/ 2147483647 w 1164"/>
                  <a:gd name="T27" fmla="*/ 2147483647 h 1200"/>
                  <a:gd name="T28" fmla="*/ 2147483647 w 1164"/>
                  <a:gd name="T29" fmla="*/ 2147483647 h 1200"/>
                  <a:gd name="T30" fmla="*/ 2147483647 w 1164"/>
                  <a:gd name="T31" fmla="*/ 2147483647 h 1200"/>
                  <a:gd name="T32" fmla="*/ 2147483647 w 1164"/>
                  <a:gd name="T33" fmla="*/ 2147483647 h 1200"/>
                  <a:gd name="T34" fmla="*/ 2147483647 w 1164"/>
                  <a:gd name="T35" fmla="*/ 2147483647 h 1200"/>
                  <a:gd name="T36" fmla="*/ 2147483647 w 1164"/>
                  <a:gd name="T37" fmla="*/ 2147483647 h 1200"/>
                  <a:gd name="T38" fmla="*/ 2147483647 w 1164"/>
                  <a:gd name="T39" fmla="*/ 2147483647 h 1200"/>
                  <a:gd name="T40" fmla="*/ 2147483647 w 1164"/>
                  <a:gd name="T41" fmla="*/ 2147483647 h 1200"/>
                  <a:gd name="T42" fmla="*/ 2147483647 w 1164"/>
                  <a:gd name="T43" fmla="*/ 2147483647 h 1200"/>
                  <a:gd name="T44" fmla="*/ 2147483647 w 1164"/>
                  <a:gd name="T45" fmla="*/ 2147483647 h 1200"/>
                  <a:gd name="T46" fmla="*/ 2147483647 w 1164"/>
                  <a:gd name="T47" fmla="*/ 2147483647 h 1200"/>
                  <a:gd name="T48" fmla="*/ 2147483647 w 1164"/>
                  <a:gd name="T49" fmla="*/ 2147483647 h 1200"/>
                  <a:gd name="T50" fmla="*/ 2147483647 w 1164"/>
                  <a:gd name="T51" fmla="*/ 2147483647 h 1200"/>
                  <a:gd name="T52" fmla="*/ 2147483647 w 1164"/>
                  <a:gd name="T53" fmla="*/ 2147483647 h 1200"/>
                  <a:gd name="T54" fmla="*/ 0 w 1164"/>
                  <a:gd name="T55" fmla="*/ 2147483647 h 1200"/>
                  <a:gd name="T56" fmla="*/ 2147483647 w 1164"/>
                  <a:gd name="T57" fmla="*/ 2147483647 h 1200"/>
                  <a:gd name="T58" fmla="*/ 2147483647 w 1164"/>
                  <a:gd name="T59" fmla="*/ 2147483647 h 1200"/>
                  <a:gd name="T60" fmla="*/ 2147483647 w 1164"/>
                  <a:gd name="T61" fmla="*/ 2147483647 h 1200"/>
                  <a:gd name="T62" fmla="*/ 2147483647 w 1164"/>
                  <a:gd name="T63" fmla="*/ 2147483647 h 1200"/>
                  <a:gd name="T64" fmla="*/ 2147483647 w 1164"/>
                  <a:gd name="T65" fmla="*/ 2147483647 h 1200"/>
                  <a:gd name="T66" fmla="*/ 2147483647 w 1164"/>
                  <a:gd name="T67" fmla="*/ 2147483647 h 1200"/>
                  <a:gd name="T68" fmla="*/ 2147483647 w 1164"/>
                  <a:gd name="T69" fmla="*/ 2147483647 h 1200"/>
                  <a:gd name="T70" fmla="*/ 2147483647 w 1164"/>
                  <a:gd name="T71" fmla="*/ 2147483647 h 1200"/>
                  <a:gd name="T72" fmla="*/ 2147483647 w 1164"/>
                  <a:gd name="T73" fmla="*/ 2147483647 h 1200"/>
                  <a:gd name="T74" fmla="*/ 2147483647 w 1164"/>
                  <a:gd name="T75" fmla="*/ 2147483647 h 1200"/>
                  <a:gd name="T76" fmla="*/ 2147483647 w 1164"/>
                  <a:gd name="T77" fmla="*/ 2147483647 h 1200"/>
                  <a:gd name="T78" fmla="*/ 2147483647 w 1164"/>
                  <a:gd name="T79" fmla="*/ 2147483647 h 1200"/>
                  <a:gd name="T80" fmla="*/ 2147483647 w 1164"/>
                  <a:gd name="T81" fmla="*/ 2147483647 h 1200"/>
                  <a:gd name="T82" fmla="*/ 2147483647 w 1164"/>
                  <a:gd name="T83" fmla="*/ 2147483647 h 1200"/>
                  <a:gd name="T84" fmla="*/ 2147483647 w 1164"/>
                  <a:gd name="T85" fmla="*/ 2147483647 h 1200"/>
                  <a:gd name="T86" fmla="*/ 2147483647 w 1164"/>
                  <a:gd name="T87" fmla="*/ 2147483647 h 1200"/>
                  <a:gd name="T88" fmla="*/ 2147483647 w 1164"/>
                  <a:gd name="T89" fmla="*/ 2147483647 h 1200"/>
                  <a:gd name="T90" fmla="*/ 2147483647 w 1164"/>
                  <a:gd name="T91" fmla="*/ 2147483647 h 1200"/>
                  <a:gd name="T92" fmla="*/ 2147483647 w 1164"/>
                  <a:gd name="T93" fmla="*/ 2147483647 h 1200"/>
                  <a:gd name="T94" fmla="*/ 2147483647 w 1164"/>
                  <a:gd name="T95" fmla="*/ 2147483647 h 1200"/>
                  <a:gd name="T96" fmla="*/ 2147483647 w 1164"/>
                  <a:gd name="T97" fmla="*/ 2147483647 h 1200"/>
                  <a:gd name="T98" fmla="*/ 2147483647 w 1164"/>
                  <a:gd name="T99" fmla="*/ 2147483647 h 1200"/>
                  <a:gd name="T100" fmla="*/ 2147483647 w 1164"/>
                  <a:gd name="T101" fmla="*/ 2147483647 h 1200"/>
                  <a:gd name="T102" fmla="*/ 2147483647 w 1164"/>
                  <a:gd name="T103" fmla="*/ 2147483647 h 1200"/>
                  <a:gd name="T104" fmla="*/ 2147483647 w 1164"/>
                  <a:gd name="T105" fmla="*/ 2147483647 h 1200"/>
                  <a:gd name="T106" fmla="*/ 2147483647 w 1164"/>
                  <a:gd name="T107" fmla="*/ 2147483647 h 120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164"/>
                  <a:gd name="T163" fmla="*/ 0 h 1200"/>
                  <a:gd name="T164" fmla="*/ 1164 w 1164"/>
                  <a:gd name="T165" fmla="*/ 1200 h 120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164" h="1200">
                    <a:moveTo>
                      <a:pt x="612" y="954"/>
                    </a:moveTo>
                    <a:lnTo>
                      <a:pt x="636" y="948"/>
                    </a:lnTo>
                    <a:lnTo>
                      <a:pt x="636" y="912"/>
                    </a:lnTo>
                    <a:lnTo>
                      <a:pt x="654" y="912"/>
                    </a:lnTo>
                    <a:lnTo>
                      <a:pt x="654" y="906"/>
                    </a:lnTo>
                    <a:lnTo>
                      <a:pt x="660" y="900"/>
                    </a:lnTo>
                    <a:lnTo>
                      <a:pt x="666" y="888"/>
                    </a:lnTo>
                    <a:lnTo>
                      <a:pt x="678" y="882"/>
                    </a:lnTo>
                    <a:lnTo>
                      <a:pt x="684" y="870"/>
                    </a:lnTo>
                    <a:lnTo>
                      <a:pt x="690" y="864"/>
                    </a:lnTo>
                    <a:lnTo>
                      <a:pt x="696" y="864"/>
                    </a:lnTo>
                    <a:lnTo>
                      <a:pt x="708" y="876"/>
                    </a:lnTo>
                    <a:lnTo>
                      <a:pt x="720" y="876"/>
                    </a:lnTo>
                    <a:lnTo>
                      <a:pt x="720" y="870"/>
                    </a:lnTo>
                    <a:lnTo>
                      <a:pt x="726" y="864"/>
                    </a:lnTo>
                    <a:lnTo>
                      <a:pt x="726" y="846"/>
                    </a:lnTo>
                    <a:lnTo>
                      <a:pt x="750" y="846"/>
                    </a:lnTo>
                    <a:lnTo>
                      <a:pt x="768" y="822"/>
                    </a:lnTo>
                    <a:lnTo>
                      <a:pt x="792" y="822"/>
                    </a:lnTo>
                    <a:lnTo>
                      <a:pt x="810" y="804"/>
                    </a:lnTo>
                    <a:lnTo>
                      <a:pt x="858" y="804"/>
                    </a:lnTo>
                    <a:lnTo>
                      <a:pt x="882" y="816"/>
                    </a:lnTo>
                    <a:lnTo>
                      <a:pt x="930" y="804"/>
                    </a:lnTo>
                    <a:lnTo>
                      <a:pt x="954" y="786"/>
                    </a:lnTo>
                    <a:lnTo>
                      <a:pt x="1020" y="792"/>
                    </a:lnTo>
                    <a:lnTo>
                      <a:pt x="1020" y="774"/>
                    </a:lnTo>
                    <a:lnTo>
                      <a:pt x="1068" y="780"/>
                    </a:lnTo>
                    <a:lnTo>
                      <a:pt x="1080" y="774"/>
                    </a:lnTo>
                    <a:lnTo>
                      <a:pt x="1104" y="774"/>
                    </a:lnTo>
                    <a:lnTo>
                      <a:pt x="1122" y="768"/>
                    </a:lnTo>
                    <a:lnTo>
                      <a:pt x="1134" y="762"/>
                    </a:lnTo>
                    <a:lnTo>
                      <a:pt x="1140" y="750"/>
                    </a:lnTo>
                    <a:lnTo>
                      <a:pt x="1140" y="732"/>
                    </a:lnTo>
                    <a:lnTo>
                      <a:pt x="1146" y="720"/>
                    </a:lnTo>
                    <a:lnTo>
                      <a:pt x="1146" y="708"/>
                    </a:lnTo>
                    <a:lnTo>
                      <a:pt x="1164" y="684"/>
                    </a:lnTo>
                    <a:lnTo>
                      <a:pt x="1164" y="480"/>
                    </a:lnTo>
                    <a:lnTo>
                      <a:pt x="1140" y="480"/>
                    </a:lnTo>
                    <a:lnTo>
                      <a:pt x="1134" y="486"/>
                    </a:lnTo>
                    <a:lnTo>
                      <a:pt x="1104" y="486"/>
                    </a:lnTo>
                    <a:lnTo>
                      <a:pt x="1092" y="480"/>
                    </a:lnTo>
                    <a:lnTo>
                      <a:pt x="1086" y="474"/>
                    </a:lnTo>
                    <a:lnTo>
                      <a:pt x="1086" y="468"/>
                    </a:lnTo>
                    <a:lnTo>
                      <a:pt x="1104" y="450"/>
                    </a:lnTo>
                    <a:lnTo>
                      <a:pt x="1104" y="432"/>
                    </a:lnTo>
                    <a:lnTo>
                      <a:pt x="1092" y="408"/>
                    </a:lnTo>
                    <a:lnTo>
                      <a:pt x="1080" y="402"/>
                    </a:lnTo>
                    <a:lnTo>
                      <a:pt x="1050" y="402"/>
                    </a:lnTo>
                    <a:lnTo>
                      <a:pt x="1044" y="408"/>
                    </a:lnTo>
                    <a:lnTo>
                      <a:pt x="1038" y="408"/>
                    </a:lnTo>
                    <a:lnTo>
                      <a:pt x="1032" y="378"/>
                    </a:lnTo>
                    <a:lnTo>
                      <a:pt x="996" y="378"/>
                    </a:lnTo>
                    <a:lnTo>
                      <a:pt x="984" y="366"/>
                    </a:lnTo>
                    <a:lnTo>
                      <a:pt x="984" y="348"/>
                    </a:lnTo>
                    <a:lnTo>
                      <a:pt x="978" y="342"/>
                    </a:lnTo>
                    <a:lnTo>
                      <a:pt x="954" y="342"/>
                    </a:lnTo>
                    <a:lnTo>
                      <a:pt x="954" y="318"/>
                    </a:lnTo>
                    <a:lnTo>
                      <a:pt x="546" y="6"/>
                    </a:lnTo>
                    <a:lnTo>
                      <a:pt x="426" y="0"/>
                    </a:lnTo>
                    <a:lnTo>
                      <a:pt x="468" y="690"/>
                    </a:lnTo>
                    <a:lnTo>
                      <a:pt x="474" y="690"/>
                    </a:lnTo>
                    <a:lnTo>
                      <a:pt x="492" y="708"/>
                    </a:lnTo>
                    <a:lnTo>
                      <a:pt x="492" y="720"/>
                    </a:lnTo>
                    <a:lnTo>
                      <a:pt x="486" y="726"/>
                    </a:lnTo>
                    <a:lnTo>
                      <a:pt x="474" y="768"/>
                    </a:lnTo>
                    <a:lnTo>
                      <a:pt x="210" y="768"/>
                    </a:lnTo>
                    <a:lnTo>
                      <a:pt x="210" y="756"/>
                    </a:lnTo>
                    <a:lnTo>
                      <a:pt x="204" y="756"/>
                    </a:lnTo>
                    <a:lnTo>
                      <a:pt x="198" y="762"/>
                    </a:lnTo>
                    <a:lnTo>
                      <a:pt x="198" y="774"/>
                    </a:lnTo>
                    <a:lnTo>
                      <a:pt x="192" y="774"/>
                    </a:lnTo>
                    <a:lnTo>
                      <a:pt x="180" y="780"/>
                    </a:lnTo>
                    <a:lnTo>
                      <a:pt x="150" y="780"/>
                    </a:lnTo>
                    <a:lnTo>
                      <a:pt x="144" y="774"/>
                    </a:lnTo>
                    <a:lnTo>
                      <a:pt x="108" y="774"/>
                    </a:lnTo>
                    <a:lnTo>
                      <a:pt x="96" y="798"/>
                    </a:lnTo>
                    <a:lnTo>
                      <a:pt x="90" y="786"/>
                    </a:lnTo>
                    <a:lnTo>
                      <a:pt x="66" y="762"/>
                    </a:lnTo>
                    <a:lnTo>
                      <a:pt x="48" y="762"/>
                    </a:lnTo>
                    <a:lnTo>
                      <a:pt x="36" y="774"/>
                    </a:lnTo>
                    <a:lnTo>
                      <a:pt x="36" y="822"/>
                    </a:lnTo>
                    <a:lnTo>
                      <a:pt x="30" y="822"/>
                    </a:lnTo>
                    <a:lnTo>
                      <a:pt x="18" y="828"/>
                    </a:lnTo>
                    <a:lnTo>
                      <a:pt x="0" y="828"/>
                    </a:lnTo>
                    <a:lnTo>
                      <a:pt x="0" y="852"/>
                    </a:lnTo>
                    <a:lnTo>
                      <a:pt x="12" y="870"/>
                    </a:lnTo>
                    <a:lnTo>
                      <a:pt x="12" y="876"/>
                    </a:lnTo>
                    <a:lnTo>
                      <a:pt x="24" y="888"/>
                    </a:lnTo>
                    <a:lnTo>
                      <a:pt x="24" y="906"/>
                    </a:lnTo>
                    <a:lnTo>
                      <a:pt x="18" y="912"/>
                    </a:lnTo>
                    <a:lnTo>
                      <a:pt x="18" y="936"/>
                    </a:lnTo>
                    <a:lnTo>
                      <a:pt x="24" y="942"/>
                    </a:lnTo>
                    <a:lnTo>
                      <a:pt x="36" y="942"/>
                    </a:lnTo>
                    <a:lnTo>
                      <a:pt x="36" y="936"/>
                    </a:lnTo>
                    <a:lnTo>
                      <a:pt x="42" y="936"/>
                    </a:lnTo>
                    <a:lnTo>
                      <a:pt x="48" y="942"/>
                    </a:lnTo>
                    <a:lnTo>
                      <a:pt x="54" y="954"/>
                    </a:lnTo>
                    <a:lnTo>
                      <a:pt x="54" y="1032"/>
                    </a:lnTo>
                    <a:lnTo>
                      <a:pt x="60" y="1044"/>
                    </a:lnTo>
                    <a:lnTo>
                      <a:pt x="60" y="1050"/>
                    </a:lnTo>
                    <a:lnTo>
                      <a:pt x="66" y="1056"/>
                    </a:lnTo>
                    <a:lnTo>
                      <a:pt x="72" y="1050"/>
                    </a:lnTo>
                    <a:lnTo>
                      <a:pt x="78" y="1038"/>
                    </a:lnTo>
                    <a:lnTo>
                      <a:pt x="90" y="1026"/>
                    </a:lnTo>
                    <a:lnTo>
                      <a:pt x="102" y="1038"/>
                    </a:lnTo>
                    <a:lnTo>
                      <a:pt x="108" y="1050"/>
                    </a:lnTo>
                    <a:lnTo>
                      <a:pt x="108" y="1062"/>
                    </a:lnTo>
                    <a:lnTo>
                      <a:pt x="114" y="1050"/>
                    </a:lnTo>
                    <a:lnTo>
                      <a:pt x="126" y="1038"/>
                    </a:lnTo>
                    <a:lnTo>
                      <a:pt x="132" y="1026"/>
                    </a:lnTo>
                    <a:lnTo>
                      <a:pt x="138" y="1026"/>
                    </a:lnTo>
                    <a:lnTo>
                      <a:pt x="144" y="1032"/>
                    </a:lnTo>
                    <a:lnTo>
                      <a:pt x="150" y="1032"/>
                    </a:lnTo>
                    <a:lnTo>
                      <a:pt x="162" y="1038"/>
                    </a:lnTo>
                    <a:lnTo>
                      <a:pt x="168" y="1044"/>
                    </a:lnTo>
                    <a:lnTo>
                      <a:pt x="180" y="1050"/>
                    </a:lnTo>
                    <a:lnTo>
                      <a:pt x="198" y="1032"/>
                    </a:lnTo>
                    <a:lnTo>
                      <a:pt x="198" y="1014"/>
                    </a:lnTo>
                    <a:lnTo>
                      <a:pt x="204" y="1008"/>
                    </a:lnTo>
                    <a:lnTo>
                      <a:pt x="216" y="1008"/>
                    </a:lnTo>
                    <a:lnTo>
                      <a:pt x="228" y="1014"/>
                    </a:lnTo>
                    <a:lnTo>
                      <a:pt x="228" y="1032"/>
                    </a:lnTo>
                    <a:lnTo>
                      <a:pt x="246" y="1044"/>
                    </a:lnTo>
                    <a:lnTo>
                      <a:pt x="234" y="1074"/>
                    </a:lnTo>
                    <a:lnTo>
                      <a:pt x="270" y="1092"/>
                    </a:lnTo>
                    <a:lnTo>
                      <a:pt x="246" y="1128"/>
                    </a:lnTo>
                    <a:lnTo>
                      <a:pt x="270" y="1128"/>
                    </a:lnTo>
                    <a:lnTo>
                      <a:pt x="270" y="1164"/>
                    </a:lnTo>
                    <a:lnTo>
                      <a:pt x="300" y="1194"/>
                    </a:lnTo>
                    <a:lnTo>
                      <a:pt x="312" y="1200"/>
                    </a:lnTo>
                    <a:lnTo>
                      <a:pt x="312" y="1182"/>
                    </a:lnTo>
                    <a:lnTo>
                      <a:pt x="318" y="1176"/>
                    </a:lnTo>
                    <a:lnTo>
                      <a:pt x="330" y="1176"/>
                    </a:lnTo>
                    <a:lnTo>
                      <a:pt x="348" y="1182"/>
                    </a:lnTo>
                    <a:lnTo>
                      <a:pt x="366" y="1200"/>
                    </a:lnTo>
                    <a:lnTo>
                      <a:pt x="372" y="1182"/>
                    </a:lnTo>
                    <a:lnTo>
                      <a:pt x="390" y="1182"/>
                    </a:lnTo>
                    <a:lnTo>
                      <a:pt x="396" y="1158"/>
                    </a:lnTo>
                    <a:lnTo>
                      <a:pt x="408" y="1176"/>
                    </a:lnTo>
                    <a:lnTo>
                      <a:pt x="420" y="1152"/>
                    </a:lnTo>
                    <a:lnTo>
                      <a:pt x="420" y="1188"/>
                    </a:lnTo>
                    <a:lnTo>
                      <a:pt x="444" y="1194"/>
                    </a:lnTo>
                    <a:lnTo>
                      <a:pt x="450" y="1188"/>
                    </a:lnTo>
                    <a:lnTo>
                      <a:pt x="456" y="1176"/>
                    </a:lnTo>
                    <a:lnTo>
                      <a:pt x="462" y="1170"/>
                    </a:lnTo>
                    <a:lnTo>
                      <a:pt x="474" y="1170"/>
                    </a:lnTo>
                    <a:lnTo>
                      <a:pt x="468" y="1116"/>
                    </a:lnTo>
                    <a:lnTo>
                      <a:pt x="492" y="1116"/>
                    </a:lnTo>
                    <a:lnTo>
                      <a:pt x="504" y="1092"/>
                    </a:lnTo>
                    <a:lnTo>
                      <a:pt x="480" y="1062"/>
                    </a:lnTo>
                    <a:lnTo>
                      <a:pt x="498" y="1050"/>
                    </a:lnTo>
                    <a:lnTo>
                      <a:pt x="504" y="1050"/>
                    </a:lnTo>
                    <a:lnTo>
                      <a:pt x="510" y="1044"/>
                    </a:lnTo>
                    <a:lnTo>
                      <a:pt x="546" y="1044"/>
                    </a:lnTo>
                    <a:lnTo>
                      <a:pt x="546" y="1032"/>
                    </a:lnTo>
                    <a:lnTo>
                      <a:pt x="540" y="1026"/>
                    </a:lnTo>
                    <a:lnTo>
                      <a:pt x="546" y="1026"/>
                    </a:lnTo>
                    <a:lnTo>
                      <a:pt x="552" y="1020"/>
                    </a:lnTo>
                    <a:lnTo>
                      <a:pt x="552" y="990"/>
                    </a:lnTo>
                    <a:lnTo>
                      <a:pt x="570" y="990"/>
                    </a:lnTo>
                    <a:lnTo>
                      <a:pt x="570" y="960"/>
                    </a:lnTo>
                    <a:lnTo>
                      <a:pt x="564" y="954"/>
                    </a:lnTo>
                    <a:lnTo>
                      <a:pt x="582" y="924"/>
                    </a:lnTo>
                    <a:lnTo>
                      <a:pt x="612" y="954"/>
                    </a:lnTo>
                    <a:close/>
                  </a:path>
                </a:pathLst>
              </a:custGeom>
              <a:solidFill>
                <a:srgbClr val="9D90A0">
                  <a:lumMod val="40000"/>
                  <a:lumOff val="60000"/>
                </a:srgbClr>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137" name="Malawi" descr="© INSCALE GmbH, 05.05.2010&#10;http://www.presentationload.com/">
                <a:extLst>
                  <a:ext uri="{FF2B5EF4-FFF2-40B4-BE49-F238E27FC236}">
                    <a16:creationId xmlns:a16="http://schemas.microsoft.com/office/drawing/2014/main" id="{4319B81C-2F2C-4870-9E95-8F8B2354CE15}"/>
                  </a:ext>
                </a:extLst>
              </p:cNvPr>
              <p:cNvSpPr>
                <a:spLocks/>
              </p:cNvSpPr>
              <p:nvPr/>
            </p:nvSpPr>
            <p:spPr bwMode="gray">
              <a:xfrm>
                <a:off x="5128811" y="4886713"/>
                <a:ext cx="93595" cy="275499"/>
              </a:xfrm>
              <a:custGeom>
                <a:avLst/>
                <a:gdLst>
                  <a:gd name="T0" fmla="*/ 2147483647 w 234"/>
                  <a:gd name="T1" fmla="*/ 2147483647 h 624"/>
                  <a:gd name="T2" fmla="*/ 2147483647 w 234"/>
                  <a:gd name="T3" fmla="*/ 2147483647 h 624"/>
                  <a:gd name="T4" fmla="*/ 2147483647 w 234"/>
                  <a:gd name="T5" fmla="*/ 2147483647 h 624"/>
                  <a:gd name="T6" fmla="*/ 2147483647 w 234"/>
                  <a:gd name="T7" fmla="*/ 2147483647 h 624"/>
                  <a:gd name="T8" fmla="*/ 2147483647 w 234"/>
                  <a:gd name="T9" fmla="*/ 2147483647 h 624"/>
                  <a:gd name="T10" fmla="*/ 2147483647 w 234"/>
                  <a:gd name="T11" fmla="*/ 2147483647 h 624"/>
                  <a:gd name="T12" fmla="*/ 2147483647 w 234"/>
                  <a:gd name="T13" fmla="*/ 2147483647 h 624"/>
                  <a:gd name="T14" fmla="*/ 2147483647 w 234"/>
                  <a:gd name="T15" fmla="*/ 2147483647 h 624"/>
                  <a:gd name="T16" fmla="*/ 2147483647 w 234"/>
                  <a:gd name="T17" fmla="*/ 2147483647 h 624"/>
                  <a:gd name="T18" fmla="*/ 2147483647 w 234"/>
                  <a:gd name="T19" fmla="*/ 2147483647 h 624"/>
                  <a:gd name="T20" fmla="*/ 2147483647 w 234"/>
                  <a:gd name="T21" fmla="*/ 2147483647 h 624"/>
                  <a:gd name="T22" fmla="*/ 2147483647 w 234"/>
                  <a:gd name="T23" fmla="*/ 2147483647 h 624"/>
                  <a:gd name="T24" fmla="*/ 2147483647 w 234"/>
                  <a:gd name="T25" fmla="*/ 2147483647 h 624"/>
                  <a:gd name="T26" fmla="*/ 2147483647 w 234"/>
                  <a:gd name="T27" fmla="*/ 2147483647 h 624"/>
                  <a:gd name="T28" fmla="*/ 2147483647 w 234"/>
                  <a:gd name="T29" fmla="*/ 2147483647 h 624"/>
                  <a:gd name="T30" fmla="*/ 2147483647 w 234"/>
                  <a:gd name="T31" fmla="*/ 2147483647 h 624"/>
                  <a:gd name="T32" fmla="*/ 2147483647 w 234"/>
                  <a:gd name="T33" fmla="*/ 2147483647 h 624"/>
                  <a:gd name="T34" fmla="*/ 2147483647 w 234"/>
                  <a:gd name="T35" fmla="*/ 2147483647 h 624"/>
                  <a:gd name="T36" fmla="*/ 2147483647 w 234"/>
                  <a:gd name="T37" fmla="*/ 2147483647 h 624"/>
                  <a:gd name="T38" fmla="*/ 2147483647 w 234"/>
                  <a:gd name="T39" fmla="*/ 2147483647 h 624"/>
                  <a:gd name="T40" fmla="*/ 2147483647 w 234"/>
                  <a:gd name="T41" fmla="*/ 2147483647 h 624"/>
                  <a:gd name="T42" fmla="*/ 2147483647 w 234"/>
                  <a:gd name="T43" fmla="*/ 2147483647 h 624"/>
                  <a:gd name="T44" fmla="*/ 2147483647 w 234"/>
                  <a:gd name="T45" fmla="*/ 2147483647 h 624"/>
                  <a:gd name="T46" fmla="*/ 2147483647 w 234"/>
                  <a:gd name="T47" fmla="*/ 0 h 624"/>
                  <a:gd name="T48" fmla="*/ 2147483647 w 234"/>
                  <a:gd name="T49" fmla="*/ 2147483647 h 624"/>
                  <a:gd name="T50" fmla="*/ 2147483647 w 234"/>
                  <a:gd name="T51" fmla="*/ 2147483647 h 624"/>
                  <a:gd name="T52" fmla="*/ 2147483647 w 234"/>
                  <a:gd name="T53" fmla="*/ 2147483647 h 624"/>
                  <a:gd name="T54" fmla="*/ 2147483647 w 234"/>
                  <a:gd name="T55" fmla="*/ 2147483647 h 624"/>
                  <a:gd name="T56" fmla="*/ 2147483647 w 234"/>
                  <a:gd name="T57" fmla="*/ 2147483647 h 624"/>
                  <a:gd name="T58" fmla="*/ 2147483647 w 234"/>
                  <a:gd name="T59" fmla="*/ 2147483647 h 624"/>
                  <a:gd name="T60" fmla="*/ 2147483647 w 234"/>
                  <a:gd name="T61" fmla="*/ 2147483647 h 624"/>
                  <a:gd name="T62" fmla="*/ 2147483647 w 234"/>
                  <a:gd name="T63" fmla="*/ 2147483647 h 624"/>
                  <a:gd name="T64" fmla="*/ 2147483647 w 234"/>
                  <a:gd name="T65" fmla="*/ 2147483647 h 624"/>
                  <a:gd name="T66" fmla="*/ 2147483647 w 234"/>
                  <a:gd name="T67" fmla="*/ 2147483647 h 624"/>
                  <a:gd name="T68" fmla="*/ 2147483647 w 234"/>
                  <a:gd name="T69" fmla="*/ 2147483647 h 624"/>
                  <a:gd name="T70" fmla="*/ 2147483647 w 234"/>
                  <a:gd name="T71" fmla="*/ 2147483647 h 624"/>
                  <a:gd name="T72" fmla="*/ 2147483647 w 234"/>
                  <a:gd name="T73" fmla="*/ 2147483647 h 624"/>
                  <a:gd name="T74" fmla="*/ 0 w 234"/>
                  <a:gd name="T75" fmla="*/ 2147483647 h 624"/>
                  <a:gd name="T76" fmla="*/ 2147483647 w 234"/>
                  <a:gd name="T77" fmla="*/ 2147483647 h 624"/>
                  <a:gd name="T78" fmla="*/ 2147483647 w 234"/>
                  <a:gd name="T79" fmla="*/ 2147483647 h 624"/>
                  <a:gd name="T80" fmla="*/ 2147483647 w 234"/>
                  <a:gd name="T81" fmla="*/ 2147483647 h 624"/>
                  <a:gd name="T82" fmla="*/ 2147483647 w 234"/>
                  <a:gd name="T83" fmla="*/ 2147483647 h 624"/>
                  <a:gd name="T84" fmla="*/ 2147483647 w 234"/>
                  <a:gd name="T85" fmla="*/ 2147483647 h 624"/>
                  <a:gd name="T86" fmla="*/ 2147483647 w 234"/>
                  <a:gd name="T87" fmla="*/ 2147483647 h 624"/>
                  <a:gd name="T88" fmla="*/ 2147483647 w 234"/>
                  <a:gd name="T89" fmla="*/ 2147483647 h 624"/>
                  <a:gd name="T90" fmla="*/ 2147483647 w 234"/>
                  <a:gd name="T91" fmla="*/ 2147483647 h 624"/>
                  <a:gd name="T92" fmla="*/ 2147483647 w 234"/>
                  <a:gd name="T93" fmla="*/ 2147483647 h 624"/>
                  <a:gd name="T94" fmla="*/ 2147483647 w 234"/>
                  <a:gd name="T95" fmla="*/ 2147483647 h 624"/>
                  <a:gd name="T96" fmla="*/ 2147483647 w 234"/>
                  <a:gd name="T97" fmla="*/ 2147483647 h 624"/>
                  <a:gd name="T98" fmla="*/ 2147483647 w 234"/>
                  <a:gd name="T99" fmla="*/ 2147483647 h 624"/>
                  <a:gd name="T100" fmla="*/ 2147483647 w 234"/>
                  <a:gd name="T101" fmla="*/ 2147483647 h 624"/>
                  <a:gd name="T102" fmla="*/ 2147483647 w 234"/>
                  <a:gd name="T103" fmla="*/ 2147483647 h 624"/>
                  <a:gd name="T104" fmla="*/ 2147483647 w 234"/>
                  <a:gd name="T105" fmla="*/ 2147483647 h 624"/>
                  <a:gd name="T106" fmla="*/ 2147483647 w 234"/>
                  <a:gd name="T107" fmla="*/ 2147483647 h 624"/>
                  <a:gd name="T108" fmla="*/ 2147483647 w 234"/>
                  <a:gd name="T109" fmla="*/ 2147483647 h 624"/>
                  <a:gd name="T110" fmla="*/ 2147483647 w 234"/>
                  <a:gd name="T111" fmla="*/ 2147483647 h 624"/>
                  <a:gd name="T112" fmla="*/ 2147483647 w 234"/>
                  <a:gd name="T113" fmla="*/ 2147483647 h 624"/>
                  <a:gd name="T114" fmla="*/ 2147483647 w 234"/>
                  <a:gd name="T115" fmla="*/ 2147483647 h 624"/>
                  <a:gd name="T116" fmla="*/ 2147483647 w 234"/>
                  <a:gd name="T117" fmla="*/ 2147483647 h 62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34"/>
                  <a:gd name="T178" fmla="*/ 0 h 624"/>
                  <a:gd name="T179" fmla="*/ 234 w 234"/>
                  <a:gd name="T180" fmla="*/ 624 h 62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34" h="624">
                    <a:moveTo>
                      <a:pt x="234" y="432"/>
                    </a:moveTo>
                    <a:lnTo>
                      <a:pt x="222" y="420"/>
                    </a:lnTo>
                    <a:lnTo>
                      <a:pt x="210" y="402"/>
                    </a:lnTo>
                    <a:lnTo>
                      <a:pt x="204" y="390"/>
                    </a:lnTo>
                    <a:lnTo>
                      <a:pt x="198" y="384"/>
                    </a:lnTo>
                    <a:lnTo>
                      <a:pt x="186" y="360"/>
                    </a:lnTo>
                    <a:lnTo>
                      <a:pt x="162" y="336"/>
                    </a:lnTo>
                    <a:lnTo>
                      <a:pt x="156" y="336"/>
                    </a:lnTo>
                    <a:lnTo>
                      <a:pt x="156" y="330"/>
                    </a:lnTo>
                    <a:lnTo>
                      <a:pt x="150" y="330"/>
                    </a:lnTo>
                    <a:lnTo>
                      <a:pt x="150" y="342"/>
                    </a:lnTo>
                    <a:lnTo>
                      <a:pt x="156" y="342"/>
                    </a:lnTo>
                    <a:lnTo>
                      <a:pt x="168" y="354"/>
                    </a:lnTo>
                    <a:lnTo>
                      <a:pt x="168" y="366"/>
                    </a:lnTo>
                    <a:lnTo>
                      <a:pt x="174" y="378"/>
                    </a:lnTo>
                    <a:lnTo>
                      <a:pt x="174" y="390"/>
                    </a:lnTo>
                    <a:lnTo>
                      <a:pt x="168" y="396"/>
                    </a:lnTo>
                    <a:lnTo>
                      <a:pt x="162" y="396"/>
                    </a:lnTo>
                    <a:lnTo>
                      <a:pt x="162" y="390"/>
                    </a:lnTo>
                    <a:lnTo>
                      <a:pt x="156" y="384"/>
                    </a:lnTo>
                    <a:lnTo>
                      <a:pt x="156" y="378"/>
                    </a:lnTo>
                    <a:lnTo>
                      <a:pt x="144" y="384"/>
                    </a:lnTo>
                    <a:lnTo>
                      <a:pt x="132" y="384"/>
                    </a:lnTo>
                    <a:lnTo>
                      <a:pt x="132" y="360"/>
                    </a:lnTo>
                    <a:lnTo>
                      <a:pt x="126" y="354"/>
                    </a:lnTo>
                    <a:lnTo>
                      <a:pt x="126" y="342"/>
                    </a:lnTo>
                    <a:lnTo>
                      <a:pt x="120" y="330"/>
                    </a:lnTo>
                    <a:lnTo>
                      <a:pt x="120" y="282"/>
                    </a:lnTo>
                    <a:lnTo>
                      <a:pt x="84" y="246"/>
                    </a:lnTo>
                    <a:lnTo>
                      <a:pt x="90" y="240"/>
                    </a:lnTo>
                    <a:lnTo>
                      <a:pt x="90" y="222"/>
                    </a:lnTo>
                    <a:lnTo>
                      <a:pt x="96" y="210"/>
                    </a:lnTo>
                    <a:lnTo>
                      <a:pt x="114" y="192"/>
                    </a:lnTo>
                    <a:lnTo>
                      <a:pt x="120" y="180"/>
                    </a:lnTo>
                    <a:lnTo>
                      <a:pt x="126" y="174"/>
                    </a:lnTo>
                    <a:lnTo>
                      <a:pt x="126" y="156"/>
                    </a:lnTo>
                    <a:lnTo>
                      <a:pt x="120" y="150"/>
                    </a:lnTo>
                    <a:lnTo>
                      <a:pt x="120" y="102"/>
                    </a:lnTo>
                    <a:lnTo>
                      <a:pt x="114" y="78"/>
                    </a:lnTo>
                    <a:lnTo>
                      <a:pt x="114" y="60"/>
                    </a:lnTo>
                    <a:lnTo>
                      <a:pt x="102" y="60"/>
                    </a:lnTo>
                    <a:lnTo>
                      <a:pt x="84" y="42"/>
                    </a:lnTo>
                    <a:lnTo>
                      <a:pt x="84" y="36"/>
                    </a:lnTo>
                    <a:lnTo>
                      <a:pt x="90" y="24"/>
                    </a:lnTo>
                    <a:lnTo>
                      <a:pt x="90" y="18"/>
                    </a:lnTo>
                    <a:lnTo>
                      <a:pt x="60" y="18"/>
                    </a:lnTo>
                    <a:lnTo>
                      <a:pt x="54" y="0"/>
                    </a:lnTo>
                    <a:lnTo>
                      <a:pt x="30" y="0"/>
                    </a:lnTo>
                    <a:lnTo>
                      <a:pt x="30" y="12"/>
                    </a:lnTo>
                    <a:lnTo>
                      <a:pt x="42" y="12"/>
                    </a:lnTo>
                    <a:lnTo>
                      <a:pt x="54" y="24"/>
                    </a:lnTo>
                    <a:lnTo>
                      <a:pt x="54" y="66"/>
                    </a:lnTo>
                    <a:lnTo>
                      <a:pt x="60" y="66"/>
                    </a:lnTo>
                    <a:lnTo>
                      <a:pt x="66" y="60"/>
                    </a:lnTo>
                    <a:lnTo>
                      <a:pt x="66" y="84"/>
                    </a:lnTo>
                    <a:lnTo>
                      <a:pt x="78" y="84"/>
                    </a:lnTo>
                    <a:lnTo>
                      <a:pt x="78" y="96"/>
                    </a:lnTo>
                    <a:lnTo>
                      <a:pt x="54" y="108"/>
                    </a:lnTo>
                    <a:lnTo>
                      <a:pt x="48" y="114"/>
                    </a:lnTo>
                    <a:lnTo>
                      <a:pt x="42" y="114"/>
                    </a:lnTo>
                    <a:lnTo>
                      <a:pt x="42" y="132"/>
                    </a:lnTo>
                    <a:lnTo>
                      <a:pt x="54" y="138"/>
                    </a:lnTo>
                    <a:lnTo>
                      <a:pt x="48" y="156"/>
                    </a:lnTo>
                    <a:lnTo>
                      <a:pt x="48" y="228"/>
                    </a:lnTo>
                    <a:lnTo>
                      <a:pt x="60" y="228"/>
                    </a:lnTo>
                    <a:lnTo>
                      <a:pt x="60" y="234"/>
                    </a:lnTo>
                    <a:lnTo>
                      <a:pt x="42" y="252"/>
                    </a:lnTo>
                    <a:lnTo>
                      <a:pt x="30" y="258"/>
                    </a:lnTo>
                    <a:lnTo>
                      <a:pt x="24" y="264"/>
                    </a:lnTo>
                    <a:lnTo>
                      <a:pt x="18" y="264"/>
                    </a:lnTo>
                    <a:lnTo>
                      <a:pt x="24" y="300"/>
                    </a:lnTo>
                    <a:lnTo>
                      <a:pt x="18" y="312"/>
                    </a:lnTo>
                    <a:lnTo>
                      <a:pt x="12" y="318"/>
                    </a:lnTo>
                    <a:lnTo>
                      <a:pt x="6" y="330"/>
                    </a:lnTo>
                    <a:lnTo>
                      <a:pt x="0" y="336"/>
                    </a:lnTo>
                    <a:lnTo>
                      <a:pt x="0" y="342"/>
                    </a:lnTo>
                    <a:lnTo>
                      <a:pt x="12" y="348"/>
                    </a:lnTo>
                    <a:lnTo>
                      <a:pt x="24" y="360"/>
                    </a:lnTo>
                    <a:lnTo>
                      <a:pt x="36" y="366"/>
                    </a:lnTo>
                    <a:lnTo>
                      <a:pt x="66" y="414"/>
                    </a:lnTo>
                    <a:lnTo>
                      <a:pt x="96" y="414"/>
                    </a:lnTo>
                    <a:lnTo>
                      <a:pt x="102" y="408"/>
                    </a:lnTo>
                    <a:lnTo>
                      <a:pt x="120" y="408"/>
                    </a:lnTo>
                    <a:lnTo>
                      <a:pt x="126" y="414"/>
                    </a:lnTo>
                    <a:lnTo>
                      <a:pt x="126" y="450"/>
                    </a:lnTo>
                    <a:lnTo>
                      <a:pt x="132" y="450"/>
                    </a:lnTo>
                    <a:lnTo>
                      <a:pt x="126" y="480"/>
                    </a:lnTo>
                    <a:lnTo>
                      <a:pt x="114" y="486"/>
                    </a:lnTo>
                    <a:lnTo>
                      <a:pt x="126" y="504"/>
                    </a:lnTo>
                    <a:lnTo>
                      <a:pt x="120" y="510"/>
                    </a:lnTo>
                    <a:lnTo>
                      <a:pt x="108" y="516"/>
                    </a:lnTo>
                    <a:lnTo>
                      <a:pt x="102" y="522"/>
                    </a:lnTo>
                    <a:lnTo>
                      <a:pt x="102" y="528"/>
                    </a:lnTo>
                    <a:lnTo>
                      <a:pt x="114" y="528"/>
                    </a:lnTo>
                    <a:lnTo>
                      <a:pt x="114" y="558"/>
                    </a:lnTo>
                    <a:lnTo>
                      <a:pt x="126" y="564"/>
                    </a:lnTo>
                    <a:lnTo>
                      <a:pt x="132" y="570"/>
                    </a:lnTo>
                    <a:lnTo>
                      <a:pt x="144" y="576"/>
                    </a:lnTo>
                    <a:lnTo>
                      <a:pt x="150" y="582"/>
                    </a:lnTo>
                    <a:lnTo>
                      <a:pt x="162" y="588"/>
                    </a:lnTo>
                    <a:lnTo>
                      <a:pt x="162" y="600"/>
                    </a:lnTo>
                    <a:lnTo>
                      <a:pt x="156" y="606"/>
                    </a:lnTo>
                    <a:lnTo>
                      <a:pt x="156" y="618"/>
                    </a:lnTo>
                    <a:lnTo>
                      <a:pt x="162" y="624"/>
                    </a:lnTo>
                    <a:lnTo>
                      <a:pt x="168" y="618"/>
                    </a:lnTo>
                    <a:lnTo>
                      <a:pt x="180" y="612"/>
                    </a:lnTo>
                    <a:lnTo>
                      <a:pt x="180" y="582"/>
                    </a:lnTo>
                    <a:lnTo>
                      <a:pt x="174" y="576"/>
                    </a:lnTo>
                    <a:lnTo>
                      <a:pt x="168" y="576"/>
                    </a:lnTo>
                    <a:lnTo>
                      <a:pt x="168" y="558"/>
                    </a:lnTo>
                    <a:lnTo>
                      <a:pt x="174" y="546"/>
                    </a:lnTo>
                    <a:lnTo>
                      <a:pt x="186" y="540"/>
                    </a:lnTo>
                    <a:lnTo>
                      <a:pt x="210" y="540"/>
                    </a:lnTo>
                    <a:lnTo>
                      <a:pt x="216" y="534"/>
                    </a:lnTo>
                    <a:lnTo>
                      <a:pt x="216" y="474"/>
                    </a:lnTo>
                    <a:lnTo>
                      <a:pt x="222" y="468"/>
                    </a:lnTo>
                    <a:lnTo>
                      <a:pt x="228" y="456"/>
                    </a:lnTo>
                    <a:lnTo>
                      <a:pt x="234" y="450"/>
                    </a:lnTo>
                    <a:lnTo>
                      <a:pt x="234" y="432"/>
                    </a:lnTo>
                    <a:close/>
                  </a:path>
                </a:pathLst>
              </a:custGeom>
              <a:solidFill>
                <a:srgbClr val="9D90A0">
                  <a:lumMod val="40000"/>
                  <a:lumOff val="60000"/>
                </a:srgbClr>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138" name="Madagascar" descr="© INSCALE GmbH, 05.05.2010&#10;http://www.presentationload.com/">
                <a:extLst>
                  <a:ext uri="{FF2B5EF4-FFF2-40B4-BE49-F238E27FC236}">
                    <a16:creationId xmlns:a16="http://schemas.microsoft.com/office/drawing/2014/main" id="{803A4234-B458-4AE3-A5B1-AE0E40595680}"/>
                  </a:ext>
                </a:extLst>
              </p:cNvPr>
              <p:cNvSpPr>
                <a:spLocks/>
              </p:cNvSpPr>
              <p:nvPr/>
            </p:nvSpPr>
            <p:spPr bwMode="gray">
              <a:xfrm>
                <a:off x="5400235" y="4987210"/>
                <a:ext cx="233987" cy="479958"/>
              </a:xfrm>
              <a:custGeom>
                <a:avLst/>
                <a:gdLst>
                  <a:gd name="T0" fmla="*/ 2147483647 w 594"/>
                  <a:gd name="T1" fmla="*/ 2147483647 h 1092"/>
                  <a:gd name="T2" fmla="*/ 2147483647 w 594"/>
                  <a:gd name="T3" fmla="*/ 2147483647 h 1092"/>
                  <a:gd name="T4" fmla="*/ 2147483647 w 594"/>
                  <a:gd name="T5" fmla="*/ 2147483647 h 1092"/>
                  <a:gd name="T6" fmla="*/ 2147483647 w 594"/>
                  <a:gd name="T7" fmla="*/ 2147483647 h 1092"/>
                  <a:gd name="T8" fmla="*/ 2147483647 w 594"/>
                  <a:gd name="T9" fmla="*/ 2147483647 h 1092"/>
                  <a:gd name="T10" fmla="*/ 2147483647 w 594"/>
                  <a:gd name="T11" fmla="*/ 2147483647 h 1092"/>
                  <a:gd name="T12" fmla="*/ 2147483647 w 594"/>
                  <a:gd name="T13" fmla="*/ 2147483647 h 1092"/>
                  <a:gd name="T14" fmla="*/ 2147483647 w 594"/>
                  <a:gd name="T15" fmla="*/ 2147483647 h 1092"/>
                  <a:gd name="T16" fmla="*/ 2147483647 w 594"/>
                  <a:gd name="T17" fmla="*/ 2147483647 h 1092"/>
                  <a:gd name="T18" fmla="*/ 2147483647 w 594"/>
                  <a:gd name="T19" fmla="*/ 2147483647 h 1092"/>
                  <a:gd name="T20" fmla="*/ 2147483647 w 594"/>
                  <a:gd name="T21" fmla="*/ 2147483647 h 1092"/>
                  <a:gd name="T22" fmla="*/ 2147483647 w 594"/>
                  <a:gd name="T23" fmla="*/ 2147483647 h 1092"/>
                  <a:gd name="T24" fmla="*/ 2147483647 w 594"/>
                  <a:gd name="T25" fmla="*/ 2147483647 h 1092"/>
                  <a:gd name="T26" fmla="*/ 2147483647 w 594"/>
                  <a:gd name="T27" fmla="*/ 2147483647 h 1092"/>
                  <a:gd name="T28" fmla="*/ 2147483647 w 594"/>
                  <a:gd name="T29" fmla="*/ 2147483647 h 1092"/>
                  <a:gd name="T30" fmla="*/ 2147483647 w 594"/>
                  <a:gd name="T31" fmla="*/ 2147483647 h 1092"/>
                  <a:gd name="T32" fmla="*/ 2147483647 w 594"/>
                  <a:gd name="T33" fmla="*/ 0 h 1092"/>
                  <a:gd name="T34" fmla="*/ 2147483647 w 594"/>
                  <a:gd name="T35" fmla="*/ 2147483647 h 1092"/>
                  <a:gd name="T36" fmla="*/ 2147483647 w 594"/>
                  <a:gd name="T37" fmla="*/ 2147483647 h 1092"/>
                  <a:gd name="T38" fmla="*/ 2147483647 w 594"/>
                  <a:gd name="T39" fmla="*/ 2147483647 h 1092"/>
                  <a:gd name="T40" fmla="*/ 2147483647 w 594"/>
                  <a:gd name="T41" fmla="*/ 2147483647 h 1092"/>
                  <a:gd name="T42" fmla="*/ 2147483647 w 594"/>
                  <a:gd name="T43" fmla="*/ 2147483647 h 1092"/>
                  <a:gd name="T44" fmla="*/ 2147483647 w 594"/>
                  <a:gd name="T45" fmla="*/ 2147483647 h 1092"/>
                  <a:gd name="T46" fmla="*/ 2147483647 w 594"/>
                  <a:gd name="T47" fmla="*/ 2147483647 h 1092"/>
                  <a:gd name="T48" fmla="*/ 2147483647 w 594"/>
                  <a:gd name="T49" fmla="*/ 2147483647 h 1092"/>
                  <a:gd name="T50" fmla="*/ 2147483647 w 594"/>
                  <a:gd name="T51" fmla="*/ 2147483647 h 1092"/>
                  <a:gd name="T52" fmla="*/ 2147483647 w 594"/>
                  <a:gd name="T53" fmla="*/ 2147483647 h 1092"/>
                  <a:gd name="T54" fmla="*/ 2147483647 w 594"/>
                  <a:gd name="T55" fmla="*/ 2147483647 h 1092"/>
                  <a:gd name="T56" fmla="*/ 2147483647 w 594"/>
                  <a:gd name="T57" fmla="*/ 2147483647 h 1092"/>
                  <a:gd name="T58" fmla="*/ 2147483647 w 594"/>
                  <a:gd name="T59" fmla="*/ 2147483647 h 1092"/>
                  <a:gd name="T60" fmla="*/ 2147483647 w 594"/>
                  <a:gd name="T61" fmla="*/ 2147483647 h 1092"/>
                  <a:gd name="T62" fmla="*/ 2147483647 w 594"/>
                  <a:gd name="T63" fmla="*/ 2147483647 h 1092"/>
                  <a:gd name="T64" fmla="*/ 2147483647 w 594"/>
                  <a:gd name="T65" fmla="*/ 2147483647 h 1092"/>
                  <a:gd name="T66" fmla="*/ 2147483647 w 594"/>
                  <a:gd name="T67" fmla="*/ 2147483647 h 1092"/>
                  <a:gd name="T68" fmla="*/ 2147483647 w 594"/>
                  <a:gd name="T69" fmla="*/ 2147483647 h 1092"/>
                  <a:gd name="T70" fmla="*/ 2147483647 w 594"/>
                  <a:gd name="T71" fmla="*/ 2147483647 h 1092"/>
                  <a:gd name="T72" fmla="*/ 2147483647 w 594"/>
                  <a:gd name="T73" fmla="*/ 2147483647 h 1092"/>
                  <a:gd name="T74" fmla="*/ 2147483647 w 594"/>
                  <a:gd name="T75" fmla="*/ 2147483647 h 1092"/>
                  <a:gd name="T76" fmla="*/ 2147483647 w 594"/>
                  <a:gd name="T77" fmla="*/ 2147483647 h 1092"/>
                  <a:gd name="T78" fmla="*/ 2147483647 w 594"/>
                  <a:gd name="T79" fmla="*/ 2147483647 h 1092"/>
                  <a:gd name="T80" fmla="*/ 2147483647 w 594"/>
                  <a:gd name="T81" fmla="*/ 2147483647 h 1092"/>
                  <a:gd name="T82" fmla="*/ 2147483647 w 594"/>
                  <a:gd name="T83" fmla="*/ 2147483647 h 1092"/>
                  <a:gd name="T84" fmla="*/ 2147483647 w 594"/>
                  <a:gd name="T85" fmla="*/ 2147483647 h 1092"/>
                  <a:gd name="T86" fmla="*/ 0 w 594"/>
                  <a:gd name="T87" fmla="*/ 2147483647 h 1092"/>
                  <a:gd name="T88" fmla="*/ 2147483647 w 594"/>
                  <a:gd name="T89" fmla="*/ 2147483647 h 1092"/>
                  <a:gd name="T90" fmla="*/ 2147483647 w 594"/>
                  <a:gd name="T91" fmla="*/ 2147483647 h 1092"/>
                  <a:gd name="T92" fmla="*/ 2147483647 w 594"/>
                  <a:gd name="T93" fmla="*/ 2147483647 h 1092"/>
                  <a:gd name="T94" fmla="*/ 2147483647 w 594"/>
                  <a:gd name="T95" fmla="*/ 2147483647 h 1092"/>
                  <a:gd name="T96" fmla="*/ 2147483647 w 594"/>
                  <a:gd name="T97" fmla="*/ 2147483647 h 1092"/>
                  <a:gd name="T98" fmla="*/ 2147483647 w 594"/>
                  <a:gd name="T99" fmla="*/ 2147483647 h 1092"/>
                  <a:gd name="T100" fmla="*/ 2147483647 w 594"/>
                  <a:gd name="T101" fmla="*/ 2147483647 h 1092"/>
                  <a:gd name="T102" fmla="*/ 2147483647 w 594"/>
                  <a:gd name="T103" fmla="*/ 2147483647 h 109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94"/>
                  <a:gd name="T157" fmla="*/ 0 h 1092"/>
                  <a:gd name="T158" fmla="*/ 594 w 594"/>
                  <a:gd name="T159" fmla="*/ 1092 h 109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94" h="1092">
                    <a:moveTo>
                      <a:pt x="120" y="330"/>
                    </a:moveTo>
                    <a:lnTo>
                      <a:pt x="144" y="324"/>
                    </a:lnTo>
                    <a:lnTo>
                      <a:pt x="192" y="324"/>
                    </a:lnTo>
                    <a:lnTo>
                      <a:pt x="192" y="300"/>
                    </a:lnTo>
                    <a:lnTo>
                      <a:pt x="252" y="312"/>
                    </a:lnTo>
                    <a:lnTo>
                      <a:pt x="270" y="282"/>
                    </a:lnTo>
                    <a:lnTo>
                      <a:pt x="312" y="288"/>
                    </a:lnTo>
                    <a:lnTo>
                      <a:pt x="312" y="258"/>
                    </a:lnTo>
                    <a:lnTo>
                      <a:pt x="324" y="228"/>
                    </a:lnTo>
                    <a:lnTo>
                      <a:pt x="324" y="258"/>
                    </a:lnTo>
                    <a:lnTo>
                      <a:pt x="336" y="276"/>
                    </a:lnTo>
                    <a:lnTo>
                      <a:pt x="348" y="240"/>
                    </a:lnTo>
                    <a:lnTo>
                      <a:pt x="348" y="210"/>
                    </a:lnTo>
                    <a:lnTo>
                      <a:pt x="354" y="192"/>
                    </a:lnTo>
                    <a:lnTo>
                      <a:pt x="354" y="186"/>
                    </a:lnTo>
                    <a:lnTo>
                      <a:pt x="360" y="186"/>
                    </a:lnTo>
                    <a:lnTo>
                      <a:pt x="372" y="198"/>
                    </a:lnTo>
                    <a:lnTo>
                      <a:pt x="372" y="204"/>
                    </a:lnTo>
                    <a:lnTo>
                      <a:pt x="378" y="204"/>
                    </a:lnTo>
                    <a:lnTo>
                      <a:pt x="402" y="180"/>
                    </a:lnTo>
                    <a:lnTo>
                      <a:pt x="396" y="168"/>
                    </a:lnTo>
                    <a:lnTo>
                      <a:pt x="396" y="150"/>
                    </a:lnTo>
                    <a:lnTo>
                      <a:pt x="390" y="138"/>
                    </a:lnTo>
                    <a:lnTo>
                      <a:pt x="402" y="126"/>
                    </a:lnTo>
                    <a:lnTo>
                      <a:pt x="414" y="126"/>
                    </a:lnTo>
                    <a:lnTo>
                      <a:pt x="420" y="132"/>
                    </a:lnTo>
                    <a:lnTo>
                      <a:pt x="426" y="132"/>
                    </a:lnTo>
                    <a:lnTo>
                      <a:pt x="432" y="126"/>
                    </a:lnTo>
                    <a:lnTo>
                      <a:pt x="438" y="114"/>
                    </a:lnTo>
                    <a:lnTo>
                      <a:pt x="450" y="102"/>
                    </a:lnTo>
                    <a:lnTo>
                      <a:pt x="456" y="90"/>
                    </a:lnTo>
                    <a:lnTo>
                      <a:pt x="462" y="72"/>
                    </a:lnTo>
                    <a:lnTo>
                      <a:pt x="462" y="42"/>
                    </a:lnTo>
                    <a:lnTo>
                      <a:pt x="492" y="0"/>
                    </a:lnTo>
                    <a:lnTo>
                      <a:pt x="546" y="60"/>
                    </a:lnTo>
                    <a:lnTo>
                      <a:pt x="546" y="90"/>
                    </a:lnTo>
                    <a:lnTo>
                      <a:pt x="552" y="96"/>
                    </a:lnTo>
                    <a:lnTo>
                      <a:pt x="558" y="114"/>
                    </a:lnTo>
                    <a:lnTo>
                      <a:pt x="576" y="150"/>
                    </a:lnTo>
                    <a:lnTo>
                      <a:pt x="582" y="156"/>
                    </a:lnTo>
                    <a:lnTo>
                      <a:pt x="582" y="162"/>
                    </a:lnTo>
                    <a:lnTo>
                      <a:pt x="564" y="216"/>
                    </a:lnTo>
                    <a:lnTo>
                      <a:pt x="594" y="276"/>
                    </a:lnTo>
                    <a:lnTo>
                      <a:pt x="594" y="288"/>
                    </a:lnTo>
                    <a:lnTo>
                      <a:pt x="588" y="294"/>
                    </a:lnTo>
                    <a:lnTo>
                      <a:pt x="576" y="294"/>
                    </a:lnTo>
                    <a:lnTo>
                      <a:pt x="564" y="288"/>
                    </a:lnTo>
                    <a:lnTo>
                      <a:pt x="558" y="282"/>
                    </a:lnTo>
                    <a:lnTo>
                      <a:pt x="552" y="282"/>
                    </a:lnTo>
                    <a:lnTo>
                      <a:pt x="522" y="288"/>
                    </a:lnTo>
                    <a:lnTo>
                      <a:pt x="528" y="330"/>
                    </a:lnTo>
                    <a:lnTo>
                      <a:pt x="522" y="336"/>
                    </a:lnTo>
                    <a:lnTo>
                      <a:pt x="516" y="348"/>
                    </a:lnTo>
                    <a:lnTo>
                      <a:pt x="504" y="354"/>
                    </a:lnTo>
                    <a:lnTo>
                      <a:pt x="486" y="390"/>
                    </a:lnTo>
                    <a:lnTo>
                      <a:pt x="486" y="402"/>
                    </a:lnTo>
                    <a:lnTo>
                      <a:pt x="492" y="414"/>
                    </a:lnTo>
                    <a:lnTo>
                      <a:pt x="504" y="450"/>
                    </a:lnTo>
                    <a:lnTo>
                      <a:pt x="498" y="468"/>
                    </a:lnTo>
                    <a:lnTo>
                      <a:pt x="486" y="510"/>
                    </a:lnTo>
                    <a:lnTo>
                      <a:pt x="462" y="570"/>
                    </a:lnTo>
                    <a:lnTo>
                      <a:pt x="432" y="642"/>
                    </a:lnTo>
                    <a:lnTo>
                      <a:pt x="390" y="720"/>
                    </a:lnTo>
                    <a:lnTo>
                      <a:pt x="324" y="852"/>
                    </a:lnTo>
                    <a:lnTo>
                      <a:pt x="312" y="894"/>
                    </a:lnTo>
                    <a:lnTo>
                      <a:pt x="306" y="912"/>
                    </a:lnTo>
                    <a:lnTo>
                      <a:pt x="306" y="948"/>
                    </a:lnTo>
                    <a:lnTo>
                      <a:pt x="294" y="984"/>
                    </a:lnTo>
                    <a:lnTo>
                      <a:pt x="276" y="1014"/>
                    </a:lnTo>
                    <a:lnTo>
                      <a:pt x="258" y="1032"/>
                    </a:lnTo>
                    <a:lnTo>
                      <a:pt x="240" y="1044"/>
                    </a:lnTo>
                    <a:lnTo>
                      <a:pt x="222" y="1062"/>
                    </a:lnTo>
                    <a:lnTo>
                      <a:pt x="216" y="1062"/>
                    </a:lnTo>
                    <a:lnTo>
                      <a:pt x="210" y="1068"/>
                    </a:lnTo>
                    <a:lnTo>
                      <a:pt x="186" y="1068"/>
                    </a:lnTo>
                    <a:lnTo>
                      <a:pt x="150" y="1086"/>
                    </a:lnTo>
                    <a:lnTo>
                      <a:pt x="114" y="1092"/>
                    </a:lnTo>
                    <a:lnTo>
                      <a:pt x="78" y="1074"/>
                    </a:lnTo>
                    <a:lnTo>
                      <a:pt x="60" y="1056"/>
                    </a:lnTo>
                    <a:lnTo>
                      <a:pt x="48" y="1038"/>
                    </a:lnTo>
                    <a:lnTo>
                      <a:pt x="36" y="1026"/>
                    </a:lnTo>
                    <a:lnTo>
                      <a:pt x="36" y="1020"/>
                    </a:lnTo>
                    <a:lnTo>
                      <a:pt x="30" y="1014"/>
                    </a:lnTo>
                    <a:lnTo>
                      <a:pt x="48" y="990"/>
                    </a:lnTo>
                    <a:lnTo>
                      <a:pt x="42" y="978"/>
                    </a:lnTo>
                    <a:lnTo>
                      <a:pt x="24" y="948"/>
                    </a:lnTo>
                    <a:lnTo>
                      <a:pt x="12" y="900"/>
                    </a:lnTo>
                    <a:lnTo>
                      <a:pt x="0" y="834"/>
                    </a:lnTo>
                    <a:lnTo>
                      <a:pt x="0" y="786"/>
                    </a:lnTo>
                    <a:lnTo>
                      <a:pt x="6" y="756"/>
                    </a:lnTo>
                    <a:lnTo>
                      <a:pt x="18" y="738"/>
                    </a:lnTo>
                    <a:lnTo>
                      <a:pt x="60" y="696"/>
                    </a:lnTo>
                    <a:lnTo>
                      <a:pt x="72" y="678"/>
                    </a:lnTo>
                    <a:lnTo>
                      <a:pt x="90" y="672"/>
                    </a:lnTo>
                    <a:lnTo>
                      <a:pt x="96" y="660"/>
                    </a:lnTo>
                    <a:lnTo>
                      <a:pt x="108" y="654"/>
                    </a:lnTo>
                    <a:lnTo>
                      <a:pt x="108" y="636"/>
                    </a:lnTo>
                    <a:lnTo>
                      <a:pt x="102" y="600"/>
                    </a:lnTo>
                    <a:lnTo>
                      <a:pt x="96" y="558"/>
                    </a:lnTo>
                    <a:lnTo>
                      <a:pt x="96" y="522"/>
                    </a:lnTo>
                    <a:lnTo>
                      <a:pt x="78" y="432"/>
                    </a:lnTo>
                    <a:lnTo>
                      <a:pt x="90" y="408"/>
                    </a:lnTo>
                    <a:lnTo>
                      <a:pt x="132" y="366"/>
                    </a:lnTo>
                    <a:lnTo>
                      <a:pt x="132" y="360"/>
                    </a:lnTo>
                    <a:lnTo>
                      <a:pt x="120" y="330"/>
                    </a:lnTo>
                    <a:close/>
                  </a:path>
                </a:pathLst>
              </a:custGeom>
              <a:solidFill>
                <a:srgbClr val="9D90A0">
                  <a:lumMod val="40000"/>
                  <a:lumOff val="60000"/>
                </a:srgbClr>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139" name="Libya" descr="© INSCALE GmbH, 05.05.2010&#10;http://www.presentationload.com/">
                <a:extLst>
                  <a:ext uri="{FF2B5EF4-FFF2-40B4-BE49-F238E27FC236}">
                    <a16:creationId xmlns:a16="http://schemas.microsoft.com/office/drawing/2014/main" id="{AED494B5-EE11-4AF5-A8C8-5BD371AEA2D9}"/>
                  </a:ext>
                </a:extLst>
              </p:cNvPr>
              <p:cNvSpPr>
                <a:spLocks/>
              </p:cNvSpPr>
              <p:nvPr/>
            </p:nvSpPr>
            <p:spPr bwMode="gray">
              <a:xfrm>
                <a:off x="4476768" y="3375799"/>
                <a:ext cx="435215" cy="488621"/>
              </a:xfrm>
              <a:custGeom>
                <a:avLst/>
                <a:gdLst>
                  <a:gd name="T0" fmla="*/ 2147483647 w 1098"/>
                  <a:gd name="T1" fmla="*/ 2147483647 h 1110"/>
                  <a:gd name="T2" fmla="*/ 2147483647 w 1098"/>
                  <a:gd name="T3" fmla="*/ 2147483647 h 1110"/>
                  <a:gd name="T4" fmla="*/ 2147483647 w 1098"/>
                  <a:gd name="T5" fmla="*/ 2147483647 h 1110"/>
                  <a:gd name="T6" fmla="*/ 2147483647 w 1098"/>
                  <a:gd name="T7" fmla="*/ 2147483647 h 1110"/>
                  <a:gd name="T8" fmla="*/ 2147483647 w 1098"/>
                  <a:gd name="T9" fmla="*/ 2147483647 h 1110"/>
                  <a:gd name="T10" fmla="*/ 2147483647 w 1098"/>
                  <a:gd name="T11" fmla="*/ 2147483647 h 1110"/>
                  <a:gd name="T12" fmla="*/ 2147483647 w 1098"/>
                  <a:gd name="T13" fmla="*/ 2147483647 h 1110"/>
                  <a:gd name="T14" fmla="*/ 2147483647 w 1098"/>
                  <a:gd name="T15" fmla="*/ 2147483647 h 1110"/>
                  <a:gd name="T16" fmla="*/ 2147483647 w 1098"/>
                  <a:gd name="T17" fmla="*/ 2147483647 h 1110"/>
                  <a:gd name="T18" fmla="*/ 2147483647 w 1098"/>
                  <a:gd name="T19" fmla="*/ 2147483647 h 1110"/>
                  <a:gd name="T20" fmla="*/ 2147483647 w 1098"/>
                  <a:gd name="T21" fmla="*/ 2147483647 h 1110"/>
                  <a:gd name="T22" fmla="*/ 2147483647 w 1098"/>
                  <a:gd name="T23" fmla="*/ 2147483647 h 1110"/>
                  <a:gd name="T24" fmla="*/ 0 w 1098"/>
                  <a:gd name="T25" fmla="*/ 2147483647 h 1110"/>
                  <a:gd name="T26" fmla="*/ 2147483647 w 1098"/>
                  <a:gd name="T27" fmla="*/ 2147483647 h 1110"/>
                  <a:gd name="T28" fmla="*/ 2147483647 w 1098"/>
                  <a:gd name="T29" fmla="*/ 2147483647 h 1110"/>
                  <a:gd name="T30" fmla="*/ 2147483647 w 1098"/>
                  <a:gd name="T31" fmla="*/ 2147483647 h 1110"/>
                  <a:gd name="T32" fmla="*/ 2147483647 w 1098"/>
                  <a:gd name="T33" fmla="*/ 2147483647 h 1110"/>
                  <a:gd name="T34" fmla="*/ 2147483647 w 1098"/>
                  <a:gd name="T35" fmla="*/ 2147483647 h 1110"/>
                  <a:gd name="T36" fmla="*/ 2147483647 w 1098"/>
                  <a:gd name="T37" fmla="*/ 2147483647 h 1110"/>
                  <a:gd name="T38" fmla="*/ 2147483647 w 1098"/>
                  <a:gd name="T39" fmla="*/ 2147483647 h 1110"/>
                  <a:gd name="T40" fmla="*/ 2147483647 w 1098"/>
                  <a:gd name="T41" fmla="*/ 2147483647 h 1110"/>
                  <a:gd name="T42" fmla="*/ 2147483647 w 1098"/>
                  <a:gd name="T43" fmla="*/ 2147483647 h 1110"/>
                  <a:gd name="T44" fmla="*/ 2147483647 w 1098"/>
                  <a:gd name="T45" fmla="*/ 2147483647 h 1110"/>
                  <a:gd name="T46" fmla="*/ 2147483647 w 1098"/>
                  <a:gd name="T47" fmla="*/ 2147483647 h 1110"/>
                  <a:gd name="T48" fmla="*/ 2147483647 w 1098"/>
                  <a:gd name="T49" fmla="*/ 2147483647 h 1110"/>
                  <a:gd name="T50" fmla="*/ 2147483647 w 1098"/>
                  <a:gd name="T51" fmla="*/ 2147483647 h 1110"/>
                  <a:gd name="T52" fmla="*/ 2147483647 w 1098"/>
                  <a:gd name="T53" fmla="*/ 2147483647 h 1110"/>
                  <a:gd name="T54" fmla="*/ 2147483647 w 1098"/>
                  <a:gd name="T55" fmla="*/ 2147483647 h 1110"/>
                  <a:gd name="T56" fmla="*/ 2147483647 w 1098"/>
                  <a:gd name="T57" fmla="*/ 2147483647 h 1110"/>
                  <a:gd name="T58" fmla="*/ 2147483647 w 1098"/>
                  <a:gd name="T59" fmla="*/ 2147483647 h 1110"/>
                  <a:gd name="T60" fmla="*/ 2147483647 w 1098"/>
                  <a:gd name="T61" fmla="*/ 2147483647 h 1110"/>
                  <a:gd name="T62" fmla="*/ 2147483647 w 1098"/>
                  <a:gd name="T63" fmla="*/ 2147483647 h 1110"/>
                  <a:gd name="T64" fmla="*/ 2147483647 w 1098"/>
                  <a:gd name="T65" fmla="*/ 2147483647 h 1110"/>
                  <a:gd name="T66" fmla="*/ 2147483647 w 1098"/>
                  <a:gd name="T67" fmla="*/ 2147483647 h 1110"/>
                  <a:gd name="T68" fmla="*/ 2147483647 w 1098"/>
                  <a:gd name="T69" fmla="*/ 2147483647 h 1110"/>
                  <a:gd name="T70" fmla="*/ 2147483647 w 1098"/>
                  <a:gd name="T71" fmla="*/ 2147483647 h 1110"/>
                  <a:gd name="T72" fmla="*/ 2147483647 w 1098"/>
                  <a:gd name="T73" fmla="*/ 2147483647 h 1110"/>
                  <a:gd name="T74" fmla="*/ 2147483647 w 1098"/>
                  <a:gd name="T75" fmla="*/ 2147483647 h 1110"/>
                  <a:gd name="T76" fmla="*/ 2147483647 w 1098"/>
                  <a:gd name="T77" fmla="*/ 2147483647 h 1110"/>
                  <a:gd name="T78" fmla="*/ 2147483647 w 1098"/>
                  <a:gd name="T79" fmla="*/ 2147483647 h 1110"/>
                  <a:gd name="T80" fmla="*/ 2147483647 w 1098"/>
                  <a:gd name="T81" fmla="*/ 2147483647 h 1110"/>
                  <a:gd name="T82" fmla="*/ 2147483647 w 1098"/>
                  <a:gd name="T83" fmla="*/ 2147483647 h 1110"/>
                  <a:gd name="T84" fmla="*/ 2147483647 w 1098"/>
                  <a:gd name="T85" fmla="*/ 2147483647 h 1110"/>
                  <a:gd name="T86" fmla="*/ 2147483647 w 1098"/>
                  <a:gd name="T87" fmla="*/ 2147483647 h 1110"/>
                  <a:gd name="T88" fmla="*/ 2147483647 w 1098"/>
                  <a:gd name="T89" fmla="*/ 2147483647 h 1110"/>
                  <a:gd name="T90" fmla="*/ 2147483647 w 1098"/>
                  <a:gd name="T91" fmla="*/ 2147483647 h 1110"/>
                  <a:gd name="T92" fmla="*/ 2147483647 w 1098"/>
                  <a:gd name="T93" fmla="*/ 2147483647 h 1110"/>
                  <a:gd name="T94" fmla="*/ 2147483647 w 1098"/>
                  <a:gd name="T95" fmla="*/ 2147483647 h 1110"/>
                  <a:gd name="T96" fmla="*/ 2147483647 w 1098"/>
                  <a:gd name="T97" fmla="*/ 2147483647 h 1110"/>
                  <a:gd name="T98" fmla="*/ 2147483647 w 1098"/>
                  <a:gd name="T99" fmla="*/ 2147483647 h 1110"/>
                  <a:gd name="T100" fmla="*/ 2147483647 w 1098"/>
                  <a:gd name="T101" fmla="*/ 2147483647 h 1110"/>
                  <a:gd name="T102" fmla="*/ 2147483647 w 1098"/>
                  <a:gd name="T103" fmla="*/ 2147483647 h 1110"/>
                  <a:gd name="T104" fmla="*/ 2147483647 w 1098"/>
                  <a:gd name="T105" fmla="*/ 2147483647 h 1110"/>
                  <a:gd name="T106" fmla="*/ 2147483647 w 1098"/>
                  <a:gd name="T107" fmla="*/ 2147483647 h 1110"/>
                  <a:gd name="T108" fmla="*/ 2147483647 w 1098"/>
                  <a:gd name="T109" fmla="*/ 2147483647 h 1110"/>
                  <a:gd name="T110" fmla="*/ 2147483647 w 1098"/>
                  <a:gd name="T111" fmla="*/ 2147483647 h 1110"/>
                  <a:gd name="T112" fmla="*/ 2147483647 w 1098"/>
                  <a:gd name="T113" fmla="*/ 2147483647 h 111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098"/>
                  <a:gd name="T172" fmla="*/ 0 h 1110"/>
                  <a:gd name="T173" fmla="*/ 1098 w 1098"/>
                  <a:gd name="T174" fmla="*/ 1110 h 111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098" h="1110">
                    <a:moveTo>
                      <a:pt x="156" y="60"/>
                    </a:moveTo>
                    <a:lnTo>
                      <a:pt x="150" y="66"/>
                    </a:lnTo>
                    <a:lnTo>
                      <a:pt x="126" y="78"/>
                    </a:lnTo>
                    <a:lnTo>
                      <a:pt x="114" y="78"/>
                    </a:lnTo>
                    <a:lnTo>
                      <a:pt x="102" y="84"/>
                    </a:lnTo>
                    <a:lnTo>
                      <a:pt x="96" y="90"/>
                    </a:lnTo>
                    <a:lnTo>
                      <a:pt x="90" y="102"/>
                    </a:lnTo>
                    <a:lnTo>
                      <a:pt x="84" y="108"/>
                    </a:lnTo>
                    <a:lnTo>
                      <a:pt x="78" y="120"/>
                    </a:lnTo>
                    <a:lnTo>
                      <a:pt x="72" y="120"/>
                    </a:lnTo>
                    <a:lnTo>
                      <a:pt x="54" y="138"/>
                    </a:lnTo>
                    <a:lnTo>
                      <a:pt x="54" y="156"/>
                    </a:lnTo>
                    <a:lnTo>
                      <a:pt x="66" y="180"/>
                    </a:lnTo>
                    <a:lnTo>
                      <a:pt x="66" y="204"/>
                    </a:lnTo>
                    <a:lnTo>
                      <a:pt x="36" y="234"/>
                    </a:lnTo>
                    <a:lnTo>
                      <a:pt x="30" y="234"/>
                    </a:lnTo>
                    <a:lnTo>
                      <a:pt x="24" y="240"/>
                    </a:lnTo>
                    <a:lnTo>
                      <a:pt x="12" y="246"/>
                    </a:lnTo>
                    <a:lnTo>
                      <a:pt x="6" y="246"/>
                    </a:lnTo>
                    <a:lnTo>
                      <a:pt x="0" y="252"/>
                    </a:lnTo>
                    <a:lnTo>
                      <a:pt x="12" y="270"/>
                    </a:lnTo>
                    <a:lnTo>
                      <a:pt x="36" y="330"/>
                    </a:lnTo>
                    <a:lnTo>
                      <a:pt x="48" y="354"/>
                    </a:lnTo>
                    <a:lnTo>
                      <a:pt x="48" y="360"/>
                    </a:lnTo>
                    <a:lnTo>
                      <a:pt x="42" y="372"/>
                    </a:lnTo>
                    <a:lnTo>
                      <a:pt x="42" y="402"/>
                    </a:lnTo>
                    <a:lnTo>
                      <a:pt x="36" y="408"/>
                    </a:lnTo>
                    <a:lnTo>
                      <a:pt x="36" y="414"/>
                    </a:lnTo>
                    <a:lnTo>
                      <a:pt x="42" y="432"/>
                    </a:lnTo>
                    <a:lnTo>
                      <a:pt x="30" y="456"/>
                    </a:lnTo>
                    <a:lnTo>
                      <a:pt x="36" y="510"/>
                    </a:lnTo>
                    <a:lnTo>
                      <a:pt x="36" y="516"/>
                    </a:lnTo>
                    <a:lnTo>
                      <a:pt x="42" y="522"/>
                    </a:lnTo>
                    <a:lnTo>
                      <a:pt x="42" y="534"/>
                    </a:lnTo>
                    <a:lnTo>
                      <a:pt x="36" y="546"/>
                    </a:lnTo>
                    <a:lnTo>
                      <a:pt x="30" y="552"/>
                    </a:lnTo>
                    <a:lnTo>
                      <a:pt x="18" y="558"/>
                    </a:lnTo>
                    <a:lnTo>
                      <a:pt x="6" y="558"/>
                    </a:lnTo>
                    <a:lnTo>
                      <a:pt x="0" y="564"/>
                    </a:lnTo>
                    <a:lnTo>
                      <a:pt x="0" y="570"/>
                    </a:lnTo>
                    <a:lnTo>
                      <a:pt x="6" y="582"/>
                    </a:lnTo>
                    <a:lnTo>
                      <a:pt x="18" y="594"/>
                    </a:lnTo>
                    <a:lnTo>
                      <a:pt x="24" y="612"/>
                    </a:lnTo>
                    <a:lnTo>
                      <a:pt x="36" y="624"/>
                    </a:lnTo>
                    <a:lnTo>
                      <a:pt x="42" y="636"/>
                    </a:lnTo>
                    <a:lnTo>
                      <a:pt x="48" y="642"/>
                    </a:lnTo>
                    <a:lnTo>
                      <a:pt x="48" y="684"/>
                    </a:lnTo>
                    <a:lnTo>
                      <a:pt x="72" y="708"/>
                    </a:lnTo>
                    <a:lnTo>
                      <a:pt x="96" y="696"/>
                    </a:lnTo>
                    <a:lnTo>
                      <a:pt x="102" y="696"/>
                    </a:lnTo>
                    <a:lnTo>
                      <a:pt x="138" y="714"/>
                    </a:lnTo>
                    <a:lnTo>
                      <a:pt x="150" y="714"/>
                    </a:lnTo>
                    <a:lnTo>
                      <a:pt x="162" y="726"/>
                    </a:lnTo>
                    <a:lnTo>
                      <a:pt x="162" y="732"/>
                    </a:lnTo>
                    <a:lnTo>
                      <a:pt x="168" y="744"/>
                    </a:lnTo>
                    <a:lnTo>
                      <a:pt x="174" y="762"/>
                    </a:lnTo>
                    <a:lnTo>
                      <a:pt x="180" y="774"/>
                    </a:lnTo>
                    <a:lnTo>
                      <a:pt x="186" y="780"/>
                    </a:lnTo>
                    <a:lnTo>
                      <a:pt x="186" y="786"/>
                    </a:lnTo>
                    <a:lnTo>
                      <a:pt x="222" y="792"/>
                    </a:lnTo>
                    <a:lnTo>
                      <a:pt x="234" y="792"/>
                    </a:lnTo>
                    <a:lnTo>
                      <a:pt x="246" y="798"/>
                    </a:lnTo>
                    <a:lnTo>
                      <a:pt x="258" y="798"/>
                    </a:lnTo>
                    <a:lnTo>
                      <a:pt x="276" y="804"/>
                    </a:lnTo>
                    <a:lnTo>
                      <a:pt x="288" y="810"/>
                    </a:lnTo>
                    <a:lnTo>
                      <a:pt x="294" y="810"/>
                    </a:lnTo>
                    <a:lnTo>
                      <a:pt x="300" y="816"/>
                    </a:lnTo>
                    <a:lnTo>
                      <a:pt x="312" y="822"/>
                    </a:lnTo>
                    <a:lnTo>
                      <a:pt x="318" y="828"/>
                    </a:lnTo>
                    <a:lnTo>
                      <a:pt x="324" y="840"/>
                    </a:lnTo>
                    <a:lnTo>
                      <a:pt x="336" y="846"/>
                    </a:lnTo>
                    <a:lnTo>
                      <a:pt x="342" y="852"/>
                    </a:lnTo>
                    <a:lnTo>
                      <a:pt x="360" y="846"/>
                    </a:lnTo>
                    <a:lnTo>
                      <a:pt x="396" y="828"/>
                    </a:lnTo>
                    <a:lnTo>
                      <a:pt x="456" y="792"/>
                    </a:lnTo>
                    <a:lnTo>
                      <a:pt x="468" y="786"/>
                    </a:lnTo>
                    <a:lnTo>
                      <a:pt x="1026" y="1110"/>
                    </a:lnTo>
                    <a:lnTo>
                      <a:pt x="1026" y="1062"/>
                    </a:lnTo>
                    <a:lnTo>
                      <a:pt x="1098" y="1062"/>
                    </a:lnTo>
                    <a:lnTo>
                      <a:pt x="1098" y="828"/>
                    </a:lnTo>
                    <a:lnTo>
                      <a:pt x="1092" y="750"/>
                    </a:lnTo>
                    <a:lnTo>
                      <a:pt x="1092" y="660"/>
                    </a:lnTo>
                    <a:lnTo>
                      <a:pt x="1086" y="564"/>
                    </a:lnTo>
                    <a:lnTo>
                      <a:pt x="1086" y="468"/>
                    </a:lnTo>
                    <a:lnTo>
                      <a:pt x="1080" y="390"/>
                    </a:lnTo>
                    <a:lnTo>
                      <a:pt x="1080" y="306"/>
                    </a:lnTo>
                    <a:lnTo>
                      <a:pt x="1068" y="270"/>
                    </a:lnTo>
                    <a:lnTo>
                      <a:pt x="1056" y="258"/>
                    </a:lnTo>
                    <a:lnTo>
                      <a:pt x="1050" y="246"/>
                    </a:lnTo>
                    <a:lnTo>
                      <a:pt x="1050" y="240"/>
                    </a:lnTo>
                    <a:lnTo>
                      <a:pt x="1056" y="228"/>
                    </a:lnTo>
                    <a:lnTo>
                      <a:pt x="1062" y="222"/>
                    </a:lnTo>
                    <a:lnTo>
                      <a:pt x="1068" y="210"/>
                    </a:lnTo>
                    <a:lnTo>
                      <a:pt x="1074" y="204"/>
                    </a:lnTo>
                    <a:lnTo>
                      <a:pt x="1074" y="198"/>
                    </a:lnTo>
                    <a:lnTo>
                      <a:pt x="1068" y="186"/>
                    </a:lnTo>
                    <a:lnTo>
                      <a:pt x="1056" y="180"/>
                    </a:lnTo>
                    <a:lnTo>
                      <a:pt x="1056" y="150"/>
                    </a:lnTo>
                    <a:lnTo>
                      <a:pt x="1080" y="126"/>
                    </a:lnTo>
                    <a:lnTo>
                      <a:pt x="1074" y="114"/>
                    </a:lnTo>
                    <a:lnTo>
                      <a:pt x="1074" y="96"/>
                    </a:lnTo>
                    <a:lnTo>
                      <a:pt x="1056" y="102"/>
                    </a:lnTo>
                    <a:lnTo>
                      <a:pt x="1044" y="90"/>
                    </a:lnTo>
                    <a:lnTo>
                      <a:pt x="1032" y="102"/>
                    </a:lnTo>
                    <a:lnTo>
                      <a:pt x="1026" y="102"/>
                    </a:lnTo>
                    <a:lnTo>
                      <a:pt x="1020" y="96"/>
                    </a:lnTo>
                    <a:lnTo>
                      <a:pt x="1008" y="90"/>
                    </a:lnTo>
                    <a:lnTo>
                      <a:pt x="1002" y="84"/>
                    </a:lnTo>
                    <a:lnTo>
                      <a:pt x="990" y="78"/>
                    </a:lnTo>
                    <a:lnTo>
                      <a:pt x="978" y="78"/>
                    </a:lnTo>
                    <a:lnTo>
                      <a:pt x="966" y="84"/>
                    </a:lnTo>
                    <a:lnTo>
                      <a:pt x="954" y="84"/>
                    </a:lnTo>
                    <a:lnTo>
                      <a:pt x="942" y="78"/>
                    </a:lnTo>
                    <a:lnTo>
                      <a:pt x="936" y="72"/>
                    </a:lnTo>
                    <a:lnTo>
                      <a:pt x="936" y="48"/>
                    </a:lnTo>
                    <a:lnTo>
                      <a:pt x="930" y="42"/>
                    </a:lnTo>
                    <a:lnTo>
                      <a:pt x="918" y="36"/>
                    </a:lnTo>
                    <a:lnTo>
                      <a:pt x="882" y="36"/>
                    </a:lnTo>
                    <a:lnTo>
                      <a:pt x="876" y="30"/>
                    </a:lnTo>
                    <a:lnTo>
                      <a:pt x="864" y="30"/>
                    </a:lnTo>
                    <a:lnTo>
                      <a:pt x="852" y="24"/>
                    </a:lnTo>
                    <a:lnTo>
                      <a:pt x="840" y="24"/>
                    </a:lnTo>
                    <a:lnTo>
                      <a:pt x="834" y="30"/>
                    </a:lnTo>
                    <a:lnTo>
                      <a:pt x="834" y="36"/>
                    </a:lnTo>
                    <a:lnTo>
                      <a:pt x="798" y="36"/>
                    </a:lnTo>
                    <a:lnTo>
                      <a:pt x="780" y="42"/>
                    </a:lnTo>
                    <a:lnTo>
                      <a:pt x="768" y="48"/>
                    </a:lnTo>
                    <a:lnTo>
                      <a:pt x="732" y="84"/>
                    </a:lnTo>
                    <a:lnTo>
                      <a:pt x="720" y="108"/>
                    </a:lnTo>
                    <a:lnTo>
                      <a:pt x="720" y="120"/>
                    </a:lnTo>
                    <a:lnTo>
                      <a:pt x="726" y="138"/>
                    </a:lnTo>
                    <a:lnTo>
                      <a:pt x="738" y="150"/>
                    </a:lnTo>
                    <a:lnTo>
                      <a:pt x="744" y="162"/>
                    </a:lnTo>
                    <a:lnTo>
                      <a:pt x="744" y="180"/>
                    </a:lnTo>
                    <a:lnTo>
                      <a:pt x="738" y="192"/>
                    </a:lnTo>
                    <a:lnTo>
                      <a:pt x="714" y="216"/>
                    </a:lnTo>
                    <a:lnTo>
                      <a:pt x="708" y="228"/>
                    </a:lnTo>
                    <a:lnTo>
                      <a:pt x="696" y="234"/>
                    </a:lnTo>
                    <a:lnTo>
                      <a:pt x="666" y="234"/>
                    </a:lnTo>
                    <a:lnTo>
                      <a:pt x="648" y="228"/>
                    </a:lnTo>
                    <a:lnTo>
                      <a:pt x="630" y="216"/>
                    </a:lnTo>
                    <a:lnTo>
                      <a:pt x="612" y="198"/>
                    </a:lnTo>
                    <a:lnTo>
                      <a:pt x="582" y="180"/>
                    </a:lnTo>
                    <a:lnTo>
                      <a:pt x="552" y="168"/>
                    </a:lnTo>
                    <a:lnTo>
                      <a:pt x="528" y="162"/>
                    </a:lnTo>
                    <a:lnTo>
                      <a:pt x="462" y="162"/>
                    </a:lnTo>
                    <a:lnTo>
                      <a:pt x="438" y="150"/>
                    </a:lnTo>
                    <a:lnTo>
                      <a:pt x="426" y="138"/>
                    </a:lnTo>
                    <a:lnTo>
                      <a:pt x="420" y="126"/>
                    </a:lnTo>
                    <a:lnTo>
                      <a:pt x="414" y="108"/>
                    </a:lnTo>
                    <a:lnTo>
                      <a:pt x="414" y="96"/>
                    </a:lnTo>
                    <a:lnTo>
                      <a:pt x="402" y="72"/>
                    </a:lnTo>
                    <a:lnTo>
                      <a:pt x="378" y="60"/>
                    </a:lnTo>
                    <a:lnTo>
                      <a:pt x="366" y="60"/>
                    </a:lnTo>
                    <a:lnTo>
                      <a:pt x="354" y="54"/>
                    </a:lnTo>
                    <a:lnTo>
                      <a:pt x="348" y="48"/>
                    </a:lnTo>
                    <a:lnTo>
                      <a:pt x="324" y="36"/>
                    </a:lnTo>
                    <a:lnTo>
                      <a:pt x="318" y="36"/>
                    </a:lnTo>
                    <a:lnTo>
                      <a:pt x="306" y="30"/>
                    </a:lnTo>
                    <a:lnTo>
                      <a:pt x="264" y="30"/>
                    </a:lnTo>
                    <a:lnTo>
                      <a:pt x="252" y="36"/>
                    </a:lnTo>
                    <a:lnTo>
                      <a:pt x="216" y="36"/>
                    </a:lnTo>
                    <a:lnTo>
                      <a:pt x="192" y="24"/>
                    </a:lnTo>
                    <a:lnTo>
                      <a:pt x="180" y="12"/>
                    </a:lnTo>
                    <a:lnTo>
                      <a:pt x="168" y="6"/>
                    </a:lnTo>
                    <a:lnTo>
                      <a:pt x="150" y="6"/>
                    </a:lnTo>
                    <a:lnTo>
                      <a:pt x="144" y="0"/>
                    </a:lnTo>
                    <a:lnTo>
                      <a:pt x="138" y="42"/>
                    </a:lnTo>
                    <a:lnTo>
                      <a:pt x="144" y="42"/>
                    </a:lnTo>
                    <a:lnTo>
                      <a:pt x="156" y="54"/>
                    </a:lnTo>
                    <a:lnTo>
                      <a:pt x="156" y="60"/>
                    </a:lnTo>
                    <a:close/>
                  </a:path>
                </a:pathLst>
              </a:custGeom>
              <a:solidFill>
                <a:srgbClr val="9D90A0">
                  <a:lumMod val="40000"/>
                  <a:lumOff val="60000"/>
                </a:srgbClr>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140" name="Liberia" descr="© INSCALE GmbH, 05.05.2010&#10;http://www.presentationload.com/">
                <a:extLst>
                  <a:ext uri="{FF2B5EF4-FFF2-40B4-BE49-F238E27FC236}">
                    <a16:creationId xmlns:a16="http://schemas.microsoft.com/office/drawing/2014/main" id="{AAA8A626-1495-4D28-8665-A26DF7100F2D}"/>
                  </a:ext>
                </a:extLst>
              </p:cNvPr>
              <p:cNvSpPr>
                <a:spLocks/>
              </p:cNvSpPr>
              <p:nvPr/>
            </p:nvSpPr>
            <p:spPr bwMode="gray">
              <a:xfrm>
                <a:off x="3884001" y="4249080"/>
                <a:ext cx="123233" cy="150745"/>
              </a:xfrm>
              <a:custGeom>
                <a:avLst/>
                <a:gdLst>
                  <a:gd name="T0" fmla="*/ 2147483647 w 312"/>
                  <a:gd name="T1" fmla="*/ 2147483647 h 342"/>
                  <a:gd name="T2" fmla="*/ 2147483647 w 312"/>
                  <a:gd name="T3" fmla="*/ 2147483647 h 342"/>
                  <a:gd name="T4" fmla="*/ 2147483647 w 312"/>
                  <a:gd name="T5" fmla="*/ 2147483647 h 342"/>
                  <a:gd name="T6" fmla="*/ 2147483647 w 312"/>
                  <a:gd name="T7" fmla="*/ 2147483647 h 342"/>
                  <a:gd name="T8" fmla="*/ 2147483647 w 312"/>
                  <a:gd name="T9" fmla="*/ 2147483647 h 342"/>
                  <a:gd name="T10" fmla="*/ 2147483647 w 312"/>
                  <a:gd name="T11" fmla="*/ 2147483647 h 342"/>
                  <a:gd name="T12" fmla="*/ 2147483647 w 312"/>
                  <a:gd name="T13" fmla="*/ 2147483647 h 342"/>
                  <a:gd name="T14" fmla="*/ 2147483647 w 312"/>
                  <a:gd name="T15" fmla="*/ 2147483647 h 342"/>
                  <a:gd name="T16" fmla="*/ 2147483647 w 312"/>
                  <a:gd name="T17" fmla="*/ 2147483647 h 342"/>
                  <a:gd name="T18" fmla="*/ 2147483647 w 312"/>
                  <a:gd name="T19" fmla="*/ 2147483647 h 342"/>
                  <a:gd name="T20" fmla="*/ 2147483647 w 312"/>
                  <a:gd name="T21" fmla="*/ 2147483647 h 342"/>
                  <a:gd name="T22" fmla="*/ 2147483647 w 312"/>
                  <a:gd name="T23" fmla="*/ 2147483647 h 342"/>
                  <a:gd name="T24" fmla="*/ 2147483647 w 312"/>
                  <a:gd name="T25" fmla="*/ 2147483647 h 342"/>
                  <a:gd name="T26" fmla="*/ 2147483647 w 312"/>
                  <a:gd name="T27" fmla="*/ 2147483647 h 342"/>
                  <a:gd name="T28" fmla="*/ 2147483647 w 312"/>
                  <a:gd name="T29" fmla="*/ 2147483647 h 342"/>
                  <a:gd name="T30" fmla="*/ 2147483647 w 312"/>
                  <a:gd name="T31" fmla="*/ 2147483647 h 342"/>
                  <a:gd name="T32" fmla="*/ 2147483647 w 312"/>
                  <a:gd name="T33" fmla="*/ 2147483647 h 342"/>
                  <a:gd name="T34" fmla="*/ 2147483647 w 312"/>
                  <a:gd name="T35" fmla="*/ 2147483647 h 342"/>
                  <a:gd name="T36" fmla="*/ 2147483647 w 312"/>
                  <a:gd name="T37" fmla="*/ 2147483647 h 342"/>
                  <a:gd name="T38" fmla="*/ 2147483647 w 312"/>
                  <a:gd name="T39" fmla="*/ 2147483647 h 342"/>
                  <a:gd name="T40" fmla="*/ 2147483647 w 312"/>
                  <a:gd name="T41" fmla="*/ 2147483647 h 342"/>
                  <a:gd name="T42" fmla="*/ 2147483647 w 312"/>
                  <a:gd name="T43" fmla="*/ 2147483647 h 342"/>
                  <a:gd name="T44" fmla="*/ 2147483647 w 312"/>
                  <a:gd name="T45" fmla="*/ 2147483647 h 342"/>
                  <a:gd name="T46" fmla="*/ 2147483647 w 312"/>
                  <a:gd name="T47" fmla="*/ 2147483647 h 342"/>
                  <a:gd name="T48" fmla="*/ 2147483647 w 312"/>
                  <a:gd name="T49" fmla="*/ 2147483647 h 342"/>
                  <a:gd name="T50" fmla="*/ 2147483647 w 312"/>
                  <a:gd name="T51" fmla="*/ 0 h 342"/>
                  <a:gd name="T52" fmla="*/ 2147483647 w 312"/>
                  <a:gd name="T53" fmla="*/ 0 h 342"/>
                  <a:gd name="T54" fmla="*/ 2147483647 w 312"/>
                  <a:gd name="T55" fmla="*/ 2147483647 h 342"/>
                  <a:gd name="T56" fmla="*/ 2147483647 w 312"/>
                  <a:gd name="T57" fmla="*/ 2147483647 h 342"/>
                  <a:gd name="T58" fmla="*/ 2147483647 w 312"/>
                  <a:gd name="T59" fmla="*/ 2147483647 h 342"/>
                  <a:gd name="T60" fmla="*/ 2147483647 w 312"/>
                  <a:gd name="T61" fmla="*/ 2147483647 h 342"/>
                  <a:gd name="T62" fmla="*/ 2147483647 w 312"/>
                  <a:gd name="T63" fmla="*/ 2147483647 h 342"/>
                  <a:gd name="T64" fmla="*/ 2147483647 w 312"/>
                  <a:gd name="T65" fmla="*/ 2147483647 h 342"/>
                  <a:gd name="T66" fmla="*/ 2147483647 w 312"/>
                  <a:gd name="T67" fmla="*/ 2147483647 h 342"/>
                  <a:gd name="T68" fmla="*/ 2147483647 w 312"/>
                  <a:gd name="T69" fmla="*/ 2147483647 h 342"/>
                  <a:gd name="T70" fmla="*/ 2147483647 w 312"/>
                  <a:gd name="T71" fmla="*/ 2147483647 h 342"/>
                  <a:gd name="T72" fmla="*/ 2147483647 w 312"/>
                  <a:gd name="T73" fmla="*/ 2147483647 h 342"/>
                  <a:gd name="T74" fmla="*/ 2147483647 w 312"/>
                  <a:gd name="T75" fmla="*/ 2147483647 h 342"/>
                  <a:gd name="T76" fmla="*/ 2147483647 w 312"/>
                  <a:gd name="T77" fmla="*/ 2147483647 h 342"/>
                  <a:gd name="T78" fmla="*/ 0 w 312"/>
                  <a:gd name="T79" fmla="*/ 2147483647 h 342"/>
                  <a:gd name="T80" fmla="*/ 2147483647 w 312"/>
                  <a:gd name="T81" fmla="*/ 2147483647 h 342"/>
                  <a:gd name="T82" fmla="*/ 2147483647 w 312"/>
                  <a:gd name="T83" fmla="*/ 2147483647 h 342"/>
                  <a:gd name="T84" fmla="*/ 2147483647 w 312"/>
                  <a:gd name="T85" fmla="*/ 2147483647 h 342"/>
                  <a:gd name="T86" fmla="*/ 2147483647 w 312"/>
                  <a:gd name="T87" fmla="*/ 2147483647 h 342"/>
                  <a:gd name="T88" fmla="*/ 2147483647 w 312"/>
                  <a:gd name="T89" fmla="*/ 2147483647 h 342"/>
                  <a:gd name="T90" fmla="*/ 2147483647 w 312"/>
                  <a:gd name="T91" fmla="*/ 2147483647 h 342"/>
                  <a:gd name="T92" fmla="*/ 2147483647 w 312"/>
                  <a:gd name="T93" fmla="*/ 2147483647 h 342"/>
                  <a:gd name="T94" fmla="*/ 2147483647 w 312"/>
                  <a:gd name="T95" fmla="*/ 2147483647 h 342"/>
                  <a:gd name="T96" fmla="*/ 2147483647 w 312"/>
                  <a:gd name="T97" fmla="*/ 2147483647 h 342"/>
                  <a:gd name="T98" fmla="*/ 2147483647 w 312"/>
                  <a:gd name="T99" fmla="*/ 2147483647 h 342"/>
                  <a:gd name="T100" fmla="*/ 2147483647 w 312"/>
                  <a:gd name="T101" fmla="*/ 2147483647 h 342"/>
                  <a:gd name="T102" fmla="*/ 2147483647 w 312"/>
                  <a:gd name="T103" fmla="*/ 2147483647 h 342"/>
                  <a:gd name="T104" fmla="*/ 2147483647 w 312"/>
                  <a:gd name="T105" fmla="*/ 2147483647 h 342"/>
                  <a:gd name="T106" fmla="*/ 2147483647 w 312"/>
                  <a:gd name="T107" fmla="*/ 2147483647 h 342"/>
                  <a:gd name="T108" fmla="*/ 2147483647 w 312"/>
                  <a:gd name="T109" fmla="*/ 2147483647 h 342"/>
                  <a:gd name="T110" fmla="*/ 2147483647 w 312"/>
                  <a:gd name="T111" fmla="*/ 2147483647 h 342"/>
                  <a:gd name="T112" fmla="*/ 2147483647 w 312"/>
                  <a:gd name="T113" fmla="*/ 2147483647 h 342"/>
                  <a:gd name="T114" fmla="*/ 2147483647 w 312"/>
                  <a:gd name="T115" fmla="*/ 2147483647 h 342"/>
                  <a:gd name="T116" fmla="*/ 2147483647 w 312"/>
                  <a:gd name="T117" fmla="*/ 2147483647 h 342"/>
                  <a:gd name="T118" fmla="*/ 2147483647 w 312"/>
                  <a:gd name="T119" fmla="*/ 2147483647 h 342"/>
                  <a:gd name="T120" fmla="*/ 2147483647 w 312"/>
                  <a:gd name="T121" fmla="*/ 2147483647 h 34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12"/>
                  <a:gd name="T184" fmla="*/ 0 h 342"/>
                  <a:gd name="T185" fmla="*/ 312 w 312"/>
                  <a:gd name="T186" fmla="*/ 342 h 342"/>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12" h="342">
                    <a:moveTo>
                      <a:pt x="312" y="252"/>
                    </a:moveTo>
                    <a:lnTo>
                      <a:pt x="312" y="240"/>
                    </a:lnTo>
                    <a:lnTo>
                      <a:pt x="282" y="210"/>
                    </a:lnTo>
                    <a:lnTo>
                      <a:pt x="282" y="180"/>
                    </a:lnTo>
                    <a:lnTo>
                      <a:pt x="246" y="186"/>
                    </a:lnTo>
                    <a:lnTo>
                      <a:pt x="246" y="174"/>
                    </a:lnTo>
                    <a:lnTo>
                      <a:pt x="228" y="174"/>
                    </a:lnTo>
                    <a:lnTo>
                      <a:pt x="222" y="168"/>
                    </a:lnTo>
                    <a:lnTo>
                      <a:pt x="228" y="156"/>
                    </a:lnTo>
                    <a:lnTo>
                      <a:pt x="240" y="150"/>
                    </a:lnTo>
                    <a:lnTo>
                      <a:pt x="246" y="132"/>
                    </a:lnTo>
                    <a:lnTo>
                      <a:pt x="246" y="108"/>
                    </a:lnTo>
                    <a:lnTo>
                      <a:pt x="228" y="72"/>
                    </a:lnTo>
                    <a:lnTo>
                      <a:pt x="222" y="72"/>
                    </a:lnTo>
                    <a:lnTo>
                      <a:pt x="216" y="78"/>
                    </a:lnTo>
                    <a:lnTo>
                      <a:pt x="210" y="90"/>
                    </a:lnTo>
                    <a:lnTo>
                      <a:pt x="210" y="102"/>
                    </a:lnTo>
                    <a:lnTo>
                      <a:pt x="198" y="114"/>
                    </a:lnTo>
                    <a:lnTo>
                      <a:pt x="192" y="114"/>
                    </a:lnTo>
                    <a:lnTo>
                      <a:pt x="180" y="102"/>
                    </a:lnTo>
                    <a:lnTo>
                      <a:pt x="180" y="96"/>
                    </a:lnTo>
                    <a:lnTo>
                      <a:pt x="168" y="96"/>
                    </a:lnTo>
                    <a:lnTo>
                      <a:pt x="168" y="36"/>
                    </a:lnTo>
                    <a:lnTo>
                      <a:pt x="162" y="18"/>
                    </a:lnTo>
                    <a:lnTo>
                      <a:pt x="150" y="6"/>
                    </a:lnTo>
                    <a:lnTo>
                      <a:pt x="138" y="0"/>
                    </a:lnTo>
                    <a:lnTo>
                      <a:pt x="132" y="0"/>
                    </a:lnTo>
                    <a:lnTo>
                      <a:pt x="126" y="6"/>
                    </a:lnTo>
                    <a:lnTo>
                      <a:pt x="126" y="18"/>
                    </a:lnTo>
                    <a:lnTo>
                      <a:pt x="102" y="12"/>
                    </a:lnTo>
                    <a:lnTo>
                      <a:pt x="108" y="36"/>
                    </a:lnTo>
                    <a:lnTo>
                      <a:pt x="84" y="42"/>
                    </a:lnTo>
                    <a:lnTo>
                      <a:pt x="84" y="60"/>
                    </a:lnTo>
                    <a:lnTo>
                      <a:pt x="78" y="72"/>
                    </a:lnTo>
                    <a:lnTo>
                      <a:pt x="66" y="78"/>
                    </a:lnTo>
                    <a:lnTo>
                      <a:pt x="54" y="90"/>
                    </a:lnTo>
                    <a:lnTo>
                      <a:pt x="42" y="96"/>
                    </a:lnTo>
                    <a:lnTo>
                      <a:pt x="24" y="114"/>
                    </a:lnTo>
                    <a:lnTo>
                      <a:pt x="24" y="150"/>
                    </a:lnTo>
                    <a:lnTo>
                      <a:pt x="0" y="126"/>
                    </a:lnTo>
                    <a:lnTo>
                      <a:pt x="36" y="162"/>
                    </a:lnTo>
                    <a:lnTo>
                      <a:pt x="60" y="162"/>
                    </a:lnTo>
                    <a:lnTo>
                      <a:pt x="72" y="192"/>
                    </a:lnTo>
                    <a:lnTo>
                      <a:pt x="102" y="192"/>
                    </a:lnTo>
                    <a:lnTo>
                      <a:pt x="108" y="198"/>
                    </a:lnTo>
                    <a:lnTo>
                      <a:pt x="120" y="222"/>
                    </a:lnTo>
                    <a:lnTo>
                      <a:pt x="132" y="240"/>
                    </a:lnTo>
                    <a:lnTo>
                      <a:pt x="150" y="252"/>
                    </a:lnTo>
                    <a:lnTo>
                      <a:pt x="162" y="270"/>
                    </a:lnTo>
                    <a:lnTo>
                      <a:pt x="180" y="282"/>
                    </a:lnTo>
                    <a:lnTo>
                      <a:pt x="198" y="288"/>
                    </a:lnTo>
                    <a:lnTo>
                      <a:pt x="210" y="294"/>
                    </a:lnTo>
                    <a:lnTo>
                      <a:pt x="228" y="300"/>
                    </a:lnTo>
                    <a:lnTo>
                      <a:pt x="258" y="330"/>
                    </a:lnTo>
                    <a:lnTo>
                      <a:pt x="294" y="342"/>
                    </a:lnTo>
                    <a:lnTo>
                      <a:pt x="300" y="342"/>
                    </a:lnTo>
                    <a:lnTo>
                      <a:pt x="300" y="294"/>
                    </a:lnTo>
                    <a:lnTo>
                      <a:pt x="306" y="288"/>
                    </a:lnTo>
                    <a:lnTo>
                      <a:pt x="306" y="276"/>
                    </a:lnTo>
                    <a:lnTo>
                      <a:pt x="312" y="264"/>
                    </a:lnTo>
                    <a:lnTo>
                      <a:pt x="312" y="252"/>
                    </a:lnTo>
                    <a:close/>
                  </a:path>
                </a:pathLst>
              </a:custGeom>
              <a:solidFill>
                <a:srgbClr val="9D90A0">
                  <a:lumMod val="40000"/>
                  <a:lumOff val="60000"/>
                </a:srgbClr>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141" name="Lesotho" descr="© INSCALE GmbH, 05.05.2010&#10;http://www.presentationload.com/">
                <a:extLst>
                  <a:ext uri="{FF2B5EF4-FFF2-40B4-BE49-F238E27FC236}">
                    <a16:creationId xmlns:a16="http://schemas.microsoft.com/office/drawing/2014/main" id="{4C4615DA-9499-42EE-B760-2008F6702A24}"/>
                  </a:ext>
                </a:extLst>
              </p:cNvPr>
              <p:cNvSpPr>
                <a:spLocks/>
              </p:cNvSpPr>
              <p:nvPr/>
            </p:nvSpPr>
            <p:spPr bwMode="gray">
              <a:xfrm>
                <a:off x="4955660" y="5567664"/>
                <a:ext cx="67076" cy="71041"/>
              </a:xfrm>
              <a:custGeom>
                <a:avLst/>
                <a:gdLst>
                  <a:gd name="T0" fmla="*/ 0 w 168"/>
                  <a:gd name="T1" fmla="*/ 2147483647 h 162"/>
                  <a:gd name="T2" fmla="*/ 2147483647 w 168"/>
                  <a:gd name="T3" fmla="*/ 2147483647 h 162"/>
                  <a:gd name="T4" fmla="*/ 2147483647 w 168"/>
                  <a:gd name="T5" fmla="*/ 2147483647 h 162"/>
                  <a:gd name="T6" fmla="*/ 2147483647 w 168"/>
                  <a:gd name="T7" fmla="*/ 2147483647 h 162"/>
                  <a:gd name="T8" fmla="*/ 2147483647 w 168"/>
                  <a:gd name="T9" fmla="*/ 2147483647 h 162"/>
                  <a:gd name="T10" fmla="*/ 2147483647 w 168"/>
                  <a:gd name="T11" fmla="*/ 2147483647 h 162"/>
                  <a:gd name="T12" fmla="*/ 2147483647 w 168"/>
                  <a:gd name="T13" fmla="*/ 2147483647 h 162"/>
                  <a:gd name="T14" fmla="*/ 2147483647 w 168"/>
                  <a:gd name="T15" fmla="*/ 2147483647 h 162"/>
                  <a:gd name="T16" fmla="*/ 2147483647 w 168"/>
                  <a:gd name="T17" fmla="*/ 2147483647 h 162"/>
                  <a:gd name="T18" fmla="*/ 2147483647 w 168"/>
                  <a:gd name="T19" fmla="*/ 2147483647 h 162"/>
                  <a:gd name="T20" fmla="*/ 2147483647 w 168"/>
                  <a:gd name="T21" fmla="*/ 2147483647 h 162"/>
                  <a:gd name="T22" fmla="*/ 2147483647 w 168"/>
                  <a:gd name="T23" fmla="*/ 2147483647 h 162"/>
                  <a:gd name="T24" fmla="*/ 2147483647 w 168"/>
                  <a:gd name="T25" fmla="*/ 2147483647 h 162"/>
                  <a:gd name="T26" fmla="*/ 2147483647 w 168"/>
                  <a:gd name="T27" fmla="*/ 2147483647 h 162"/>
                  <a:gd name="T28" fmla="*/ 2147483647 w 168"/>
                  <a:gd name="T29" fmla="*/ 2147483647 h 162"/>
                  <a:gd name="T30" fmla="*/ 2147483647 w 168"/>
                  <a:gd name="T31" fmla="*/ 2147483647 h 162"/>
                  <a:gd name="T32" fmla="*/ 2147483647 w 168"/>
                  <a:gd name="T33" fmla="*/ 2147483647 h 162"/>
                  <a:gd name="T34" fmla="*/ 2147483647 w 168"/>
                  <a:gd name="T35" fmla="*/ 2147483647 h 162"/>
                  <a:gd name="T36" fmla="*/ 2147483647 w 168"/>
                  <a:gd name="T37" fmla="*/ 2147483647 h 162"/>
                  <a:gd name="T38" fmla="*/ 2147483647 w 168"/>
                  <a:gd name="T39" fmla="*/ 2147483647 h 162"/>
                  <a:gd name="T40" fmla="*/ 2147483647 w 168"/>
                  <a:gd name="T41" fmla="*/ 2147483647 h 162"/>
                  <a:gd name="T42" fmla="*/ 2147483647 w 168"/>
                  <a:gd name="T43" fmla="*/ 0 h 162"/>
                  <a:gd name="T44" fmla="*/ 2147483647 w 168"/>
                  <a:gd name="T45" fmla="*/ 0 h 162"/>
                  <a:gd name="T46" fmla="*/ 2147483647 w 168"/>
                  <a:gd name="T47" fmla="*/ 2147483647 h 162"/>
                  <a:gd name="T48" fmla="*/ 2147483647 w 168"/>
                  <a:gd name="T49" fmla="*/ 2147483647 h 162"/>
                  <a:gd name="T50" fmla="*/ 2147483647 w 168"/>
                  <a:gd name="T51" fmla="*/ 2147483647 h 162"/>
                  <a:gd name="T52" fmla="*/ 2147483647 w 168"/>
                  <a:gd name="T53" fmla="*/ 2147483647 h 162"/>
                  <a:gd name="T54" fmla="*/ 2147483647 w 168"/>
                  <a:gd name="T55" fmla="*/ 2147483647 h 162"/>
                  <a:gd name="T56" fmla="*/ 2147483647 w 168"/>
                  <a:gd name="T57" fmla="*/ 2147483647 h 162"/>
                  <a:gd name="T58" fmla="*/ 2147483647 w 168"/>
                  <a:gd name="T59" fmla="*/ 2147483647 h 162"/>
                  <a:gd name="T60" fmla="*/ 0 w 168"/>
                  <a:gd name="T61" fmla="*/ 2147483647 h 16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68"/>
                  <a:gd name="T94" fmla="*/ 0 h 162"/>
                  <a:gd name="T95" fmla="*/ 168 w 168"/>
                  <a:gd name="T96" fmla="*/ 162 h 162"/>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68" h="162">
                    <a:moveTo>
                      <a:pt x="0" y="78"/>
                    </a:moveTo>
                    <a:lnTo>
                      <a:pt x="24" y="114"/>
                    </a:lnTo>
                    <a:lnTo>
                      <a:pt x="24" y="132"/>
                    </a:lnTo>
                    <a:lnTo>
                      <a:pt x="54" y="162"/>
                    </a:lnTo>
                    <a:lnTo>
                      <a:pt x="72" y="162"/>
                    </a:lnTo>
                    <a:lnTo>
                      <a:pt x="72" y="150"/>
                    </a:lnTo>
                    <a:lnTo>
                      <a:pt x="78" y="144"/>
                    </a:lnTo>
                    <a:lnTo>
                      <a:pt x="84" y="132"/>
                    </a:lnTo>
                    <a:lnTo>
                      <a:pt x="90" y="126"/>
                    </a:lnTo>
                    <a:lnTo>
                      <a:pt x="102" y="120"/>
                    </a:lnTo>
                    <a:lnTo>
                      <a:pt x="120" y="120"/>
                    </a:lnTo>
                    <a:lnTo>
                      <a:pt x="132" y="114"/>
                    </a:lnTo>
                    <a:lnTo>
                      <a:pt x="138" y="108"/>
                    </a:lnTo>
                    <a:lnTo>
                      <a:pt x="150" y="102"/>
                    </a:lnTo>
                    <a:lnTo>
                      <a:pt x="144" y="84"/>
                    </a:lnTo>
                    <a:lnTo>
                      <a:pt x="168" y="66"/>
                    </a:lnTo>
                    <a:lnTo>
                      <a:pt x="162" y="42"/>
                    </a:lnTo>
                    <a:lnTo>
                      <a:pt x="150" y="36"/>
                    </a:lnTo>
                    <a:lnTo>
                      <a:pt x="144" y="24"/>
                    </a:lnTo>
                    <a:lnTo>
                      <a:pt x="138" y="18"/>
                    </a:lnTo>
                    <a:lnTo>
                      <a:pt x="132" y="6"/>
                    </a:lnTo>
                    <a:lnTo>
                      <a:pt x="126" y="0"/>
                    </a:lnTo>
                    <a:lnTo>
                      <a:pt x="90" y="0"/>
                    </a:lnTo>
                    <a:lnTo>
                      <a:pt x="78" y="6"/>
                    </a:lnTo>
                    <a:lnTo>
                      <a:pt x="78" y="18"/>
                    </a:lnTo>
                    <a:lnTo>
                      <a:pt x="54" y="18"/>
                    </a:lnTo>
                    <a:lnTo>
                      <a:pt x="48" y="24"/>
                    </a:lnTo>
                    <a:lnTo>
                      <a:pt x="48" y="42"/>
                    </a:lnTo>
                    <a:lnTo>
                      <a:pt x="30" y="60"/>
                    </a:lnTo>
                    <a:lnTo>
                      <a:pt x="24" y="78"/>
                    </a:lnTo>
                    <a:lnTo>
                      <a:pt x="0" y="78"/>
                    </a:lnTo>
                    <a:close/>
                  </a:path>
                </a:pathLst>
              </a:custGeom>
              <a:solidFill>
                <a:srgbClr val="9D90A0">
                  <a:lumMod val="40000"/>
                  <a:lumOff val="60000"/>
                </a:srgbClr>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142" name="Kuwait" descr="© INSCALE GmbH, 05.05.2010&#10;http://www.presentationload.com/">
                <a:extLst>
                  <a:ext uri="{FF2B5EF4-FFF2-40B4-BE49-F238E27FC236}">
                    <a16:creationId xmlns:a16="http://schemas.microsoft.com/office/drawing/2014/main" id="{0B74FBA7-B32E-4943-878F-758ABA922795}"/>
                  </a:ext>
                </a:extLst>
              </p:cNvPr>
              <p:cNvSpPr>
                <a:spLocks/>
              </p:cNvSpPr>
              <p:nvPr/>
            </p:nvSpPr>
            <p:spPr bwMode="gray">
              <a:xfrm>
                <a:off x="5487590" y="3490157"/>
                <a:ext cx="54597" cy="51981"/>
              </a:xfrm>
              <a:custGeom>
                <a:avLst/>
                <a:gdLst>
                  <a:gd name="T0" fmla="*/ 2147483647 w 138"/>
                  <a:gd name="T1" fmla="*/ 0 h 120"/>
                  <a:gd name="T2" fmla="*/ 2147483647 w 138"/>
                  <a:gd name="T3" fmla="*/ 0 h 120"/>
                  <a:gd name="T4" fmla="*/ 2147483647 w 138"/>
                  <a:gd name="T5" fmla="*/ 2147483647 h 120"/>
                  <a:gd name="T6" fmla="*/ 2147483647 w 138"/>
                  <a:gd name="T7" fmla="*/ 2147483647 h 120"/>
                  <a:gd name="T8" fmla="*/ 2147483647 w 138"/>
                  <a:gd name="T9" fmla="*/ 2147483647 h 120"/>
                  <a:gd name="T10" fmla="*/ 2147483647 w 138"/>
                  <a:gd name="T11" fmla="*/ 2147483647 h 120"/>
                  <a:gd name="T12" fmla="*/ 0 w 138"/>
                  <a:gd name="T13" fmla="*/ 2147483647 h 120"/>
                  <a:gd name="T14" fmla="*/ 2147483647 w 138"/>
                  <a:gd name="T15" fmla="*/ 2147483647 h 120"/>
                  <a:gd name="T16" fmla="*/ 2147483647 w 138"/>
                  <a:gd name="T17" fmla="*/ 2147483647 h 120"/>
                  <a:gd name="T18" fmla="*/ 2147483647 w 138"/>
                  <a:gd name="T19" fmla="*/ 2147483647 h 120"/>
                  <a:gd name="T20" fmla="*/ 2147483647 w 138"/>
                  <a:gd name="T21" fmla="*/ 2147483647 h 120"/>
                  <a:gd name="T22" fmla="*/ 2147483647 w 138"/>
                  <a:gd name="T23" fmla="*/ 2147483647 h 120"/>
                  <a:gd name="T24" fmla="*/ 2147483647 w 138"/>
                  <a:gd name="T25" fmla="*/ 2147483647 h 120"/>
                  <a:gd name="T26" fmla="*/ 2147483647 w 138"/>
                  <a:gd name="T27" fmla="*/ 2147483647 h 120"/>
                  <a:gd name="T28" fmla="*/ 2147483647 w 138"/>
                  <a:gd name="T29" fmla="*/ 2147483647 h 120"/>
                  <a:gd name="T30" fmla="*/ 2147483647 w 138"/>
                  <a:gd name="T31" fmla="*/ 2147483647 h 120"/>
                  <a:gd name="T32" fmla="*/ 2147483647 w 138"/>
                  <a:gd name="T33" fmla="*/ 2147483647 h 120"/>
                  <a:gd name="T34" fmla="*/ 2147483647 w 138"/>
                  <a:gd name="T35" fmla="*/ 2147483647 h 120"/>
                  <a:gd name="T36" fmla="*/ 2147483647 w 138"/>
                  <a:gd name="T37" fmla="*/ 2147483647 h 120"/>
                  <a:gd name="T38" fmla="*/ 2147483647 w 138"/>
                  <a:gd name="T39" fmla="*/ 2147483647 h 120"/>
                  <a:gd name="T40" fmla="*/ 2147483647 w 138"/>
                  <a:gd name="T41" fmla="*/ 2147483647 h 120"/>
                  <a:gd name="T42" fmla="*/ 2147483647 w 138"/>
                  <a:gd name="T43" fmla="*/ 2147483647 h 120"/>
                  <a:gd name="T44" fmla="*/ 2147483647 w 138"/>
                  <a:gd name="T45" fmla="*/ 2147483647 h 120"/>
                  <a:gd name="T46" fmla="*/ 2147483647 w 138"/>
                  <a:gd name="T47" fmla="*/ 2147483647 h 120"/>
                  <a:gd name="T48" fmla="*/ 2147483647 w 138"/>
                  <a:gd name="T49" fmla="*/ 0 h 120"/>
                  <a:gd name="T50" fmla="*/ 2147483647 w 138"/>
                  <a:gd name="T51" fmla="*/ 0 h 12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38"/>
                  <a:gd name="T79" fmla="*/ 0 h 120"/>
                  <a:gd name="T80" fmla="*/ 138 w 138"/>
                  <a:gd name="T81" fmla="*/ 120 h 12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38" h="120">
                    <a:moveTo>
                      <a:pt x="54" y="0"/>
                    </a:moveTo>
                    <a:lnTo>
                      <a:pt x="36" y="0"/>
                    </a:lnTo>
                    <a:lnTo>
                      <a:pt x="30" y="12"/>
                    </a:lnTo>
                    <a:lnTo>
                      <a:pt x="24" y="18"/>
                    </a:lnTo>
                    <a:lnTo>
                      <a:pt x="24" y="30"/>
                    </a:lnTo>
                    <a:lnTo>
                      <a:pt x="6" y="66"/>
                    </a:lnTo>
                    <a:lnTo>
                      <a:pt x="0" y="72"/>
                    </a:lnTo>
                    <a:lnTo>
                      <a:pt x="42" y="72"/>
                    </a:lnTo>
                    <a:lnTo>
                      <a:pt x="60" y="78"/>
                    </a:lnTo>
                    <a:lnTo>
                      <a:pt x="66" y="78"/>
                    </a:lnTo>
                    <a:lnTo>
                      <a:pt x="66" y="114"/>
                    </a:lnTo>
                    <a:lnTo>
                      <a:pt x="72" y="120"/>
                    </a:lnTo>
                    <a:lnTo>
                      <a:pt x="138" y="120"/>
                    </a:lnTo>
                    <a:lnTo>
                      <a:pt x="126" y="114"/>
                    </a:lnTo>
                    <a:lnTo>
                      <a:pt x="114" y="102"/>
                    </a:lnTo>
                    <a:lnTo>
                      <a:pt x="102" y="78"/>
                    </a:lnTo>
                    <a:lnTo>
                      <a:pt x="102" y="66"/>
                    </a:lnTo>
                    <a:lnTo>
                      <a:pt x="90" y="60"/>
                    </a:lnTo>
                    <a:lnTo>
                      <a:pt x="84" y="36"/>
                    </a:lnTo>
                    <a:lnTo>
                      <a:pt x="120" y="36"/>
                    </a:lnTo>
                    <a:lnTo>
                      <a:pt x="120" y="18"/>
                    </a:lnTo>
                    <a:lnTo>
                      <a:pt x="114" y="12"/>
                    </a:lnTo>
                    <a:lnTo>
                      <a:pt x="90" y="12"/>
                    </a:lnTo>
                    <a:lnTo>
                      <a:pt x="90" y="18"/>
                    </a:lnTo>
                    <a:lnTo>
                      <a:pt x="84" y="0"/>
                    </a:lnTo>
                    <a:lnTo>
                      <a:pt x="54" y="0"/>
                    </a:lnTo>
                    <a:close/>
                  </a:path>
                </a:pathLst>
              </a:custGeom>
              <a:solidFill>
                <a:srgbClr val="9D90A0">
                  <a:lumMod val="40000"/>
                  <a:lumOff val="60000"/>
                </a:srgbClr>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143" name="Kenya" descr="© INSCALE GmbH, 05.05.2010&#10;http://www.presentationload.com/">
                <a:extLst>
                  <a:ext uri="{FF2B5EF4-FFF2-40B4-BE49-F238E27FC236}">
                    <a16:creationId xmlns:a16="http://schemas.microsoft.com/office/drawing/2014/main" id="{4EF9AF43-CDAF-48F0-8B92-D767ED91F792}"/>
                  </a:ext>
                </a:extLst>
              </p:cNvPr>
              <p:cNvSpPr>
                <a:spLocks/>
              </p:cNvSpPr>
              <p:nvPr/>
            </p:nvSpPr>
            <p:spPr bwMode="gray">
              <a:xfrm>
                <a:off x="5172488" y="4385963"/>
                <a:ext cx="223067" cy="336144"/>
              </a:xfrm>
              <a:custGeom>
                <a:avLst/>
                <a:gdLst>
                  <a:gd name="T0" fmla="*/ 2147483647 w 564"/>
                  <a:gd name="T1" fmla="*/ 2147483647 h 762"/>
                  <a:gd name="T2" fmla="*/ 2147483647 w 564"/>
                  <a:gd name="T3" fmla="*/ 2147483647 h 762"/>
                  <a:gd name="T4" fmla="*/ 2147483647 w 564"/>
                  <a:gd name="T5" fmla="*/ 2147483647 h 762"/>
                  <a:gd name="T6" fmla="*/ 2147483647 w 564"/>
                  <a:gd name="T7" fmla="*/ 2147483647 h 762"/>
                  <a:gd name="T8" fmla="*/ 2147483647 w 564"/>
                  <a:gd name="T9" fmla="*/ 2147483647 h 762"/>
                  <a:gd name="T10" fmla="*/ 2147483647 w 564"/>
                  <a:gd name="T11" fmla="*/ 2147483647 h 762"/>
                  <a:gd name="T12" fmla="*/ 2147483647 w 564"/>
                  <a:gd name="T13" fmla="*/ 2147483647 h 762"/>
                  <a:gd name="T14" fmla="*/ 2147483647 w 564"/>
                  <a:gd name="T15" fmla="*/ 2147483647 h 762"/>
                  <a:gd name="T16" fmla="*/ 2147483647 w 564"/>
                  <a:gd name="T17" fmla="*/ 2147483647 h 762"/>
                  <a:gd name="T18" fmla="*/ 2147483647 w 564"/>
                  <a:gd name="T19" fmla="*/ 2147483647 h 762"/>
                  <a:gd name="T20" fmla="*/ 2147483647 w 564"/>
                  <a:gd name="T21" fmla="*/ 2147483647 h 762"/>
                  <a:gd name="T22" fmla="*/ 2147483647 w 564"/>
                  <a:gd name="T23" fmla="*/ 2147483647 h 762"/>
                  <a:gd name="T24" fmla="*/ 2147483647 w 564"/>
                  <a:gd name="T25" fmla="*/ 0 h 762"/>
                  <a:gd name="T26" fmla="*/ 2147483647 w 564"/>
                  <a:gd name="T27" fmla="*/ 2147483647 h 762"/>
                  <a:gd name="T28" fmla="*/ 2147483647 w 564"/>
                  <a:gd name="T29" fmla="*/ 2147483647 h 762"/>
                  <a:gd name="T30" fmla="*/ 2147483647 w 564"/>
                  <a:gd name="T31" fmla="*/ 2147483647 h 762"/>
                  <a:gd name="T32" fmla="*/ 2147483647 w 564"/>
                  <a:gd name="T33" fmla="*/ 2147483647 h 762"/>
                  <a:gd name="T34" fmla="*/ 2147483647 w 564"/>
                  <a:gd name="T35" fmla="*/ 2147483647 h 762"/>
                  <a:gd name="T36" fmla="*/ 2147483647 w 564"/>
                  <a:gd name="T37" fmla="*/ 2147483647 h 762"/>
                  <a:gd name="T38" fmla="*/ 2147483647 w 564"/>
                  <a:gd name="T39" fmla="*/ 2147483647 h 762"/>
                  <a:gd name="T40" fmla="*/ 2147483647 w 564"/>
                  <a:gd name="T41" fmla="*/ 2147483647 h 762"/>
                  <a:gd name="T42" fmla="*/ 2147483647 w 564"/>
                  <a:gd name="T43" fmla="*/ 2147483647 h 762"/>
                  <a:gd name="T44" fmla="*/ 2147483647 w 564"/>
                  <a:gd name="T45" fmla="*/ 2147483647 h 762"/>
                  <a:gd name="T46" fmla="*/ 2147483647 w 564"/>
                  <a:gd name="T47" fmla="*/ 2147483647 h 762"/>
                  <a:gd name="T48" fmla="*/ 2147483647 w 564"/>
                  <a:gd name="T49" fmla="*/ 2147483647 h 762"/>
                  <a:gd name="T50" fmla="*/ 2147483647 w 564"/>
                  <a:gd name="T51" fmla="*/ 2147483647 h 762"/>
                  <a:gd name="T52" fmla="*/ 2147483647 w 564"/>
                  <a:gd name="T53" fmla="*/ 2147483647 h 762"/>
                  <a:gd name="T54" fmla="*/ 2147483647 w 564"/>
                  <a:gd name="T55" fmla="*/ 2147483647 h 762"/>
                  <a:gd name="T56" fmla="*/ 2147483647 w 564"/>
                  <a:gd name="T57" fmla="*/ 2147483647 h 762"/>
                  <a:gd name="T58" fmla="*/ 0 w 564"/>
                  <a:gd name="T59" fmla="*/ 2147483647 h 762"/>
                  <a:gd name="T60" fmla="*/ 2147483647 w 564"/>
                  <a:gd name="T61" fmla="*/ 2147483647 h 762"/>
                  <a:gd name="T62" fmla="*/ 2147483647 w 564"/>
                  <a:gd name="T63" fmla="*/ 2147483647 h 762"/>
                  <a:gd name="T64" fmla="*/ 2147483647 w 564"/>
                  <a:gd name="T65" fmla="*/ 2147483647 h 762"/>
                  <a:gd name="T66" fmla="*/ 2147483647 w 564"/>
                  <a:gd name="T67" fmla="*/ 2147483647 h 762"/>
                  <a:gd name="T68" fmla="*/ 2147483647 w 564"/>
                  <a:gd name="T69" fmla="*/ 2147483647 h 762"/>
                  <a:gd name="T70" fmla="*/ 0 w 564"/>
                  <a:gd name="T71" fmla="*/ 2147483647 h 762"/>
                  <a:gd name="T72" fmla="*/ 2147483647 w 564"/>
                  <a:gd name="T73" fmla="*/ 2147483647 h 762"/>
                  <a:gd name="T74" fmla="*/ 2147483647 w 564"/>
                  <a:gd name="T75" fmla="*/ 2147483647 h 762"/>
                  <a:gd name="T76" fmla="*/ 2147483647 w 564"/>
                  <a:gd name="T77" fmla="*/ 2147483647 h 762"/>
                  <a:gd name="T78" fmla="*/ 2147483647 w 564"/>
                  <a:gd name="T79" fmla="*/ 2147483647 h 762"/>
                  <a:gd name="T80" fmla="*/ 2147483647 w 564"/>
                  <a:gd name="T81" fmla="*/ 2147483647 h 762"/>
                  <a:gd name="T82" fmla="*/ 2147483647 w 564"/>
                  <a:gd name="T83" fmla="*/ 2147483647 h 762"/>
                  <a:gd name="T84" fmla="*/ 2147483647 w 564"/>
                  <a:gd name="T85" fmla="*/ 2147483647 h 762"/>
                  <a:gd name="T86" fmla="*/ 2147483647 w 564"/>
                  <a:gd name="T87" fmla="*/ 2147483647 h 762"/>
                  <a:gd name="T88" fmla="*/ 2147483647 w 564"/>
                  <a:gd name="T89" fmla="*/ 2147483647 h 762"/>
                  <a:gd name="T90" fmla="*/ 2147483647 w 564"/>
                  <a:gd name="T91" fmla="*/ 2147483647 h 762"/>
                  <a:gd name="T92" fmla="*/ 2147483647 w 564"/>
                  <a:gd name="T93" fmla="*/ 2147483647 h 762"/>
                  <a:gd name="T94" fmla="*/ 2147483647 w 564"/>
                  <a:gd name="T95" fmla="*/ 2147483647 h 762"/>
                  <a:gd name="T96" fmla="*/ 2147483647 w 564"/>
                  <a:gd name="T97" fmla="*/ 2147483647 h 762"/>
                  <a:gd name="T98" fmla="*/ 2147483647 w 564"/>
                  <a:gd name="T99" fmla="*/ 2147483647 h 762"/>
                  <a:gd name="T100" fmla="*/ 2147483647 w 564"/>
                  <a:gd name="T101" fmla="*/ 2147483647 h 76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64"/>
                  <a:gd name="T154" fmla="*/ 0 h 762"/>
                  <a:gd name="T155" fmla="*/ 564 w 564"/>
                  <a:gd name="T156" fmla="*/ 762 h 762"/>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64" h="762">
                    <a:moveTo>
                      <a:pt x="498" y="150"/>
                    </a:moveTo>
                    <a:lnTo>
                      <a:pt x="540" y="108"/>
                    </a:lnTo>
                    <a:lnTo>
                      <a:pt x="558" y="72"/>
                    </a:lnTo>
                    <a:lnTo>
                      <a:pt x="564" y="66"/>
                    </a:lnTo>
                    <a:lnTo>
                      <a:pt x="564" y="60"/>
                    </a:lnTo>
                    <a:lnTo>
                      <a:pt x="540" y="54"/>
                    </a:lnTo>
                    <a:lnTo>
                      <a:pt x="534" y="60"/>
                    </a:lnTo>
                    <a:lnTo>
                      <a:pt x="504" y="60"/>
                    </a:lnTo>
                    <a:lnTo>
                      <a:pt x="480" y="30"/>
                    </a:lnTo>
                    <a:lnTo>
                      <a:pt x="462" y="48"/>
                    </a:lnTo>
                    <a:lnTo>
                      <a:pt x="456" y="48"/>
                    </a:lnTo>
                    <a:lnTo>
                      <a:pt x="450" y="54"/>
                    </a:lnTo>
                    <a:lnTo>
                      <a:pt x="438" y="60"/>
                    </a:lnTo>
                    <a:lnTo>
                      <a:pt x="426" y="60"/>
                    </a:lnTo>
                    <a:lnTo>
                      <a:pt x="414" y="72"/>
                    </a:lnTo>
                    <a:lnTo>
                      <a:pt x="414" y="84"/>
                    </a:lnTo>
                    <a:lnTo>
                      <a:pt x="390" y="102"/>
                    </a:lnTo>
                    <a:lnTo>
                      <a:pt x="378" y="96"/>
                    </a:lnTo>
                    <a:lnTo>
                      <a:pt x="372" y="96"/>
                    </a:lnTo>
                    <a:lnTo>
                      <a:pt x="360" y="90"/>
                    </a:lnTo>
                    <a:lnTo>
                      <a:pt x="330" y="90"/>
                    </a:lnTo>
                    <a:lnTo>
                      <a:pt x="318" y="84"/>
                    </a:lnTo>
                    <a:lnTo>
                      <a:pt x="288" y="84"/>
                    </a:lnTo>
                    <a:lnTo>
                      <a:pt x="210" y="24"/>
                    </a:lnTo>
                    <a:lnTo>
                      <a:pt x="138" y="18"/>
                    </a:lnTo>
                    <a:lnTo>
                      <a:pt x="132" y="0"/>
                    </a:lnTo>
                    <a:lnTo>
                      <a:pt x="108" y="12"/>
                    </a:lnTo>
                    <a:lnTo>
                      <a:pt x="18" y="12"/>
                    </a:lnTo>
                    <a:lnTo>
                      <a:pt x="0" y="42"/>
                    </a:lnTo>
                    <a:lnTo>
                      <a:pt x="6" y="48"/>
                    </a:lnTo>
                    <a:lnTo>
                      <a:pt x="12" y="60"/>
                    </a:lnTo>
                    <a:lnTo>
                      <a:pt x="12" y="84"/>
                    </a:lnTo>
                    <a:lnTo>
                      <a:pt x="18" y="84"/>
                    </a:lnTo>
                    <a:lnTo>
                      <a:pt x="24" y="90"/>
                    </a:lnTo>
                    <a:lnTo>
                      <a:pt x="24" y="84"/>
                    </a:lnTo>
                    <a:lnTo>
                      <a:pt x="30" y="84"/>
                    </a:lnTo>
                    <a:lnTo>
                      <a:pt x="30" y="96"/>
                    </a:lnTo>
                    <a:lnTo>
                      <a:pt x="24" y="102"/>
                    </a:lnTo>
                    <a:lnTo>
                      <a:pt x="24" y="108"/>
                    </a:lnTo>
                    <a:lnTo>
                      <a:pt x="42" y="126"/>
                    </a:lnTo>
                    <a:lnTo>
                      <a:pt x="36" y="132"/>
                    </a:lnTo>
                    <a:lnTo>
                      <a:pt x="72" y="174"/>
                    </a:lnTo>
                    <a:lnTo>
                      <a:pt x="66" y="180"/>
                    </a:lnTo>
                    <a:lnTo>
                      <a:pt x="60" y="180"/>
                    </a:lnTo>
                    <a:lnTo>
                      <a:pt x="54" y="186"/>
                    </a:lnTo>
                    <a:lnTo>
                      <a:pt x="54" y="192"/>
                    </a:lnTo>
                    <a:lnTo>
                      <a:pt x="66" y="216"/>
                    </a:lnTo>
                    <a:lnTo>
                      <a:pt x="72" y="222"/>
                    </a:lnTo>
                    <a:lnTo>
                      <a:pt x="78" y="234"/>
                    </a:lnTo>
                    <a:lnTo>
                      <a:pt x="78" y="246"/>
                    </a:lnTo>
                    <a:lnTo>
                      <a:pt x="66" y="258"/>
                    </a:lnTo>
                    <a:lnTo>
                      <a:pt x="60" y="282"/>
                    </a:lnTo>
                    <a:lnTo>
                      <a:pt x="42" y="282"/>
                    </a:lnTo>
                    <a:lnTo>
                      <a:pt x="36" y="288"/>
                    </a:lnTo>
                    <a:lnTo>
                      <a:pt x="36" y="312"/>
                    </a:lnTo>
                    <a:lnTo>
                      <a:pt x="18" y="324"/>
                    </a:lnTo>
                    <a:lnTo>
                      <a:pt x="12" y="342"/>
                    </a:lnTo>
                    <a:lnTo>
                      <a:pt x="6" y="348"/>
                    </a:lnTo>
                    <a:lnTo>
                      <a:pt x="0" y="360"/>
                    </a:lnTo>
                    <a:lnTo>
                      <a:pt x="0" y="384"/>
                    </a:lnTo>
                    <a:lnTo>
                      <a:pt x="18" y="402"/>
                    </a:lnTo>
                    <a:lnTo>
                      <a:pt x="30" y="402"/>
                    </a:lnTo>
                    <a:lnTo>
                      <a:pt x="30" y="390"/>
                    </a:lnTo>
                    <a:lnTo>
                      <a:pt x="54" y="390"/>
                    </a:lnTo>
                    <a:lnTo>
                      <a:pt x="60" y="408"/>
                    </a:lnTo>
                    <a:lnTo>
                      <a:pt x="42" y="408"/>
                    </a:lnTo>
                    <a:lnTo>
                      <a:pt x="30" y="420"/>
                    </a:lnTo>
                    <a:lnTo>
                      <a:pt x="24" y="414"/>
                    </a:lnTo>
                    <a:lnTo>
                      <a:pt x="18" y="414"/>
                    </a:lnTo>
                    <a:lnTo>
                      <a:pt x="6" y="420"/>
                    </a:lnTo>
                    <a:lnTo>
                      <a:pt x="0" y="432"/>
                    </a:lnTo>
                    <a:lnTo>
                      <a:pt x="0" y="438"/>
                    </a:lnTo>
                    <a:lnTo>
                      <a:pt x="12" y="450"/>
                    </a:lnTo>
                    <a:lnTo>
                      <a:pt x="6" y="468"/>
                    </a:lnTo>
                    <a:lnTo>
                      <a:pt x="258" y="624"/>
                    </a:lnTo>
                    <a:lnTo>
                      <a:pt x="270" y="636"/>
                    </a:lnTo>
                    <a:lnTo>
                      <a:pt x="270" y="642"/>
                    </a:lnTo>
                    <a:lnTo>
                      <a:pt x="264" y="648"/>
                    </a:lnTo>
                    <a:lnTo>
                      <a:pt x="258" y="648"/>
                    </a:lnTo>
                    <a:lnTo>
                      <a:pt x="252" y="654"/>
                    </a:lnTo>
                    <a:lnTo>
                      <a:pt x="366" y="762"/>
                    </a:lnTo>
                    <a:lnTo>
                      <a:pt x="384" y="756"/>
                    </a:lnTo>
                    <a:lnTo>
                      <a:pt x="414" y="690"/>
                    </a:lnTo>
                    <a:lnTo>
                      <a:pt x="414" y="660"/>
                    </a:lnTo>
                    <a:lnTo>
                      <a:pt x="426" y="648"/>
                    </a:lnTo>
                    <a:lnTo>
                      <a:pt x="432" y="648"/>
                    </a:lnTo>
                    <a:lnTo>
                      <a:pt x="444" y="636"/>
                    </a:lnTo>
                    <a:lnTo>
                      <a:pt x="444" y="624"/>
                    </a:lnTo>
                    <a:lnTo>
                      <a:pt x="438" y="618"/>
                    </a:lnTo>
                    <a:lnTo>
                      <a:pt x="438" y="600"/>
                    </a:lnTo>
                    <a:lnTo>
                      <a:pt x="444" y="594"/>
                    </a:lnTo>
                    <a:lnTo>
                      <a:pt x="456" y="588"/>
                    </a:lnTo>
                    <a:lnTo>
                      <a:pt x="468" y="588"/>
                    </a:lnTo>
                    <a:lnTo>
                      <a:pt x="474" y="582"/>
                    </a:lnTo>
                    <a:lnTo>
                      <a:pt x="480" y="582"/>
                    </a:lnTo>
                    <a:lnTo>
                      <a:pt x="486" y="540"/>
                    </a:lnTo>
                    <a:lnTo>
                      <a:pt x="516" y="540"/>
                    </a:lnTo>
                    <a:lnTo>
                      <a:pt x="528" y="534"/>
                    </a:lnTo>
                    <a:lnTo>
                      <a:pt x="534" y="522"/>
                    </a:lnTo>
                    <a:lnTo>
                      <a:pt x="540" y="516"/>
                    </a:lnTo>
                    <a:lnTo>
                      <a:pt x="498" y="450"/>
                    </a:lnTo>
                    <a:lnTo>
                      <a:pt x="498" y="150"/>
                    </a:lnTo>
                    <a:close/>
                  </a:path>
                </a:pathLst>
              </a:custGeom>
              <a:solidFill>
                <a:srgbClr val="9D90A0">
                  <a:lumMod val="40000"/>
                  <a:lumOff val="60000"/>
                </a:srgbClr>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144" name="Iraq" descr="© INSCALE GmbH, 05.05.2010&#10;http://www.presentationload.com/">
                <a:extLst>
                  <a:ext uri="{FF2B5EF4-FFF2-40B4-BE49-F238E27FC236}">
                    <a16:creationId xmlns:a16="http://schemas.microsoft.com/office/drawing/2014/main" id="{1F72ADB2-5120-424C-BCB9-1C7B08538AF7}"/>
                  </a:ext>
                </a:extLst>
              </p:cNvPr>
              <p:cNvSpPr>
                <a:spLocks/>
              </p:cNvSpPr>
              <p:nvPr/>
            </p:nvSpPr>
            <p:spPr bwMode="gray">
              <a:xfrm>
                <a:off x="5266083" y="3231985"/>
                <a:ext cx="269865" cy="291094"/>
              </a:xfrm>
              <a:custGeom>
                <a:avLst/>
                <a:gdLst>
                  <a:gd name="T0" fmla="*/ 2147483647 w 684"/>
                  <a:gd name="T1" fmla="*/ 2147483647 h 660"/>
                  <a:gd name="T2" fmla="*/ 2147483647 w 684"/>
                  <a:gd name="T3" fmla="*/ 2147483647 h 660"/>
                  <a:gd name="T4" fmla="*/ 2147483647 w 684"/>
                  <a:gd name="T5" fmla="*/ 2147483647 h 660"/>
                  <a:gd name="T6" fmla="*/ 2147483647 w 684"/>
                  <a:gd name="T7" fmla="*/ 2147483647 h 660"/>
                  <a:gd name="T8" fmla="*/ 2147483647 w 684"/>
                  <a:gd name="T9" fmla="*/ 2147483647 h 660"/>
                  <a:gd name="T10" fmla="*/ 2147483647 w 684"/>
                  <a:gd name="T11" fmla="*/ 2147483647 h 660"/>
                  <a:gd name="T12" fmla="*/ 2147483647 w 684"/>
                  <a:gd name="T13" fmla="*/ 2147483647 h 660"/>
                  <a:gd name="T14" fmla="*/ 2147483647 w 684"/>
                  <a:gd name="T15" fmla="*/ 2147483647 h 660"/>
                  <a:gd name="T16" fmla="*/ 2147483647 w 684"/>
                  <a:gd name="T17" fmla="*/ 2147483647 h 660"/>
                  <a:gd name="T18" fmla="*/ 2147483647 w 684"/>
                  <a:gd name="T19" fmla="*/ 2147483647 h 660"/>
                  <a:gd name="T20" fmla="*/ 2147483647 w 684"/>
                  <a:gd name="T21" fmla="*/ 2147483647 h 660"/>
                  <a:gd name="T22" fmla="*/ 2147483647 w 684"/>
                  <a:gd name="T23" fmla="*/ 2147483647 h 660"/>
                  <a:gd name="T24" fmla="*/ 2147483647 w 684"/>
                  <a:gd name="T25" fmla="*/ 2147483647 h 660"/>
                  <a:gd name="T26" fmla="*/ 2147483647 w 684"/>
                  <a:gd name="T27" fmla="*/ 2147483647 h 660"/>
                  <a:gd name="T28" fmla="*/ 2147483647 w 684"/>
                  <a:gd name="T29" fmla="*/ 2147483647 h 660"/>
                  <a:gd name="T30" fmla="*/ 2147483647 w 684"/>
                  <a:gd name="T31" fmla="*/ 2147483647 h 660"/>
                  <a:gd name="T32" fmla="*/ 2147483647 w 684"/>
                  <a:gd name="T33" fmla="*/ 2147483647 h 660"/>
                  <a:gd name="T34" fmla="*/ 2147483647 w 684"/>
                  <a:gd name="T35" fmla="*/ 2147483647 h 660"/>
                  <a:gd name="T36" fmla="*/ 2147483647 w 684"/>
                  <a:gd name="T37" fmla="*/ 2147483647 h 660"/>
                  <a:gd name="T38" fmla="*/ 2147483647 w 684"/>
                  <a:gd name="T39" fmla="*/ 2147483647 h 660"/>
                  <a:gd name="T40" fmla="*/ 2147483647 w 684"/>
                  <a:gd name="T41" fmla="*/ 2147483647 h 660"/>
                  <a:gd name="T42" fmla="*/ 2147483647 w 684"/>
                  <a:gd name="T43" fmla="*/ 2147483647 h 660"/>
                  <a:gd name="T44" fmla="*/ 2147483647 w 684"/>
                  <a:gd name="T45" fmla="*/ 2147483647 h 660"/>
                  <a:gd name="T46" fmla="*/ 2147483647 w 684"/>
                  <a:gd name="T47" fmla="*/ 2147483647 h 660"/>
                  <a:gd name="T48" fmla="*/ 2147483647 w 684"/>
                  <a:gd name="T49" fmla="*/ 2147483647 h 660"/>
                  <a:gd name="T50" fmla="*/ 2147483647 w 684"/>
                  <a:gd name="T51" fmla="*/ 2147483647 h 660"/>
                  <a:gd name="T52" fmla="*/ 2147483647 w 684"/>
                  <a:gd name="T53" fmla="*/ 0 h 660"/>
                  <a:gd name="T54" fmla="*/ 2147483647 w 684"/>
                  <a:gd name="T55" fmla="*/ 2147483647 h 660"/>
                  <a:gd name="T56" fmla="*/ 2147483647 w 684"/>
                  <a:gd name="T57" fmla="*/ 2147483647 h 660"/>
                  <a:gd name="T58" fmla="*/ 2147483647 w 684"/>
                  <a:gd name="T59" fmla="*/ 0 h 660"/>
                  <a:gd name="T60" fmla="*/ 2147483647 w 684"/>
                  <a:gd name="T61" fmla="*/ 2147483647 h 660"/>
                  <a:gd name="T62" fmla="*/ 2147483647 w 684"/>
                  <a:gd name="T63" fmla="*/ 2147483647 h 660"/>
                  <a:gd name="T64" fmla="*/ 2147483647 w 684"/>
                  <a:gd name="T65" fmla="*/ 2147483647 h 660"/>
                  <a:gd name="T66" fmla="*/ 2147483647 w 684"/>
                  <a:gd name="T67" fmla="*/ 2147483647 h 660"/>
                  <a:gd name="T68" fmla="*/ 2147483647 w 684"/>
                  <a:gd name="T69" fmla="*/ 2147483647 h 660"/>
                  <a:gd name="T70" fmla="*/ 2147483647 w 684"/>
                  <a:gd name="T71" fmla="*/ 2147483647 h 660"/>
                  <a:gd name="T72" fmla="*/ 2147483647 w 684"/>
                  <a:gd name="T73" fmla="*/ 2147483647 h 660"/>
                  <a:gd name="T74" fmla="*/ 2147483647 w 684"/>
                  <a:gd name="T75" fmla="*/ 2147483647 h 660"/>
                  <a:gd name="T76" fmla="*/ 2147483647 w 684"/>
                  <a:gd name="T77" fmla="*/ 2147483647 h 660"/>
                  <a:gd name="T78" fmla="*/ 2147483647 w 684"/>
                  <a:gd name="T79" fmla="*/ 2147483647 h 660"/>
                  <a:gd name="T80" fmla="*/ 2147483647 w 684"/>
                  <a:gd name="T81" fmla="*/ 2147483647 h 660"/>
                  <a:gd name="T82" fmla="*/ 2147483647 w 684"/>
                  <a:gd name="T83" fmla="*/ 2147483647 h 660"/>
                  <a:gd name="T84" fmla="*/ 2147483647 w 684"/>
                  <a:gd name="T85" fmla="*/ 2147483647 h 660"/>
                  <a:gd name="T86" fmla="*/ 0 w 684"/>
                  <a:gd name="T87" fmla="*/ 2147483647 h 660"/>
                  <a:gd name="T88" fmla="*/ 2147483647 w 684"/>
                  <a:gd name="T89" fmla="*/ 2147483647 h 660"/>
                  <a:gd name="T90" fmla="*/ 2147483647 w 684"/>
                  <a:gd name="T91" fmla="*/ 2147483647 h 660"/>
                  <a:gd name="T92" fmla="*/ 2147483647 w 684"/>
                  <a:gd name="T93" fmla="*/ 2147483647 h 660"/>
                  <a:gd name="T94" fmla="*/ 2147483647 w 684"/>
                  <a:gd name="T95" fmla="*/ 2147483647 h 660"/>
                  <a:gd name="T96" fmla="*/ 2147483647 w 684"/>
                  <a:gd name="T97" fmla="*/ 2147483647 h 660"/>
                  <a:gd name="T98" fmla="*/ 2147483647 w 684"/>
                  <a:gd name="T99" fmla="*/ 2147483647 h 660"/>
                  <a:gd name="T100" fmla="*/ 2147483647 w 684"/>
                  <a:gd name="T101" fmla="*/ 2147483647 h 660"/>
                  <a:gd name="T102" fmla="*/ 2147483647 w 684"/>
                  <a:gd name="T103" fmla="*/ 2147483647 h 660"/>
                  <a:gd name="T104" fmla="*/ 2147483647 w 684"/>
                  <a:gd name="T105" fmla="*/ 2147483647 h 660"/>
                  <a:gd name="T106" fmla="*/ 2147483647 w 684"/>
                  <a:gd name="T107" fmla="*/ 2147483647 h 660"/>
                  <a:gd name="T108" fmla="*/ 2147483647 w 684"/>
                  <a:gd name="T109" fmla="*/ 2147483647 h 660"/>
                  <a:gd name="T110" fmla="*/ 2147483647 w 684"/>
                  <a:gd name="T111" fmla="*/ 2147483647 h 660"/>
                  <a:gd name="T112" fmla="*/ 2147483647 w 684"/>
                  <a:gd name="T113" fmla="*/ 2147483647 h 660"/>
                  <a:gd name="T114" fmla="*/ 2147483647 w 684"/>
                  <a:gd name="T115" fmla="*/ 2147483647 h 66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84"/>
                  <a:gd name="T175" fmla="*/ 0 h 660"/>
                  <a:gd name="T176" fmla="*/ 684 w 684"/>
                  <a:gd name="T177" fmla="*/ 660 h 66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84" h="660">
                    <a:moveTo>
                      <a:pt x="678" y="564"/>
                    </a:moveTo>
                    <a:lnTo>
                      <a:pt x="666" y="552"/>
                    </a:lnTo>
                    <a:lnTo>
                      <a:pt x="654" y="546"/>
                    </a:lnTo>
                    <a:lnTo>
                      <a:pt x="648" y="516"/>
                    </a:lnTo>
                    <a:lnTo>
                      <a:pt x="642" y="516"/>
                    </a:lnTo>
                    <a:lnTo>
                      <a:pt x="636" y="510"/>
                    </a:lnTo>
                    <a:lnTo>
                      <a:pt x="624" y="504"/>
                    </a:lnTo>
                    <a:lnTo>
                      <a:pt x="618" y="498"/>
                    </a:lnTo>
                    <a:lnTo>
                      <a:pt x="618" y="462"/>
                    </a:lnTo>
                    <a:lnTo>
                      <a:pt x="624" y="450"/>
                    </a:lnTo>
                    <a:lnTo>
                      <a:pt x="624" y="438"/>
                    </a:lnTo>
                    <a:lnTo>
                      <a:pt x="594" y="402"/>
                    </a:lnTo>
                    <a:lnTo>
                      <a:pt x="588" y="390"/>
                    </a:lnTo>
                    <a:lnTo>
                      <a:pt x="582" y="384"/>
                    </a:lnTo>
                    <a:lnTo>
                      <a:pt x="564" y="384"/>
                    </a:lnTo>
                    <a:lnTo>
                      <a:pt x="546" y="366"/>
                    </a:lnTo>
                    <a:lnTo>
                      <a:pt x="534" y="360"/>
                    </a:lnTo>
                    <a:lnTo>
                      <a:pt x="528" y="354"/>
                    </a:lnTo>
                    <a:lnTo>
                      <a:pt x="504" y="354"/>
                    </a:lnTo>
                    <a:lnTo>
                      <a:pt x="504" y="312"/>
                    </a:lnTo>
                    <a:lnTo>
                      <a:pt x="498" y="312"/>
                    </a:lnTo>
                    <a:lnTo>
                      <a:pt x="492" y="306"/>
                    </a:lnTo>
                    <a:lnTo>
                      <a:pt x="468" y="294"/>
                    </a:lnTo>
                    <a:lnTo>
                      <a:pt x="456" y="282"/>
                    </a:lnTo>
                    <a:lnTo>
                      <a:pt x="444" y="276"/>
                    </a:lnTo>
                    <a:lnTo>
                      <a:pt x="438" y="270"/>
                    </a:lnTo>
                    <a:lnTo>
                      <a:pt x="438" y="264"/>
                    </a:lnTo>
                    <a:lnTo>
                      <a:pt x="444" y="252"/>
                    </a:lnTo>
                    <a:lnTo>
                      <a:pt x="450" y="246"/>
                    </a:lnTo>
                    <a:lnTo>
                      <a:pt x="438" y="234"/>
                    </a:lnTo>
                    <a:lnTo>
                      <a:pt x="438" y="228"/>
                    </a:lnTo>
                    <a:lnTo>
                      <a:pt x="450" y="216"/>
                    </a:lnTo>
                    <a:lnTo>
                      <a:pt x="462" y="216"/>
                    </a:lnTo>
                    <a:lnTo>
                      <a:pt x="462" y="186"/>
                    </a:lnTo>
                    <a:lnTo>
                      <a:pt x="468" y="186"/>
                    </a:lnTo>
                    <a:lnTo>
                      <a:pt x="480" y="174"/>
                    </a:lnTo>
                    <a:lnTo>
                      <a:pt x="480" y="168"/>
                    </a:lnTo>
                    <a:lnTo>
                      <a:pt x="474" y="156"/>
                    </a:lnTo>
                    <a:lnTo>
                      <a:pt x="462" y="144"/>
                    </a:lnTo>
                    <a:lnTo>
                      <a:pt x="462" y="138"/>
                    </a:lnTo>
                    <a:lnTo>
                      <a:pt x="480" y="120"/>
                    </a:lnTo>
                    <a:lnTo>
                      <a:pt x="480" y="114"/>
                    </a:lnTo>
                    <a:lnTo>
                      <a:pt x="468" y="114"/>
                    </a:lnTo>
                    <a:lnTo>
                      <a:pt x="456" y="120"/>
                    </a:lnTo>
                    <a:lnTo>
                      <a:pt x="450" y="126"/>
                    </a:lnTo>
                    <a:lnTo>
                      <a:pt x="438" y="108"/>
                    </a:lnTo>
                    <a:lnTo>
                      <a:pt x="414" y="102"/>
                    </a:lnTo>
                    <a:lnTo>
                      <a:pt x="414" y="84"/>
                    </a:lnTo>
                    <a:lnTo>
                      <a:pt x="402" y="72"/>
                    </a:lnTo>
                    <a:lnTo>
                      <a:pt x="378" y="24"/>
                    </a:lnTo>
                    <a:lnTo>
                      <a:pt x="378" y="12"/>
                    </a:lnTo>
                    <a:lnTo>
                      <a:pt x="336" y="24"/>
                    </a:lnTo>
                    <a:lnTo>
                      <a:pt x="336" y="6"/>
                    </a:lnTo>
                    <a:lnTo>
                      <a:pt x="330" y="0"/>
                    </a:lnTo>
                    <a:lnTo>
                      <a:pt x="306" y="0"/>
                    </a:lnTo>
                    <a:lnTo>
                      <a:pt x="306" y="6"/>
                    </a:lnTo>
                    <a:lnTo>
                      <a:pt x="300" y="12"/>
                    </a:lnTo>
                    <a:lnTo>
                      <a:pt x="288" y="12"/>
                    </a:lnTo>
                    <a:lnTo>
                      <a:pt x="276" y="0"/>
                    </a:lnTo>
                    <a:lnTo>
                      <a:pt x="234" y="0"/>
                    </a:lnTo>
                    <a:lnTo>
                      <a:pt x="234" y="12"/>
                    </a:lnTo>
                    <a:lnTo>
                      <a:pt x="228" y="18"/>
                    </a:lnTo>
                    <a:lnTo>
                      <a:pt x="216" y="24"/>
                    </a:lnTo>
                    <a:lnTo>
                      <a:pt x="204" y="36"/>
                    </a:lnTo>
                    <a:lnTo>
                      <a:pt x="198" y="48"/>
                    </a:lnTo>
                    <a:lnTo>
                      <a:pt x="192" y="54"/>
                    </a:lnTo>
                    <a:lnTo>
                      <a:pt x="180" y="54"/>
                    </a:lnTo>
                    <a:lnTo>
                      <a:pt x="168" y="60"/>
                    </a:lnTo>
                    <a:lnTo>
                      <a:pt x="156" y="60"/>
                    </a:lnTo>
                    <a:lnTo>
                      <a:pt x="150" y="66"/>
                    </a:lnTo>
                    <a:lnTo>
                      <a:pt x="144" y="78"/>
                    </a:lnTo>
                    <a:lnTo>
                      <a:pt x="144" y="90"/>
                    </a:lnTo>
                    <a:lnTo>
                      <a:pt x="150" y="102"/>
                    </a:lnTo>
                    <a:lnTo>
                      <a:pt x="156" y="108"/>
                    </a:lnTo>
                    <a:lnTo>
                      <a:pt x="156" y="120"/>
                    </a:lnTo>
                    <a:lnTo>
                      <a:pt x="162" y="132"/>
                    </a:lnTo>
                    <a:lnTo>
                      <a:pt x="162" y="162"/>
                    </a:lnTo>
                    <a:lnTo>
                      <a:pt x="156" y="174"/>
                    </a:lnTo>
                    <a:lnTo>
                      <a:pt x="150" y="192"/>
                    </a:lnTo>
                    <a:lnTo>
                      <a:pt x="150" y="198"/>
                    </a:lnTo>
                    <a:lnTo>
                      <a:pt x="168" y="216"/>
                    </a:lnTo>
                    <a:lnTo>
                      <a:pt x="168" y="222"/>
                    </a:lnTo>
                    <a:lnTo>
                      <a:pt x="162" y="228"/>
                    </a:lnTo>
                    <a:lnTo>
                      <a:pt x="138" y="240"/>
                    </a:lnTo>
                    <a:lnTo>
                      <a:pt x="78" y="264"/>
                    </a:lnTo>
                    <a:lnTo>
                      <a:pt x="66" y="270"/>
                    </a:lnTo>
                    <a:lnTo>
                      <a:pt x="6" y="318"/>
                    </a:lnTo>
                    <a:lnTo>
                      <a:pt x="0" y="318"/>
                    </a:lnTo>
                    <a:lnTo>
                      <a:pt x="0" y="324"/>
                    </a:lnTo>
                    <a:lnTo>
                      <a:pt x="24" y="366"/>
                    </a:lnTo>
                    <a:lnTo>
                      <a:pt x="24" y="384"/>
                    </a:lnTo>
                    <a:lnTo>
                      <a:pt x="48" y="402"/>
                    </a:lnTo>
                    <a:lnTo>
                      <a:pt x="48" y="414"/>
                    </a:lnTo>
                    <a:lnTo>
                      <a:pt x="60" y="426"/>
                    </a:lnTo>
                    <a:lnTo>
                      <a:pt x="126" y="426"/>
                    </a:lnTo>
                    <a:lnTo>
                      <a:pt x="156" y="456"/>
                    </a:lnTo>
                    <a:lnTo>
                      <a:pt x="168" y="462"/>
                    </a:lnTo>
                    <a:lnTo>
                      <a:pt x="180" y="474"/>
                    </a:lnTo>
                    <a:lnTo>
                      <a:pt x="228" y="498"/>
                    </a:lnTo>
                    <a:lnTo>
                      <a:pt x="234" y="504"/>
                    </a:lnTo>
                    <a:lnTo>
                      <a:pt x="246" y="510"/>
                    </a:lnTo>
                    <a:lnTo>
                      <a:pt x="438" y="654"/>
                    </a:lnTo>
                    <a:lnTo>
                      <a:pt x="522" y="654"/>
                    </a:lnTo>
                    <a:lnTo>
                      <a:pt x="570" y="660"/>
                    </a:lnTo>
                    <a:lnTo>
                      <a:pt x="564" y="660"/>
                    </a:lnTo>
                    <a:lnTo>
                      <a:pt x="570" y="654"/>
                    </a:lnTo>
                    <a:lnTo>
                      <a:pt x="588" y="618"/>
                    </a:lnTo>
                    <a:lnTo>
                      <a:pt x="588" y="606"/>
                    </a:lnTo>
                    <a:lnTo>
                      <a:pt x="594" y="600"/>
                    </a:lnTo>
                    <a:lnTo>
                      <a:pt x="600" y="588"/>
                    </a:lnTo>
                    <a:lnTo>
                      <a:pt x="648" y="588"/>
                    </a:lnTo>
                    <a:lnTo>
                      <a:pt x="654" y="594"/>
                    </a:lnTo>
                    <a:lnTo>
                      <a:pt x="678" y="582"/>
                    </a:lnTo>
                    <a:lnTo>
                      <a:pt x="684" y="576"/>
                    </a:lnTo>
                    <a:lnTo>
                      <a:pt x="678" y="570"/>
                    </a:lnTo>
                    <a:lnTo>
                      <a:pt x="678" y="564"/>
                    </a:lnTo>
                    <a:close/>
                  </a:path>
                </a:pathLst>
              </a:custGeom>
              <a:solidFill>
                <a:srgbClr val="9D90A0">
                  <a:lumMod val="40000"/>
                  <a:lumOff val="60000"/>
                </a:srgbClr>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145" name="Guinea-Bissau" descr="© INSCALE GmbH, 05.05.2010&#10;http://www.presentationload.com/">
                <a:extLst>
                  <a:ext uri="{FF2B5EF4-FFF2-40B4-BE49-F238E27FC236}">
                    <a16:creationId xmlns:a16="http://schemas.microsoft.com/office/drawing/2014/main" id="{EDF30ED7-1124-4B9C-BD0E-A53AB9638774}"/>
                  </a:ext>
                </a:extLst>
              </p:cNvPr>
              <p:cNvSpPr>
                <a:spLocks/>
              </p:cNvSpPr>
              <p:nvPr/>
            </p:nvSpPr>
            <p:spPr bwMode="gray">
              <a:xfrm>
                <a:off x="3760768" y="4101800"/>
                <a:ext cx="73316" cy="67575"/>
              </a:xfrm>
              <a:custGeom>
                <a:avLst/>
                <a:gdLst>
                  <a:gd name="T0" fmla="*/ 2147483647 w 186"/>
                  <a:gd name="T1" fmla="*/ 2147483647 h 156"/>
                  <a:gd name="T2" fmla="*/ 2147483647 w 186"/>
                  <a:gd name="T3" fmla="*/ 2147483647 h 156"/>
                  <a:gd name="T4" fmla="*/ 2147483647 w 186"/>
                  <a:gd name="T5" fmla="*/ 2147483647 h 156"/>
                  <a:gd name="T6" fmla="*/ 2147483647 w 186"/>
                  <a:gd name="T7" fmla="*/ 2147483647 h 156"/>
                  <a:gd name="T8" fmla="*/ 2147483647 w 186"/>
                  <a:gd name="T9" fmla="*/ 2147483647 h 156"/>
                  <a:gd name="T10" fmla="*/ 2147483647 w 186"/>
                  <a:gd name="T11" fmla="*/ 2147483647 h 156"/>
                  <a:gd name="T12" fmla="*/ 2147483647 w 186"/>
                  <a:gd name="T13" fmla="*/ 2147483647 h 156"/>
                  <a:gd name="T14" fmla="*/ 2147483647 w 186"/>
                  <a:gd name="T15" fmla="*/ 2147483647 h 156"/>
                  <a:gd name="T16" fmla="*/ 2147483647 w 186"/>
                  <a:gd name="T17" fmla="*/ 2147483647 h 156"/>
                  <a:gd name="T18" fmla="*/ 2147483647 w 186"/>
                  <a:gd name="T19" fmla="*/ 2147483647 h 156"/>
                  <a:gd name="T20" fmla="*/ 2147483647 w 186"/>
                  <a:gd name="T21" fmla="*/ 2147483647 h 156"/>
                  <a:gd name="T22" fmla="*/ 2147483647 w 186"/>
                  <a:gd name="T23" fmla="*/ 2147483647 h 156"/>
                  <a:gd name="T24" fmla="*/ 2147483647 w 186"/>
                  <a:gd name="T25" fmla="*/ 2147483647 h 156"/>
                  <a:gd name="T26" fmla="*/ 2147483647 w 186"/>
                  <a:gd name="T27" fmla="*/ 2147483647 h 156"/>
                  <a:gd name="T28" fmla="*/ 2147483647 w 186"/>
                  <a:gd name="T29" fmla="*/ 0 h 156"/>
                  <a:gd name="T30" fmla="*/ 2147483647 w 186"/>
                  <a:gd name="T31" fmla="*/ 2147483647 h 156"/>
                  <a:gd name="T32" fmla="*/ 2147483647 w 186"/>
                  <a:gd name="T33" fmla="*/ 2147483647 h 156"/>
                  <a:gd name="T34" fmla="*/ 2147483647 w 186"/>
                  <a:gd name="T35" fmla="*/ 2147483647 h 156"/>
                  <a:gd name="T36" fmla="*/ 0 w 186"/>
                  <a:gd name="T37" fmla="*/ 2147483647 h 156"/>
                  <a:gd name="T38" fmla="*/ 2147483647 w 186"/>
                  <a:gd name="T39" fmla="*/ 2147483647 h 156"/>
                  <a:gd name="T40" fmla="*/ 2147483647 w 186"/>
                  <a:gd name="T41" fmla="*/ 2147483647 h 156"/>
                  <a:gd name="T42" fmla="*/ 2147483647 w 186"/>
                  <a:gd name="T43" fmla="*/ 2147483647 h 156"/>
                  <a:gd name="T44" fmla="*/ 2147483647 w 186"/>
                  <a:gd name="T45" fmla="*/ 2147483647 h 156"/>
                  <a:gd name="T46" fmla="*/ 2147483647 w 186"/>
                  <a:gd name="T47" fmla="*/ 2147483647 h 156"/>
                  <a:gd name="T48" fmla="*/ 2147483647 w 186"/>
                  <a:gd name="T49" fmla="*/ 2147483647 h 156"/>
                  <a:gd name="T50" fmla="*/ 2147483647 w 186"/>
                  <a:gd name="T51" fmla="*/ 2147483647 h 156"/>
                  <a:gd name="T52" fmla="*/ 2147483647 w 186"/>
                  <a:gd name="T53" fmla="*/ 2147483647 h 156"/>
                  <a:gd name="T54" fmla="*/ 2147483647 w 186"/>
                  <a:gd name="T55" fmla="*/ 2147483647 h 156"/>
                  <a:gd name="T56" fmla="*/ 2147483647 w 186"/>
                  <a:gd name="T57" fmla="*/ 2147483647 h 156"/>
                  <a:gd name="T58" fmla="*/ 2147483647 w 186"/>
                  <a:gd name="T59" fmla="*/ 2147483647 h 156"/>
                  <a:gd name="T60" fmla="*/ 2147483647 w 186"/>
                  <a:gd name="T61" fmla="*/ 2147483647 h 156"/>
                  <a:gd name="T62" fmla="*/ 2147483647 w 186"/>
                  <a:gd name="T63" fmla="*/ 2147483647 h 156"/>
                  <a:gd name="T64" fmla="*/ 2147483647 w 186"/>
                  <a:gd name="T65" fmla="*/ 2147483647 h 156"/>
                  <a:gd name="T66" fmla="*/ 2147483647 w 186"/>
                  <a:gd name="T67" fmla="*/ 2147483647 h 156"/>
                  <a:gd name="T68" fmla="*/ 2147483647 w 186"/>
                  <a:gd name="T69" fmla="*/ 2147483647 h 156"/>
                  <a:gd name="T70" fmla="*/ 2147483647 w 186"/>
                  <a:gd name="T71" fmla="*/ 2147483647 h 156"/>
                  <a:gd name="T72" fmla="*/ 2147483647 w 186"/>
                  <a:gd name="T73" fmla="*/ 2147483647 h 15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86"/>
                  <a:gd name="T112" fmla="*/ 0 h 156"/>
                  <a:gd name="T113" fmla="*/ 186 w 186"/>
                  <a:gd name="T114" fmla="*/ 156 h 15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86" h="156">
                    <a:moveTo>
                      <a:pt x="126" y="102"/>
                    </a:moveTo>
                    <a:lnTo>
                      <a:pt x="132" y="96"/>
                    </a:lnTo>
                    <a:lnTo>
                      <a:pt x="144" y="90"/>
                    </a:lnTo>
                    <a:lnTo>
                      <a:pt x="174" y="90"/>
                    </a:lnTo>
                    <a:lnTo>
                      <a:pt x="180" y="84"/>
                    </a:lnTo>
                    <a:lnTo>
                      <a:pt x="186" y="72"/>
                    </a:lnTo>
                    <a:lnTo>
                      <a:pt x="186" y="66"/>
                    </a:lnTo>
                    <a:lnTo>
                      <a:pt x="180" y="60"/>
                    </a:lnTo>
                    <a:lnTo>
                      <a:pt x="168" y="54"/>
                    </a:lnTo>
                    <a:lnTo>
                      <a:pt x="162" y="48"/>
                    </a:lnTo>
                    <a:lnTo>
                      <a:pt x="162" y="36"/>
                    </a:lnTo>
                    <a:lnTo>
                      <a:pt x="168" y="30"/>
                    </a:lnTo>
                    <a:lnTo>
                      <a:pt x="186" y="30"/>
                    </a:lnTo>
                    <a:lnTo>
                      <a:pt x="186" y="6"/>
                    </a:lnTo>
                    <a:lnTo>
                      <a:pt x="84" y="0"/>
                    </a:lnTo>
                    <a:lnTo>
                      <a:pt x="54" y="24"/>
                    </a:lnTo>
                    <a:lnTo>
                      <a:pt x="18" y="24"/>
                    </a:lnTo>
                    <a:lnTo>
                      <a:pt x="6" y="36"/>
                    </a:lnTo>
                    <a:lnTo>
                      <a:pt x="0" y="72"/>
                    </a:lnTo>
                    <a:lnTo>
                      <a:pt x="6" y="78"/>
                    </a:lnTo>
                    <a:lnTo>
                      <a:pt x="18" y="78"/>
                    </a:lnTo>
                    <a:lnTo>
                      <a:pt x="42" y="66"/>
                    </a:lnTo>
                    <a:lnTo>
                      <a:pt x="66" y="66"/>
                    </a:lnTo>
                    <a:lnTo>
                      <a:pt x="90" y="60"/>
                    </a:lnTo>
                    <a:lnTo>
                      <a:pt x="90" y="84"/>
                    </a:lnTo>
                    <a:lnTo>
                      <a:pt x="78" y="78"/>
                    </a:lnTo>
                    <a:lnTo>
                      <a:pt x="72" y="78"/>
                    </a:lnTo>
                    <a:lnTo>
                      <a:pt x="66" y="72"/>
                    </a:lnTo>
                    <a:lnTo>
                      <a:pt x="54" y="72"/>
                    </a:lnTo>
                    <a:lnTo>
                      <a:pt x="54" y="96"/>
                    </a:lnTo>
                    <a:lnTo>
                      <a:pt x="60" y="102"/>
                    </a:lnTo>
                    <a:lnTo>
                      <a:pt x="90" y="96"/>
                    </a:lnTo>
                    <a:lnTo>
                      <a:pt x="54" y="114"/>
                    </a:lnTo>
                    <a:lnTo>
                      <a:pt x="84" y="156"/>
                    </a:lnTo>
                    <a:lnTo>
                      <a:pt x="90" y="132"/>
                    </a:lnTo>
                    <a:lnTo>
                      <a:pt x="108" y="102"/>
                    </a:lnTo>
                    <a:lnTo>
                      <a:pt x="126" y="102"/>
                    </a:lnTo>
                    <a:close/>
                  </a:path>
                </a:pathLst>
              </a:custGeom>
              <a:solidFill>
                <a:srgbClr val="9D90A0">
                  <a:lumMod val="40000"/>
                  <a:lumOff val="60000"/>
                </a:srgbClr>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146" name="Guinea" descr="© INSCALE GmbH, 05.05.2010&#10;http://www.presentationload.com/">
                <a:extLst>
                  <a:ext uri="{FF2B5EF4-FFF2-40B4-BE49-F238E27FC236}">
                    <a16:creationId xmlns:a16="http://schemas.microsoft.com/office/drawing/2014/main" id="{CF1959DC-0C1C-4035-A67E-D8A2D4E3FCE2}"/>
                  </a:ext>
                </a:extLst>
              </p:cNvPr>
              <p:cNvSpPr>
                <a:spLocks/>
              </p:cNvSpPr>
              <p:nvPr/>
            </p:nvSpPr>
            <p:spPr bwMode="gray">
              <a:xfrm>
                <a:off x="3796646" y="4105266"/>
                <a:ext cx="205908" cy="194062"/>
              </a:xfrm>
              <a:custGeom>
                <a:avLst/>
                <a:gdLst>
                  <a:gd name="T0" fmla="*/ 2147483647 w 522"/>
                  <a:gd name="T1" fmla="*/ 2147483647 h 444"/>
                  <a:gd name="T2" fmla="*/ 2147483647 w 522"/>
                  <a:gd name="T3" fmla="*/ 2147483647 h 444"/>
                  <a:gd name="T4" fmla="*/ 2147483647 w 522"/>
                  <a:gd name="T5" fmla="*/ 2147483647 h 444"/>
                  <a:gd name="T6" fmla="*/ 2147483647 w 522"/>
                  <a:gd name="T7" fmla="*/ 2147483647 h 444"/>
                  <a:gd name="T8" fmla="*/ 2147483647 w 522"/>
                  <a:gd name="T9" fmla="*/ 2147483647 h 444"/>
                  <a:gd name="T10" fmla="*/ 2147483647 w 522"/>
                  <a:gd name="T11" fmla="*/ 2147483647 h 444"/>
                  <a:gd name="T12" fmla="*/ 2147483647 w 522"/>
                  <a:gd name="T13" fmla="*/ 2147483647 h 444"/>
                  <a:gd name="T14" fmla="*/ 2147483647 w 522"/>
                  <a:gd name="T15" fmla="*/ 2147483647 h 444"/>
                  <a:gd name="T16" fmla="*/ 2147483647 w 522"/>
                  <a:gd name="T17" fmla="*/ 2147483647 h 444"/>
                  <a:gd name="T18" fmla="*/ 2147483647 w 522"/>
                  <a:gd name="T19" fmla="*/ 2147483647 h 444"/>
                  <a:gd name="T20" fmla="*/ 2147483647 w 522"/>
                  <a:gd name="T21" fmla="*/ 2147483647 h 444"/>
                  <a:gd name="T22" fmla="*/ 2147483647 w 522"/>
                  <a:gd name="T23" fmla="*/ 2147483647 h 444"/>
                  <a:gd name="T24" fmla="*/ 2147483647 w 522"/>
                  <a:gd name="T25" fmla="*/ 2147483647 h 444"/>
                  <a:gd name="T26" fmla="*/ 2147483647 w 522"/>
                  <a:gd name="T27" fmla="*/ 2147483647 h 444"/>
                  <a:gd name="T28" fmla="*/ 2147483647 w 522"/>
                  <a:gd name="T29" fmla="*/ 2147483647 h 444"/>
                  <a:gd name="T30" fmla="*/ 2147483647 w 522"/>
                  <a:gd name="T31" fmla="*/ 2147483647 h 444"/>
                  <a:gd name="T32" fmla="*/ 2147483647 w 522"/>
                  <a:gd name="T33" fmla="*/ 2147483647 h 444"/>
                  <a:gd name="T34" fmla="*/ 2147483647 w 522"/>
                  <a:gd name="T35" fmla="*/ 2147483647 h 444"/>
                  <a:gd name="T36" fmla="*/ 2147483647 w 522"/>
                  <a:gd name="T37" fmla="*/ 2147483647 h 444"/>
                  <a:gd name="T38" fmla="*/ 2147483647 w 522"/>
                  <a:gd name="T39" fmla="*/ 2147483647 h 444"/>
                  <a:gd name="T40" fmla="*/ 2147483647 w 522"/>
                  <a:gd name="T41" fmla="*/ 2147483647 h 444"/>
                  <a:gd name="T42" fmla="*/ 2147483647 w 522"/>
                  <a:gd name="T43" fmla="*/ 2147483647 h 444"/>
                  <a:gd name="T44" fmla="*/ 2147483647 w 522"/>
                  <a:gd name="T45" fmla="*/ 2147483647 h 444"/>
                  <a:gd name="T46" fmla="*/ 2147483647 w 522"/>
                  <a:gd name="T47" fmla="*/ 2147483647 h 444"/>
                  <a:gd name="T48" fmla="*/ 2147483647 w 522"/>
                  <a:gd name="T49" fmla="*/ 2147483647 h 444"/>
                  <a:gd name="T50" fmla="*/ 2147483647 w 522"/>
                  <a:gd name="T51" fmla="*/ 2147483647 h 444"/>
                  <a:gd name="T52" fmla="*/ 2147483647 w 522"/>
                  <a:gd name="T53" fmla="*/ 2147483647 h 444"/>
                  <a:gd name="T54" fmla="*/ 2147483647 w 522"/>
                  <a:gd name="T55" fmla="*/ 2147483647 h 444"/>
                  <a:gd name="T56" fmla="*/ 2147483647 w 522"/>
                  <a:gd name="T57" fmla="*/ 2147483647 h 444"/>
                  <a:gd name="T58" fmla="*/ 2147483647 w 522"/>
                  <a:gd name="T59" fmla="*/ 2147483647 h 444"/>
                  <a:gd name="T60" fmla="*/ 2147483647 w 522"/>
                  <a:gd name="T61" fmla="*/ 2147483647 h 444"/>
                  <a:gd name="T62" fmla="*/ 2147483647 w 522"/>
                  <a:gd name="T63" fmla="*/ 2147483647 h 444"/>
                  <a:gd name="T64" fmla="*/ 2147483647 w 522"/>
                  <a:gd name="T65" fmla="*/ 2147483647 h 444"/>
                  <a:gd name="T66" fmla="*/ 2147483647 w 522"/>
                  <a:gd name="T67" fmla="*/ 2147483647 h 444"/>
                  <a:gd name="T68" fmla="*/ 2147483647 w 522"/>
                  <a:gd name="T69" fmla="*/ 2147483647 h 444"/>
                  <a:gd name="T70" fmla="*/ 2147483647 w 522"/>
                  <a:gd name="T71" fmla="*/ 2147483647 h 444"/>
                  <a:gd name="T72" fmla="*/ 2147483647 w 522"/>
                  <a:gd name="T73" fmla="*/ 2147483647 h 444"/>
                  <a:gd name="T74" fmla="*/ 2147483647 w 522"/>
                  <a:gd name="T75" fmla="*/ 2147483647 h 444"/>
                  <a:gd name="T76" fmla="*/ 2147483647 w 522"/>
                  <a:gd name="T77" fmla="*/ 2147483647 h 444"/>
                  <a:gd name="T78" fmla="*/ 2147483647 w 522"/>
                  <a:gd name="T79" fmla="*/ 2147483647 h 444"/>
                  <a:gd name="T80" fmla="*/ 2147483647 w 522"/>
                  <a:gd name="T81" fmla="*/ 2147483647 h 444"/>
                  <a:gd name="T82" fmla="*/ 2147483647 w 522"/>
                  <a:gd name="T83" fmla="*/ 2147483647 h 444"/>
                  <a:gd name="T84" fmla="*/ 2147483647 w 522"/>
                  <a:gd name="T85" fmla="*/ 2147483647 h 444"/>
                  <a:gd name="T86" fmla="*/ 2147483647 w 522"/>
                  <a:gd name="T87" fmla="*/ 2147483647 h 444"/>
                  <a:gd name="T88" fmla="*/ 2147483647 w 522"/>
                  <a:gd name="T89" fmla="*/ 2147483647 h 444"/>
                  <a:gd name="T90" fmla="*/ 2147483647 w 522"/>
                  <a:gd name="T91" fmla="*/ 2147483647 h 444"/>
                  <a:gd name="T92" fmla="*/ 2147483647 w 522"/>
                  <a:gd name="T93" fmla="*/ 2147483647 h 44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22"/>
                  <a:gd name="T142" fmla="*/ 0 h 444"/>
                  <a:gd name="T143" fmla="*/ 522 w 522"/>
                  <a:gd name="T144" fmla="*/ 444 h 44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22" h="444">
                    <a:moveTo>
                      <a:pt x="96" y="0"/>
                    </a:moveTo>
                    <a:lnTo>
                      <a:pt x="96" y="24"/>
                    </a:lnTo>
                    <a:lnTo>
                      <a:pt x="78" y="24"/>
                    </a:lnTo>
                    <a:lnTo>
                      <a:pt x="72" y="30"/>
                    </a:lnTo>
                    <a:lnTo>
                      <a:pt x="72" y="42"/>
                    </a:lnTo>
                    <a:lnTo>
                      <a:pt x="78" y="48"/>
                    </a:lnTo>
                    <a:lnTo>
                      <a:pt x="90" y="54"/>
                    </a:lnTo>
                    <a:lnTo>
                      <a:pt x="96" y="60"/>
                    </a:lnTo>
                    <a:lnTo>
                      <a:pt x="96" y="66"/>
                    </a:lnTo>
                    <a:lnTo>
                      <a:pt x="90" y="78"/>
                    </a:lnTo>
                    <a:lnTo>
                      <a:pt x="84" y="84"/>
                    </a:lnTo>
                    <a:lnTo>
                      <a:pt x="54" y="84"/>
                    </a:lnTo>
                    <a:lnTo>
                      <a:pt x="42" y="90"/>
                    </a:lnTo>
                    <a:lnTo>
                      <a:pt x="36" y="96"/>
                    </a:lnTo>
                    <a:lnTo>
                      <a:pt x="18" y="96"/>
                    </a:lnTo>
                    <a:lnTo>
                      <a:pt x="0" y="126"/>
                    </a:lnTo>
                    <a:lnTo>
                      <a:pt x="0" y="132"/>
                    </a:lnTo>
                    <a:lnTo>
                      <a:pt x="18" y="150"/>
                    </a:lnTo>
                    <a:lnTo>
                      <a:pt x="30" y="150"/>
                    </a:lnTo>
                    <a:lnTo>
                      <a:pt x="30" y="162"/>
                    </a:lnTo>
                    <a:lnTo>
                      <a:pt x="24" y="168"/>
                    </a:lnTo>
                    <a:lnTo>
                      <a:pt x="30" y="180"/>
                    </a:lnTo>
                    <a:lnTo>
                      <a:pt x="30" y="192"/>
                    </a:lnTo>
                    <a:lnTo>
                      <a:pt x="54" y="204"/>
                    </a:lnTo>
                    <a:lnTo>
                      <a:pt x="72" y="204"/>
                    </a:lnTo>
                    <a:lnTo>
                      <a:pt x="72" y="228"/>
                    </a:lnTo>
                    <a:lnTo>
                      <a:pt x="84" y="228"/>
                    </a:lnTo>
                    <a:lnTo>
                      <a:pt x="90" y="222"/>
                    </a:lnTo>
                    <a:lnTo>
                      <a:pt x="90" y="234"/>
                    </a:lnTo>
                    <a:lnTo>
                      <a:pt x="96" y="246"/>
                    </a:lnTo>
                    <a:lnTo>
                      <a:pt x="96" y="258"/>
                    </a:lnTo>
                    <a:lnTo>
                      <a:pt x="114" y="276"/>
                    </a:lnTo>
                    <a:lnTo>
                      <a:pt x="126" y="282"/>
                    </a:lnTo>
                    <a:lnTo>
                      <a:pt x="132" y="288"/>
                    </a:lnTo>
                    <a:lnTo>
                      <a:pt x="138" y="282"/>
                    </a:lnTo>
                    <a:lnTo>
                      <a:pt x="150" y="276"/>
                    </a:lnTo>
                    <a:lnTo>
                      <a:pt x="156" y="264"/>
                    </a:lnTo>
                    <a:lnTo>
                      <a:pt x="168" y="252"/>
                    </a:lnTo>
                    <a:lnTo>
                      <a:pt x="174" y="240"/>
                    </a:lnTo>
                    <a:lnTo>
                      <a:pt x="180" y="234"/>
                    </a:lnTo>
                    <a:lnTo>
                      <a:pt x="180" y="228"/>
                    </a:lnTo>
                    <a:lnTo>
                      <a:pt x="216" y="228"/>
                    </a:lnTo>
                    <a:lnTo>
                      <a:pt x="222" y="210"/>
                    </a:lnTo>
                    <a:lnTo>
                      <a:pt x="258" y="210"/>
                    </a:lnTo>
                    <a:lnTo>
                      <a:pt x="300" y="270"/>
                    </a:lnTo>
                    <a:lnTo>
                      <a:pt x="300" y="288"/>
                    </a:lnTo>
                    <a:lnTo>
                      <a:pt x="312" y="300"/>
                    </a:lnTo>
                    <a:lnTo>
                      <a:pt x="312" y="318"/>
                    </a:lnTo>
                    <a:lnTo>
                      <a:pt x="306" y="330"/>
                    </a:lnTo>
                    <a:lnTo>
                      <a:pt x="300" y="336"/>
                    </a:lnTo>
                    <a:lnTo>
                      <a:pt x="294" y="354"/>
                    </a:lnTo>
                    <a:lnTo>
                      <a:pt x="324" y="342"/>
                    </a:lnTo>
                    <a:lnTo>
                      <a:pt x="348" y="348"/>
                    </a:lnTo>
                    <a:lnTo>
                      <a:pt x="348" y="336"/>
                    </a:lnTo>
                    <a:lnTo>
                      <a:pt x="354" y="330"/>
                    </a:lnTo>
                    <a:lnTo>
                      <a:pt x="360" y="330"/>
                    </a:lnTo>
                    <a:lnTo>
                      <a:pt x="372" y="336"/>
                    </a:lnTo>
                    <a:lnTo>
                      <a:pt x="384" y="348"/>
                    </a:lnTo>
                    <a:lnTo>
                      <a:pt x="390" y="366"/>
                    </a:lnTo>
                    <a:lnTo>
                      <a:pt x="390" y="426"/>
                    </a:lnTo>
                    <a:lnTo>
                      <a:pt x="402" y="426"/>
                    </a:lnTo>
                    <a:lnTo>
                      <a:pt x="402" y="432"/>
                    </a:lnTo>
                    <a:lnTo>
                      <a:pt x="414" y="444"/>
                    </a:lnTo>
                    <a:lnTo>
                      <a:pt x="420" y="444"/>
                    </a:lnTo>
                    <a:lnTo>
                      <a:pt x="432" y="432"/>
                    </a:lnTo>
                    <a:lnTo>
                      <a:pt x="432" y="420"/>
                    </a:lnTo>
                    <a:lnTo>
                      <a:pt x="438" y="408"/>
                    </a:lnTo>
                    <a:lnTo>
                      <a:pt x="444" y="402"/>
                    </a:lnTo>
                    <a:lnTo>
                      <a:pt x="456" y="402"/>
                    </a:lnTo>
                    <a:lnTo>
                      <a:pt x="468" y="408"/>
                    </a:lnTo>
                    <a:lnTo>
                      <a:pt x="474" y="414"/>
                    </a:lnTo>
                    <a:lnTo>
                      <a:pt x="480" y="414"/>
                    </a:lnTo>
                    <a:lnTo>
                      <a:pt x="486" y="408"/>
                    </a:lnTo>
                    <a:lnTo>
                      <a:pt x="486" y="390"/>
                    </a:lnTo>
                    <a:lnTo>
                      <a:pt x="480" y="384"/>
                    </a:lnTo>
                    <a:lnTo>
                      <a:pt x="480" y="378"/>
                    </a:lnTo>
                    <a:lnTo>
                      <a:pt x="498" y="378"/>
                    </a:lnTo>
                    <a:lnTo>
                      <a:pt x="492" y="366"/>
                    </a:lnTo>
                    <a:lnTo>
                      <a:pt x="480" y="360"/>
                    </a:lnTo>
                    <a:lnTo>
                      <a:pt x="474" y="348"/>
                    </a:lnTo>
                    <a:lnTo>
                      <a:pt x="474" y="336"/>
                    </a:lnTo>
                    <a:lnTo>
                      <a:pt x="492" y="336"/>
                    </a:lnTo>
                    <a:lnTo>
                      <a:pt x="498" y="342"/>
                    </a:lnTo>
                    <a:lnTo>
                      <a:pt x="510" y="342"/>
                    </a:lnTo>
                    <a:lnTo>
                      <a:pt x="516" y="348"/>
                    </a:lnTo>
                    <a:lnTo>
                      <a:pt x="516" y="342"/>
                    </a:lnTo>
                    <a:lnTo>
                      <a:pt x="522" y="336"/>
                    </a:lnTo>
                    <a:lnTo>
                      <a:pt x="522" y="324"/>
                    </a:lnTo>
                    <a:lnTo>
                      <a:pt x="516" y="324"/>
                    </a:lnTo>
                    <a:lnTo>
                      <a:pt x="504" y="318"/>
                    </a:lnTo>
                    <a:lnTo>
                      <a:pt x="498" y="318"/>
                    </a:lnTo>
                    <a:lnTo>
                      <a:pt x="498" y="306"/>
                    </a:lnTo>
                    <a:lnTo>
                      <a:pt x="504" y="294"/>
                    </a:lnTo>
                    <a:lnTo>
                      <a:pt x="510" y="288"/>
                    </a:lnTo>
                    <a:lnTo>
                      <a:pt x="492" y="282"/>
                    </a:lnTo>
                    <a:lnTo>
                      <a:pt x="504" y="264"/>
                    </a:lnTo>
                    <a:lnTo>
                      <a:pt x="486" y="258"/>
                    </a:lnTo>
                    <a:lnTo>
                      <a:pt x="480" y="222"/>
                    </a:lnTo>
                    <a:lnTo>
                      <a:pt x="498" y="198"/>
                    </a:lnTo>
                    <a:lnTo>
                      <a:pt x="468" y="168"/>
                    </a:lnTo>
                    <a:lnTo>
                      <a:pt x="468" y="132"/>
                    </a:lnTo>
                    <a:lnTo>
                      <a:pt x="444" y="132"/>
                    </a:lnTo>
                    <a:lnTo>
                      <a:pt x="468" y="96"/>
                    </a:lnTo>
                    <a:lnTo>
                      <a:pt x="432" y="78"/>
                    </a:lnTo>
                    <a:lnTo>
                      <a:pt x="444" y="48"/>
                    </a:lnTo>
                    <a:lnTo>
                      <a:pt x="426" y="36"/>
                    </a:lnTo>
                    <a:lnTo>
                      <a:pt x="426" y="18"/>
                    </a:lnTo>
                    <a:lnTo>
                      <a:pt x="414" y="12"/>
                    </a:lnTo>
                    <a:lnTo>
                      <a:pt x="402" y="12"/>
                    </a:lnTo>
                    <a:lnTo>
                      <a:pt x="396" y="18"/>
                    </a:lnTo>
                    <a:lnTo>
                      <a:pt x="396" y="36"/>
                    </a:lnTo>
                    <a:lnTo>
                      <a:pt x="378" y="54"/>
                    </a:lnTo>
                    <a:lnTo>
                      <a:pt x="366" y="48"/>
                    </a:lnTo>
                    <a:lnTo>
                      <a:pt x="360" y="42"/>
                    </a:lnTo>
                    <a:lnTo>
                      <a:pt x="348" y="36"/>
                    </a:lnTo>
                    <a:lnTo>
                      <a:pt x="342" y="36"/>
                    </a:lnTo>
                    <a:lnTo>
                      <a:pt x="336" y="30"/>
                    </a:lnTo>
                    <a:lnTo>
                      <a:pt x="330" y="30"/>
                    </a:lnTo>
                    <a:lnTo>
                      <a:pt x="324" y="42"/>
                    </a:lnTo>
                    <a:lnTo>
                      <a:pt x="312" y="54"/>
                    </a:lnTo>
                    <a:lnTo>
                      <a:pt x="306" y="66"/>
                    </a:lnTo>
                    <a:lnTo>
                      <a:pt x="306" y="54"/>
                    </a:lnTo>
                    <a:lnTo>
                      <a:pt x="300" y="42"/>
                    </a:lnTo>
                    <a:lnTo>
                      <a:pt x="288" y="30"/>
                    </a:lnTo>
                    <a:lnTo>
                      <a:pt x="276" y="42"/>
                    </a:lnTo>
                    <a:lnTo>
                      <a:pt x="270" y="54"/>
                    </a:lnTo>
                    <a:lnTo>
                      <a:pt x="264" y="60"/>
                    </a:lnTo>
                    <a:lnTo>
                      <a:pt x="258" y="54"/>
                    </a:lnTo>
                    <a:lnTo>
                      <a:pt x="258" y="48"/>
                    </a:lnTo>
                    <a:lnTo>
                      <a:pt x="252" y="36"/>
                    </a:lnTo>
                    <a:lnTo>
                      <a:pt x="252" y="24"/>
                    </a:lnTo>
                    <a:lnTo>
                      <a:pt x="210" y="24"/>
                    </a:lnTo>
                    <a:lnTo>
                      <a:pt x="204" y="30"/>
                    </a:lnTo>
                    <a:lnTo>
                      <a:pt x="192" y="36"/>
                    </a:lnTo>
                    <a:lnTo>
                      <a:pt x="180" y="36"/>
                    </a:lnTo>
                    <a:lnTo>
                      <a:pt x="174" y="30"/>
                    </a:lnTo>
                    <a:lnTo>
                      <a:pt x="168" y="18"/>
                    </a:lnTo>
                    <a:lnTo>
                      <a:pt x="162" y="12"/>
                    </a:lnTo>
                    <a:lnTo>
                      <a:pt x="156" y="18"/>
                    </a:lnTo>
                    <a:lnTo>
                      <a:pt x="138" y="18"/>
                    </a:lnTo>
                    <a:lnTo>
                      <a:pt x="132" y="6"/>
                    </a:lnTo>
                    <a:lnTo>
                      <a:pt x="132" y="0"/>
                    </a:lnTo>
                    <a:lnTo>
                      <a:pt x="96" y="0"/>
                    </a:lnTo>
                    <a:close/>
                  </a:path>
                </a:pathLst>
              </a:custGeom>
              <a:solidFill>
                <a:srgbClr val="9D90A0">
                  <a:lumMod val="40000"/>
                  <a:lumOff val="60000"/>
                </a:srgbClr>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147" name="Ghana" descr="© INSCALE GmbH, 05.05.2010&#10;http://www.presentationload.com/">
                <a:extLst>
                  <a:ext uri="{FF2B5EF4-FFF2-40B4-BE49-F238E27FC236}">
                    <a16:creationId xmlns:a16="http://schemas.microsoft.com/office/drawing/2014/main" id="{C31A1142-2E44-4D2E-86B7-73ABDD9CB727}"/>
                  </a:ext>
                </a:extLst>
              </p:cNvPr>
              <p:cNvSpPr>
                <a:spLocks/>
              </p:cNvSpPr>
              <p:nvPr/>
            </p:nvSpPr>
            <p:spPr bwMode="gray">
              <a:xfrm>
                <a:off x="4121108" y="4158979"/>
                <a:ext cx="127913" cy="226984"/>
              </a:xfrm>
              <a:custGeom>
                <a:avLst/>
                <a:gdLst>
                  <a:gd name="T0" fmla="*/ 2147483647 w 324"/>
                  <a:gd name="T1" fmla="*/ 2147483647 h 516"/>
                  <a:gd name="T2" fmla="*/ 2147483647 w 324"/>
                  <a:gd name="T3" fmla="*/ 2147483647 h 516"/>
                  <a:gd name="T4" fmla="*/ 2147483647 w 324"/>
                  <a:gd name="T5" fmla="*/ 2147483647 h 516"/>
                  <a:gd name="T6" fmla="*/ 2147483647 w 324"/>
                  <a:gd name="T7" fmla="*/ 2147483647 h 516"/>
                  <a:gd name="T8" fmla="*/ 2147483647 w 324"/>
                  <a:gd name="T9" fmla="*/ 2147483647 h 516"/>
                  <a:gd name="T10" fmla="*/ 2147483647 w 324"/>
                  <a:gd name="T11" fmla="*/ 2147483647 h 516"/>
                  <a:gd name="T12" fmla="*/ 2147483647 w 324"/>
                  <a:gd name="T13" fmla="*/ 2147483647 h 516"/>
                  <a:gd name="T14" fmla="*/ 2147483647 w 324"/>
                  <a:gd name="T15" fmla="*/ 2147483647 h 516"/>
                  <a:gd name="T16" fmla="*/ 2147483647 w 324"/>
                  <a:gd name="T17" fmla="*/ 2147483647 h 516"/>
                  <a:gd name="T18" fmla="*/ 2147483647 w 324"/>
                  <a:gd name="T19" fmla="*/ 2147483647 h 516"/>
                  <a:gd name="T20" fmla="*/ 2147483647 w 324"/>
                  <a:gd name="T21" fmla="*/ 2147483647 h 516"/>
                  <a:gd name="T22" fmla="*/ 2147483647 w 324"/>
                  <a:gd name="T23" fmla="*/ 2147483647 h 516"/>
                  <a:gd name="T24" fmla="*/ 2147483647 w 324"/>
                  <a:gd name="T25" fmla="*/ 2147483647 h 516"/>
                  <a:gd name="T26" fmla="*/ 2147483647 w 324"/>
                  <a:gd name="T27" fmla="*/ 0 h 516"/>
                  <a:gd name="T28" fmla="*/ 2147483647 w 324"/>
                  <a:gd name="T29" fmla="*/ 2147483647 h 516"/>
                  <a:gd name="T30" fmla="*/ 2147483647 w 324"/>
                  <a:gd name="T31" fmla="*/ 2147483647 h 516"/>
                  <a:gd name="T32" fmla="*/ 2147483647 w 324"/>
                  <a:gd name="T33" fmla="*/ 2147483647 h 516"/>
                  <a:gd name="T34" fmla="*/ 2147483647 w 324"/>
                  <a:gd name="T35" fmla="*/ 2147483647 h 516"/>
                  <a:gd name="T36" fmla="*/ 2147483647 w 324"/>
                  <a:gd name="T37" fmla="*/ 2147483647 h 516"/>
                  <a:gd name="T38" fmla="*/ 2147483647 w 324"/>
                  <a:gd name="T39" fmla="*/ 2147483647 h 516"/>
                  <a:gd name="T40" fmla="*/ 2147483647 w 324"/>
                  <a:gd name="T41" fmla="*/ 2147483647 h 516"/>
                  <a:gd name="T42" fmla="*/ 2147483647 w 324"/>
                  <a:gd name="T43" fmla="*/ 2147483647 h 516"/>
                  <a:gd name="T44" fmla="*/ 2147483647 w 324"/>
                  <a:gd name="T45" fmla="*/ 2147483647 h 516"/>
                  <a:gd name="T46" fmla="*/ 2147483647 w 324"/>
                  <a:gd name="T47" fmla="*/ 2147483647 h 516"/>
                  <a:gd name="T48" fmla="*/ 2147483647 w 324"/>
                  <a:gd name="T49" fmla="*/ 2147483647 h 516"/>
                  <a:gd name="T50" fmla="*/ 2147483647 w 324"/>
                  <a:gd name="T51" fmla="*/ 2147483647 h 516"/>
                  <a:gd name="T52" fmla="*/ 2147483647 w 324"/>
                  <a:gd name="T53" fmla="*/ 2147483647 h 516"/>
                  <a:gd name="T54" fmla="*/ 0 w 324"/>
                  <a:gd name="T55" fmla="*/ 2147483647 h 516"/>
                  <a:gd name="T56" fmla="*/ 2147483647 w 324"/>
                  <a:gd name="T57" fmla="*/ 2147483647 h 516"/>
                  <a:gd name="T58" fmla="*/ 2147483647 w 324"/>
                  <a:gd name="T59" fmla="*/ 2147483647 h 516"/>
                  <a:gd name="T60" fmla="*/ 2147483647 w 324"/>
                  <a:gd name="T61" fmla="*/ 2147483647 h 516"/>
                  <a:gd name="T62" fmla="*/ 2147483647 w 324"/>
                  <a:gd name="T63" fmla="*/ 2147483647 h 516"/>
                  <a:gd name="T64" fmla="*/ 2147483647 w 324"/>
                  <a:gd name="T65" fmla="*/ 2147483647 h 516"/>
                  <a:gd name="T66" fmla="*/ 2147483647 w 324"/>
                  <a:gd name="T67" fmla="*/ 2147483647 h 516"/>
                  <a:gd name="T68" fmla="*/ 2147483647 w 324"/>
                  <a:gd name="T69" fmla="*/ 2147483647 h 516"/>
                  <a:gd name="T70" fmla="*/ 2147483647 w 324"/>
                  <a:gd name="T71" fmla="*/ 2147483647 h 516"/>
                  <a:gd name="T72" fmla="*/ 2147483647 w 324"/>
                  <a:gd name="T73" fmla="*/ 2147483647 h 516"/>
                  <a:gd name="T74" fmla="*/ 2147483647 w 324"/>
                  <a:gd name="T75" fmla="*/ 2147483647 h 516"/>
                  <a:gd name="T76" fmla="*/ 2147483647 w 324"/>
                  <a:gd name="T77" fmla="*/ 2147483647 h 516"/>
                  <a:gd name="T78" fmla="*/ 2147483647 w 324"/>
                  <a:gd name="T79" fmla="*/ 2147483647 h 516"/>
                  <a:gd name="T80" fmla="*/ 2147483647 w 324"/>
                  <a:gd name="T81" fmla="*/ 2147483647 h 516"/>
                  <a:gd name="T82" fmla="*/ 2147483647 w 324"/>
                  <a:gd name="T83" fmla="*/ 2147483647 h 516"/>
                  <a:gd name="T84" fmla="*/ 2147483647 w 324"/>
                  <a:gd name="T85" fmla="*/ 2147483647 h 516"/>
                  <a:gd name="T86" fmla="*/ 2147483647 w 324"/>
                  <a:gd name="T87" fmla="*/ 2147483647 h 51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324"/>
                  <a:gd name="T133" fmla="*/ 0 h 516"/>
                  <a:gd name="T134" fmla="*/ 324 w 324"/>
                  <a:gd name="T135" fmla="*/ 516 h 51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324" h="516">
                    <a:moveTo>
                      <a:pt x="282" y="342"/>
                    </a:moveTo>
                    <a:lnTo>
                      <a:pt x="282" y="330"/>
                    </a:lnTo>
                    <a:lnTo>
                      <a:pt x="288" y="318"/>
                    </a:lnTo>
                    <a:lnTo>
                      <a:pt x="288" y="306"/>
                    </a:lnTo>
                    <a:lnTo>
                      <a:pt x="282" y="300"/>
                    </a:lnTo>
                    <a:lnTo>
                      <a:pt x="276" y="300"/>
                    </a:lnTo>
                    <a:lnTo>
                      <a:pt x="276" y="282"/>
                    </a:lnTo>
                    <a:lnTo>
                      <a:pt x="282" y="276"/>
                    </a:lnTo>
                    <a:lnTo>
                      <a:pt x="282" y="234"/>
                    </a:lnTo>
                    <a:lnTo>
                      <a:pt x="288" y="228"/>
                    </a:lnTo>
                    <a:lnTo>
                      <a:pt x="288" y="216"/>
                    </a:lnTo>
                    <a:lnTo>
                      <a:pt x="282" y="210"/>
                    </a:lnTo>
                    <a:lnTo>
                      <a:pt x="270" y="204"/>
                    </a:lnTo>
                    <a:lnTo>
                      <a:pt x="264" y="198"/>
                    </a:lnTo>
                    <a:lnTo>
                      <a:pt x="276" y="186"/>
                    </a:lnTo>
                    <a:lnTo>
                      <a:pt x="282" y="186"/>
                    </a:lnTo>
                    <a:lnTo>
                      <a:pt x="282" y="180"/>
                    </a:lnTo>
                    <a:lnTo>
                      <a:pt x="270" y="168"/>
                    </a:lnTo>
                    <a:lnTo>
                      <a:pt x="276" y="156"/>
                    </a:lnTo>
                    <a:lnTo>
                      <a:pt x="276" y="132"/>
                    </a:lnTo>
                    <a:lnTo>
                      <a:pt x="270" y="126"/>
                    </a:lnTo>
                    <a:lnTo>
                      <a:pt x="264" y="126"/>
                    </a:lnTo>
                    <a:lnTo>
                      <a:pt x="252" y="138"/>
                    </a:lnTo>
                    <a:lnTo>
                      <a:pt x="264" y="60"/>
                    </a:lnTo>
                    <a:lnTo>
                      <a:pt x="228" y="36"/>
                    </a:lnTo>
                    <a:lnTo>
                      <a:pt x="240" y="24"/>
                    </a:lnTo>
                    <a:lnTo>
                      <a:pt x="240" y="6"/>
                    </a:lnTo>
                    <a:lnTo>
                      <a:pt x="222" y="0"/>
                    </a:lnTo>
                    <a:lnTo>
                      <a:pt x="198" y="12"/>
                    </a:lnTo>
                    <a:lnTo>
                      <a:pt x="42" y="12"/>
                    </a:lnTo>
                    <a:lnTo>
                      <a:pt x="36" y="18"/>
                    </a:lnTo>
                    <a:lnTo>
                      <a:pt x="30" y="30"/>
                    </a:lnTo>
                    <a:lnTo>
                      <a:pt x="30" y="48"/>
                    </a:lnTo>
                    <a:lnTo>
                      <a:pt x="36" y="48"/>
                    </a:lnTo>
                    <a:lnTo>
                      <a:pt x="42" y="78"/>
                    </a:lnTo>
                    <a:lnTo>
                      <a:pt x="42" y="132"/>
                    </a:lnTo>
                    <a:lnTo>
                      <a:pt x="48" y="126"/>
                    </a:lnTo>
                    <a:lnTo>
                      <a:pt x="54" y="156"/>
                    </a:lnTo>
                    <a:lnTo>
                      <a:pt x="42" y="156"/>
                    </a:lnTo>
                    <a:lnTo>
                      <a:pt x="42" y="162"/>
                    </a:lnTo>
                    <a:lnTo>
                      <a:pt x="48" y="168"/>
                    </a:lnTo>
                    <a:lnTo>
                      <a:pt x="48" y="180"/>
                    </a:lnTo>
                    <a:lnTo>
                      <a:pt x="54" y="192"/>
                    </a:lnTo>
                    <a:lnTo>
                      <a:pt x="54" y="204"/>
                    </a:lnTo>
                    <a:lnTo>
                      <a:pt x="60" y="216"/>
                    </a:lnTo>
                    <a:lnTo>
                      <a:pt x="60" y="228"/>
                    </a:lnTo>
                    <a:lnTo>
                      <a:pt x="48" y="252"/>
                    </a:lnTo>
                    <a:lnTo>
                      <a:pt x="42" y="258"/>
                    </a:lnTo>
                    <a:lnTo>
                      <a:pt x="36" y="270"/>
                    </a:lnTo>
                    <a:lnTo>
                      <a:pt x="36" y="288"/>
                    </a:lnTo>
                    <a:lnTo>
                      <a:pt x="30" y="300"/>
                    </a:lnTo>
                    <a:lnTo>
                      <a:pt x="30" y="312"/>
                    </a:lnTo>
                    <a:lnTo>
                      <a:pt x="12" y="330"/>
                    </a:lnTo>
                    <a:lnTo>
                      <a:pt x="6" y="342"/>
                    </a:lnTo>
                    <a:lnTo>
                      <a:pt x="0" y="348"/>
                    </a:lnTo>
                    <a:lnTo>
                      <a:pt x="0" y="372"/>
                    </a:lnTo>
                    <a:lnTo>
                      <a:pt x="6" y="384"/>
                    </a:lnTo>
                    <a:lnTo>
                      <a:pt x="12" y="402"/>
                    </a:lnTo>
                    <a:lnTo>
                      <a:pt x="12" y="414"/>
                    </a:lnTo>
                    <a:lnTo>
                      <a:pt x="18" y="426"/>
                    </a:lnTo>
                    <a:lnTo>
                      <a:pt x="24" y="432"/>
                    </a:lnTo>
                    <a:lnTo>
                      <a:pt x="24" y="438"/>
                    </a:lnTo>
                    <a:lnTo>
                      <a:pt x="48" y="444"/>
                    </a:lnTo>
                    <a:lnTo>
                      <a:pt x="48" y="498"/>
                    </a:lnTo>
                    <a:lnTo>
                      <a:pt x="72" y="498"/>
                    </a:lnTo>
                    <a:lnTo>
                      <a:pt x="78" y="504"/>
                    </a:lnTo>
                    <a:lnTo>
                      <a:pt x="78" y="510"/>
                    </a:lnTo>
                    <a:lnTo>
                      <a:pt x="84" y="516"/>
                    </a:lnTo>
                    <a:lnTo>
                      <a:pt x="96" y="516"/>
                    </a:lnTo>
                    <a:lnTo>
                      <a:pt x="108" y="510"/>
                    </a:lnTo>
                    <a:lnTo>
                      <a:pt x="114" y="504"/>
                    </a:lnTo>
                    <a:lnTo>
                      <a:pt x="132" y="492"/>
                    </a:lnTo>
                    <a:lnTo>
                      <a:pt x="138" y="486"/>
                    </a:lnTo>
                    <a:lnTo>
                      <a:pt x="150" y="480"/>
                    </a:lnTo>
                    <a:lnTo>
                      <a:pt x="180" y="480"/>
                    </a:lnTo>
                    <a:lnTo>
                      <a:pt x="186" y="474"/>
                    </a:lnTo>
                    <a:lnTo>
                      <a:pt x="198" y="468"/>
                    </a:lnTo>
                    <a:lnTo>
                      <a:pt x="216" y="450"/>
                    </a:lnTo>
                    <a:lnTo>
                      <a:pt x="228" y="450"/>
                    </a:lnTo>
                    <a:lnTo>
                      <a:pt x="234" y="444"/>
                    </a:lnTo>
                    <a:lnTo>
                      <a:pt x="240" y="444"/>
                    </a:lnTo>
                    <a:lnTo>
                      <a:pt x="258" y="426"/>
                    </a:lnTo>
                    <a:lnTo>
                      <a:pt x="270" y="426"/>
                    </a:lnTo>
                    <a:lnTo>
                      <a:pt x="276" y="432"/>
                    </a:lnTo>
                    <a:lnTo>
                      <a:pt x="294" y="432"/>
                    </a:lnTo>
                    <a:lnTo>
                      <a:pt x="306" y="426"/>
                    </a:lnTo>
                    <a:lnTo>
                      <a:pt x="324" y="408"/>
                    </a:lnTo>
                    <a:lnTo>
                      <a:pt x="294" y="384"/>
                    </a:lnTo>
                    <a:lnTo>
                      <a:pt x="282" y="342"/>
                    </a:lnTo>
                    <a:close/>
                  </a:path>
                </a:pathLst>
              </a:custGeom>
              <a:solidFill>
                <a:srgbClr val="9D90A0">
                  <a:lumMod val="40000"/>
                  <a:lumOff val="60000"/>
                </a:srgbClr>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148" name="The Gambia" descr="© INSCALE GmbH, 05.05.2010&#10;http://www.presentationload.com/">
                <a:extLst>
                  <a:ext uri="{FF2B5EF4-FFF2-40B4-BE49-F238E27FC236}">
                    <a16:creationId xmlns:a16="http://schemas.microsoft.com/office/drawing/2014/main" id="{3C9E6500-6D16-4FCE-B08C-3E5E36666D19}"/>
                  </a:ext>
                </a:extLst>
              </p:cNvPr>
              <p:cNvSpPr>
                <a:spLocks/>
              </p:cNvSpPr>
              <p:nvPr/>
            </p:nvSpPr>
            <p:spPr bwMode="gray">
              <a:xfrm>
                <a:off x="3746729" y="4065414"/>
                <a:ext cx="85795" cy="22525"/>
              </a:xfrm>
              <a:custGeom>
                <a:avLst/>
                <a:gdLst>
                  <a:gd name="T0" fmla="*/ 2147483647 w 216"/>
                  <a:gd name="T1" fmla="*/ 2147483647 h 54"/>
                  <a:gd name="T2" fmla="*/ 2147483647 w 216"/>
                  <a:gd name="T3" fmla="*/ 2147483647 h 54"/>
                  <a:gd name="T4" fmla="*/ 2147483647 w 216"/>
                  <a:gd name="T5" fmla="*/ 2147483647 h 54"/>
                  <a:gd name="T6" fmla="*/ 2147483647 w 216"/>
                  <a:gd name="T7" fmla="*/ 2147483647 h 54"/>
                  <a:gd name="T8" fmla="*/ 0 w 216"/>
                  <a:gd name="T9" fmla="*/ 2147483647 h 54"/>
                  <a:gd name="T10" fmla="*/ 0 w 216"/>
                  <a:gd name="T11" fmla="*/ 2147483647 h 54"/>
                  <a:gd name="T12" fmla="*/ 2147483647 w 216"/>
                  <a:gd name="T13" fmla="*/ 2147483647 h 54"/>
                  <a:gd name="T14" fmla="*/ 2147483647 w 216"/>
                  <a:gd name="T15" fmla="*/ 2147483647 h 54"/>
                  <a:gd name="T16" fmla="*/ 2147483647 w 216"/>
                  <a:gd name="T17" fmla="*/ 2147483647 h 54"/>
                  <a:gd name="T18" fmla="*/ 2147483647 w 216"/>
                  <a:gd name="T19" fmla="*/ 2147483647 h 54"/>
                  <a:gd name="T20" fmla="*/ 2147483647 w 216"/>
                  <a:gd name="T21" fmla="*/ 2147483647 h 54"/>
                  <a:gd name="T22" fmla="*/ 2147483647 w 216"/>
                  <a:gd name="T23" fmla="*/ 2147483647 h 54"/>
                  <a:gd name="T24" fmla="*/ 2147483647 w 216"/>
                  <a:gd name="T25" fmla="*/ 2147483647 h 54"/>
                  <a:gd name="T26" fmla="*/ 2147483647 w 216"/>
                  <a:gd name="T27" fmla="*/ 2147483647 h 54"/>
                  <a:gd name="T28" fmla="*/ 2147483647 w 216"/>
                  <a:gd name="T29" fmla="*/ 2147483647 h 54"/>
                  <a:gd name="T30" fmla="*/ 2147483647 w 216"/>
                  <a:gd name="T31" fmla="*/ 2147483647 h 54"/>
                  <a:gd name="T32" fmla="*/ 2147483647 w 216"/>
                  <a:gd name="T33" fmla="*/ 2147483647 h 54"/>
                  <a:gd name="T34" fmla="*/ 2147483647 w 216"/>
                  <a:gd name="T35" fmla="*/ 2147483647 h 54"/>
                  <a:gd name="T36" fmla="*/ 2147483647 w 216"/>
                  <a:gd name="T37" fmla="*/ 2147483647 h 54"/>
                  <a:gd name="T38" fmla="*/ 2147483647 w 216"/>
                  <a:gd name="T39" fmla="*/ 2147483647 h 54"/>
                  <a:gd name="T40" fmla="*/ 2147483647 w 216"/>
                  <a:gd name="T41" fmla="*/ 2147483647 h 54"/>
                  <a:gd name="T42" fmla="*/ 2147483647 w 216"/>
                  <a:gd name="T43" fmla="*/ 2147483647 h 54"/>
                  <a:gd name="T44" fmla="*/ 2147483647 w 216"/>
                  <a:gd name="T45" fmla="*/ 2147483647 h 54"/>
                  <a:gd name="T46" fmla="*/ 2147483647 w 216"/>
                  <a:gd name="T47" fmla="*/ 2147483647 h 54"/>
                  <a:gd name="T48" fmla="*/ 2147483647 w 216"/>
                  <a:gd name="T49" fmla="*/ 2147483647 h 54"/>
                  <a:gd name="T50" fmla="*/ 2147483647 w 216"/>
                  <a:gd name="T51" fmla="*/ 2147483647 h 54"/>
                  <a:gd name="T52" fmla="*/ 2147483647 w 216"/>
                  <a:gd name="T53" fmla="*/ 2147483647 h 54"/>
                  <a:gd name="T54" fmla="*/ 2147483647 w 216"/>
                  <a:gd name="T55" fmla="*/ 2147483647 h 54"/>
                  <a:gd name="T56" fmla="*/ 2147483647 w 216"/>
                  <a:gd name="T57" fmla="*/ 2147483647 h 54"/>
                  <a:gd name="T58" fmla="*/ 2147483647 w 216"/>
                  <a:gd name="T59" fmla="*/ 0 h 54"/>
                  <a:gd name="T60" fmla="*/ 2147483647 w 216"/>
                  <a:gd name="T61" fmla="*/ 0 h 54"/>
                  <a:gd name="T62" fmla="*/ 2147483647 w 216"/>
                  <a:gd name="T63" fmla="*/ 2147483647 h 54"/>
                  <a:gd name="T64" fmla="*/ 2147483647 w 216"/>
                  <a:gd name="T65" fmla="*/ 2147483647 h 54"/>
                  <a:gd name="T66" fmla="*/ 2147483647 w 216"/>
                  <a:gd name="T67" fmla="*/ 2147483647 h 5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16"/>
                  <a:gd name="T103" fmla="*/ 0 h 54"/>
                  <a:gd name="T104" fmla="*/ 216 w 216"/>
                  <a:gd name="T105" fmla="*/ 54 h 54"/>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16" h="54">
                    <a:moveTo>
                      <a:pt x="18" y="18"/>
                    </a:moveTo>
                    <a:lnTo>
                      <a:pt x="12" y="24"/>
                    </a:lnTo>
                    <a:lnTo>
                      <a:pt x="6" y="36"/>
                    </a:lnTo>
                    <a:lnTo>
                      <a:pt x="6" y="42"/>
                    </a:lnTo>
                    <a:lnTo>
                      <a:pt x="0" y="48"/>
                    </a:lnTo>
                    <a:lnTo>
                      <a:pt x="0" y="54"/>
                    </a:lnTo>
                    <a:lnTo>
                      <a:pt x="72" y="54"/>
                    </a:lnTo>
                    <a:lnTo>
                      <a:pt x="72" y="42"/>
                    </a:lnTo>
                    <a:lnTo>
                      <a:pt x="84" y="42"/>
                    </a:lnTo>
                    <a:lnTo>
                      <a:pt x="90" y="36"/>
                    </a:lnTo>
                    <a:lnTo>
                      <a:pt x="114" y="36"/>
                    </a:lnTo>
                    <a:lnTo>
                      <a:pt x="120" y="24"/>
                    </a:lnTo>
                    <a:lnTo>
                      <a:pt x="126" y="18"/>
                    </a:lnTo>
                    <a:lnTo>
                      <a:pt x="132" y="24"/>
                    </a:lnTo>
                    <a:lnTo>
                      <a:pt x="144" y="30"/>
                    </a:lnTo>
                    <a:lnTo>
                      <a:pt x="150" y="42"/>
                    </a:lnTo>
                    <a:lnTo>
                      <a:pt x="168" y="48"/>
                    </a:lnTo>
                    <a:lnTo>
                      <a:pt x="192" y="48"/>
                    </a:lnTo>
                    <a:lnTo>
                      <a:pt x="198" y="42"/>
                    </a:lnTo>
                    <a:lnTo>
                      <a:pt x="210" y="36"/>
                    </a:lnTo>
                    <a:lnTo>
                      <a:pt x="216" y="30"/>
                    </a:lnTo>
                    <a:lnTo>
                      <a:pt x="216" y="24"/>
                    </a:lnTo>
                    <a:lnTo>
                      <a:pt x="210" y="18"/>
                    </a:lnTo>
                    <a:lnTo>
                      <a:pt x="186" y="18"/>
                    </a:lnTo>
                    <a:lnTo>
                      <a:pt x="180" y="24"/>
                    </a:lnTo>
                    <a:lnTo>
                      <a:pt x="168" y="24"/>
                    </a:lnTo>
                    <a:lnTo>
                      <a:pt x="162" y="12"/>
                    </a:lnTo>
                    <a:lnTo>
                      <a:pt x="156" y="6"/>
                    </a:lnTo>
                    <a:lnTo>
                      <a:pt x="144" y="12"/>
                    </a:lnTo>
                    <a:lnTo>
                      <a:pt x="144" y="0"/>
                    </a:lnTo>
                    <a:lnTo>
                      <a:pt x="90" y="0"/>
                    </a:lnTo>
                    <a:lnTo>
                      <a:pt x="90" y="12"/>
                    </a:lnTo>
                    <a:lnTo>
                      <a:pt x="18" y="12"/>
                    </a:lnTo>
                    <a:lnTo>
                      <a:pt x="18" y="18"/>
                    </a:lnTo>
                    <a:close/>
                  </a:path>
                </a:pathLst>
              </a:custGeom>
              <a:solidFill>
                <a:srgbClr val="9D90A0">
                  <a:lumMod val="40000"/>
                  <a:lumOff val="60000"/>
                </a:srgbClr>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149" name="Gabon" descr="© INSCALE GmbH, 05.05.2010&#10;http://www.presentationload.com/">
                <a:extLst>
                  <a:ext uri="{FF2B5EF4-FFF2-40B4-BE49-F238E27FC236}">
                    <a16:creationId xmlns:a16="http://schemas.microsoft.com/office/drawing/2014/main" id="{8FE3799A-5FBF-49C5-AC98-9E8102312D80}"/>
                  </a:ext>
                </a:extLst>
              </p:cNvPr>
              <p:cNvSpPr>
                <a:spLocks/>
              </p:cNvSpPr>
              <p:nvPr/>
            </p:nvSpPr>
            <p:spPr bwMode="gray">
              <a:xfrm>
                <a:off x="4458049" y="4467400"/>
                <a:ext cx="165351" cy="225251"/>
              </a:xfrm>
              <a:custGeom>
                <a:avLst/>
                <a:gdLst>
                  <a:gd name="T0" fmla="*/ 2147483647 w 420"/>
                  <a:gd name="T1" fmla="*/ 2147483647 h 510"/>
                  <a:gd name="T2" fmla="*/ 2147483647 w 420"/>
                  <a:gd name="T3" fmla="*/ 2147483647 h 510"/>
                  <a:gd name="T4" fmla="*/ 2147483647 w 420"/>
                  <a:gd name="T5" fmla="*/ 2147483647 h 510"/>
                  <a:gd name="T6" fmla="*/ 2147483647 w 420"/>
                  <a:gd name="T7" fmla="*/ 2147483647 h 510"/>
                  <a:gd name="T8" fmla="*/ 2147483647 w 420"/>
                  <a:gd name="T9" fmla="*/ 2147483647 h 510"/>
                  <a:gd name="T10" fmla="*/ 2147483647 w 420"/>
                  <a:gd name="T11" fmla="*/ 2147483647 h 510"/>
                  <a:gd name="T12" fmla="*/ 2147483647 w 420"/>
                  <a:gd name="T13" fmla="*/ 2147483647 h 510"/>
                  <a:gd name="T14" fmla="*/ 2147483647 w 420"/>
                  <a:gd name="T15" fmla="*/ 2147483647 h 510"/>
                  <a:gd name="T16" fmla="*/ 2147483647 w 420"/>
                  <a:gd name="T17" fmla="*/ 2147483647 h 510"/>
                  <a:gd name="T18" fmla="*/ 2147483647 w 420"/>
                  <a:gd name="T19" fmla="*/ 2147483647 h 510"/>
                  <a:gd name="T20" fmla="*/ 2147483647 w 420"/>
                  <a:gd name="T21" fmla="*/ 2147483647 h 510"/>
                  <a:gd name="T22" fmla="*/ 2147483647 w 420"/>
                  <a:gd name="T23" fmla="*/ 2147483647 h 510"/>
                  <a:gd name="T24" fmla="*/ 2147483647 w 420"/>
                  <a:gd name="T25" fmla="*/ 2147483647 h 510"/>
                  <a:gd name="T26" fmla="*/ 2147483647 w 420"/>
                  <a:gd name="T27" fmla="*/ 2147483647 h 510"/>
                  <a:gd name="T28" fmla="*/ 2147483647 w 420"/>
                  <a:gd name="T29" fmla="*/ 2147483647 h 510"/>
                  <a:gd name="T30" fmla="*/ 2147483647 w 420"/>
                  <a:gd name="T31" fmla="*/ 2147483647 h 510"/>
                  <a:gd name="T32" fmla="*/ 2147483647 w 420"/>
                  <a:gd name="T33" fmla="*/ 2147483647 h 510"/>
                  <a:gd name="T34" fmla="*/ 2147483647 w 420"/>
                  <a:gd name="T35" fmla="*/ 2147483647 h 510"/>
                  <a:gd name="T36" fmla="*/ 2147483647 w 420"/>
                  <a:gd name="T37" fmla="*/ 2147483647 h 510"/>
                  <a:gd name="T38" fmla="*/ 2147483647 w 420"/>
                  <a:gd name="T39" fmla="*/ 2147483647 h 510"/>
                  <a:gd name="T40" fmla="*/ 2147483647 w 420"/>
                  <a:gd name="T41" fmla="*/ 2147483647 h 510"/>
                  <a:gd name="T42" fmla="*/ 2147483647 w 420"/>
                  <a:gd name="T43" fmla="*/ 2147483647 h 510"/>
                  <a:gd name="T44" fmla="*/ 2147483647 w 420"/>
                  <a:gd name="T45" fmla="*/ 2147483647 h 510"/>
                  <a:gd name="T46" fmla="*/ 2147483647 w 420"/>
                  <a:gd name="T47" fmla="*/ 2147483647 h 510"/>
                  <a:gd name="T48" fmla="*/ 2147483647 w 420"/>
                  <a:gd name="T49" fmla="*/ 2147483647 h 510"/>
                  <a:gd name="T50" fmla="*/ 2147483647 w 420"/>
                  <a:gd name="T51" fmla="*/ 2147483647 h 510"/>
                  <a:gd name="T52" fmla="*/ 2147483647 w 420"/>
                  <a:gd name="T53" fmla="*/ 2147483647 h 510"/>
                  <a:gd name="T54" fmla="*/ 2147483647 w 420"/>
                  <a:gd name="T55" fmla="*/ 2147483647 h 510"/>
                  <a:gd name="T56" fmla="*/ 2147483647 w 420"/>
                  <a:gd name="T57" fmla="*/ 2147483647 h 510"/>
                  <a:gd name="T58" fmla="*/ 2147483647 w 420"/>
                  <a:gd name="T59" fmla="*/ 2147483647 h 510"/>
                  <a:gd name="T60" fmla="*/ 2147483647 w 420"/>
                  <a:gd name="T61" fmla="*/ 2147483647 h 510"/>
                  <a:gd name="T62" fmla="*/ 2147483647 w 420"/>
                  <a:gd name="T63" fmla="*/ 2147483647 h 510"/>
                  <a:gd name="T64" fmla="*/ 2147483647 w 420"/>
                  <a:gd name="T65" fmla="*/ 2147483647 h 510"/>
                  <a:gd name="T66" fmla="*/ 2147483647 w 420"/>
                  <a:gd name="T67" fmla="*/ 2147483647 h 510"/>
                  <a:gd name="T68" fmla="*/ 2147483647 w 420"/>
                  <a:gd name="T69" fmla="*/ 2147483647 h 510"/>
                  <a:gd name="T70" fmla="*/ 2147483647 w 420"/>
                  <a:gd name="T71" fmla="*/ 2147483647 h 510"/>
                  <a:gd name="T72" fmla="*/ 2147483647 w 420"/>
                  <a:gd name="T73" fmla="*/ 2147483647 h 510"/>
                  <a:gd name="T74" fmla="*/ 2147483647 w 420"/>
                  <a:gd name="T75" fmla="*/ 2147483647 h 510"/>
                  <a:gd name="T76" fmla="*/ 2147483647 w 420"/>
                  <a:gd name="T77" fmla="*/ 2147483647 h 510"/>
                  <a:gd name="T78" fmla="*/ 2147483647 w 420"/>
                  <a:gd name="T79" fmla="*/ 2147483647 h 510"/>
                  <a:gd name="T80" fmla="*/ 2147483647 w 420"/>
                  <a:gd name="T81" fmla="*/ 2147483647 h 510"/>
                  <a:gd name="T82" fmla="*/ 2147483647 w 420"/>
                  <a:gd name="T83" fmla="*/ 2147483647 h 510"/>
                  <a:gd name="T84" fmla="*/ 2147483647 w 420"/>
                  <a:gd name="T85" fmla="*/ 2147483647 h 510"/>
                  <a:gd name="T86" fmla="*/ 2147483647 w 420"/>
                  <a:gd name="T87" fmla="*/ 2147483647 h 510"/>
                  <a:gd name="T88" fmla="*/ 2147483647 w 420"/>
                  <a:gd name="T89" fmla="*/ 2147483647 h 510"/>
                  <a:gd name="T90" fmla="*/ 2147483647 w 420"/>
                  <a:gd name="T91" fmla="*/ 2147483647 h 510"/>
                  <a:gd name="T92" fmla="*/ 2147483647 w 420"/>
                  <a:gd name="T93" fmla="*/ 2147483647 h 510"/>
                  <a:gd name="T94" fmla="*/ 2147483647 w 420"/>
                  <a:gd name="T95" fmla="*/ 2147483647 h 510"/>
                  <a:gd name="T96" fmla="*/ 2147483647 w 420"/>
                  <a:gd name="T97" fmla="*/ 2147483647 h 510"/>
                  <a:gd name="T98" fmla="*/ 2147483647 w 420"/>
                  <a:gd name="T99" fmla="*/ 2147483647 h 510"/>
                  <a:gd name="T100" fmla="*/ 2147483647 w 420"/>
                  <a:gd name="T101" fmla="*/ 2147483647 h 510"/>
                  <a:gd name="T102" fmla="*/ 2147483647 w 420"/>
                  <a:gd name="T103" fmla="*/ 2147483647 h 510"/>
                  <a:gd name="T104" fmla="*/ 2147483647 w 420"/>
                  <a:gd name="T105" fmla="*/ 2147483647 h 510"/>
                  <a:gd name="T106" fmla="*/ 2147483647 w 420"/>
                  <a:gd name="T107" fmla="*/ 2147483647 h 510"/>
                  <a:gd name="T108" fmla="*/ 2147483647 w 420"/>
                  <a:gd name="T109" fmla="*/ 2147483647 h 510"/>
                  <a:gd name="T110" fmla="*/ 2147483647 w 420"/>
                  <a:gd name="T111" fmla="*/ 2147483647 h 51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0"/>
                  <a:gd name="T169" fmla="*/ 0 h 510"/>
                  <a:gd name="T170" fmla="*/ 420 w 420"/>
                  <a:gd name="T171" fmla="*/ 510 h 510"/>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0" h="510">
                    <a:moveTo>
                      <a:pt x="420" y="240"/>
                    </a:moveTo>
                    <a:lnTo>
                      <a:pt x="414" y="234"/>
                    </a:lnTo>
                    <a:lnTo>
                      <a:pt x="396" y="234"/>
                    </a:lnTo>
                    <a:lnTo>
                      <a:pt x="390" y="216"/>
                    </a:lnTo>
                    <a:lnTo>
                      <a:pt x="372" y="210"/>
                    </a:lnTo>
                    <a:lnTo>
                      <a:pt x="372" y="174"/>
                    </a:lnTo>
                    <a:lnTo>
                      <a:pt x="384" y="150"/>
                    </a:lnTo>
                    <a:lnTo>
                      <a:pt x="396" y="150"/>
                    </a:lnTo>
                    <a:lnTo>
                      <a:pt x="402" y="144"/>
                    </a:lnTo>
                    <a:lnTo>
                      <a:pt x="408" y="132"/>
                    </a:lnTo>
                    <a:lnTo>
                      <a:pt x="414" y="126"/>
                    </a:lnTo>
                    <a:lnTo>
                      <a:pt x="414" y="114"/>
                    </a:lnTo>
                    <a:lnTo>
                      <a:pt x="402" y="108"/>
                    </a:lnTo>
                    <a:lnTo>
                      <a:pt x="402" y="90"/>
                    </a:lnTo>
                    <a:lnTo>
                      <a:pt x="396" y="84"/>
                    </a:lnTo>
                    <a:lnTo>
                      <a:pt x="396" y="78"/>
                    </a:lnTo>
                    <a:lnTo>
                      <a:pt x="384" y="78"/>
                    </a:lnTo>
                    <a:lnTo>
                      <a:pt x="378" y="72"/>
                    </a:lnTo>
                    <a:lnTo>
                      <a:pt x="360" y="72"/>
                    </a:lnTo>
                    <a:lnTo>
                      <a:pt x="360" y="90"/>
                    </a:lnTo>
                    <a:lnTo>
                      <a:pt x="354" y="96"/>
                    </a:lnTo>
                    <a:lnTo>
                      <a:pt x="330" y="96"/>
                    </a:lnTo>
                    <a:lnTo>
                      <a:pt x="324" y="90"/>
                    </a:lnTo>
                    <a:lnTo>
                      <a:pt x="318" y="54"/>
                    </a:lnTo>
                    <a:lnTo>
                      <a:pt x="336" y="24"/>
                    </a:lnTo>
                    <a:lnTo>
                      <a:pt x="336" y="6"/>
                    </a:lnTo>
                    <a:lnTo>
                      <a:pt x="288" y="12"/>
                    </a:lnTo>
                    <a:lnTo>
                      <a:pt x="282" y="12"/>
                    </a:lnTo>
                    <a:lnTo>
                      <a:pt x="270" y="6"/>
                    </a:lnTo>
                    <a:lnTo>
                      <a:pt x="264" y="6"/>
                    </a:lnTo>
                    <a:lnTo>
                      <a:pt x="252" y="18"/>
                    </a:lnTo>
                    <a:lnTo>
                      <a:pt x="222" y="18"/>
                    </a:lnTo>
                    <a:lnTo>
                      <a:pt x="210" y="0"/>
                    </a:lnTo>
                    <a:lnTo>
                      <a:pt x="192" y="18"/>
                    </a:lnTo>
                    <a:lnTo>
                      <a:pt x="186" y="54"/>
                    </a:lnTo>
                    <a:lnTo>
                      <a:pt x="192" y="60"/>
                    </a:lnTo>
                    <a:lnTo>
                      <a:pt x="192" y="90"/>
                    </a:lnTo>
                    <a:lnTo>
                      <a:pt x="186" y="108"/>
                    </a:lnTo>
                    <a:lnTo>
                      <a:pt x="186" y="114"/>
                    </a:lnTo>
                    <a:lnTo>
                      <a:pt x="84" y="114"/>
                    </a:lnTo>
                    <a:lnTo>
                      <a:pt x="84" y="108"/>
                    </a:lnTo>
                    <a:lnTo>
                      <a:pt x="72" y="108"/>
                    </a:lnTo>
                    <a:lnTo>
                      <a:pt x="60" y="120"/>
                    </a:lnTo>
                    <a:lnTo>
                      <a:pt x="60" y="126"/>
                    </a:lnTo>
                    <a:lnTo>
                      <a:pt x="66" y="132"/>
                    </a:lnTo>
                    <a:lnTo>
                      <a:pt x="66" y="144"/>
                    </a:lnTo>
                    <a:lnTo>
                      <a:pt x="72" y="150"/>
                    </a:lnTo>
                    <a:lnTo>
                      <a:pt x="72" y="162"/>
                    </a:lnTo>
                    <a:lnTo>
                      <a:pt x="48" y="162"/>
                    </a:lnTo>
                    <a:lnTo>
                      <a:pt x="48" y="210"/>
                    </a:lnTo>
                    <a:lnTo>
                      <a:pt x="42" y="228"/>
                    </a:lnTo>
                    <a:lnTo>
                      <a:pt x="36" y="240"/>
                    </a:lnTo>
                    <a:lnTo>
                      <a:pt x="30" y="246"/>
                    </a:lnTo>
                    <a:lnTo>
                      <a:pt x="18" y="252"/>
                    </a:lnTo>
                    <a:lnTo>
                      <a:pt x="0" y="252"/>
                    </a:lnTo>
                    <a:lnTo>
                      <a:pt x="30" y="306"/>
                    </a:lnTo>
                    <a:lnTo>
                      <a:pt x="42" y="294"/>
                    </a:lnTo>
                    <a:lnTo>
                      <a:pt x="54" y="312"/>
                    </a:lnTo>
                    <a:lnTo>
                      <a:pt x="48" y="318"/>
                    </a:lnTo>
                    <a:lnTo>
                      <a:pt x="48" y="330"/>
                    </a:lnTo>
                    <a:lnTo>
                      <a:pt x="42" y="336"/>
                    </a:lnTo>
                    <a:lnTo>
                      <a:pt x="42" y="342"/>
                    </a:lnTo>
                    <a:lnTo>
                      <a:pt x="48" y="348"/>
                    </a:lnTo>
                    <a:lnTo>
                      <a:pt x="66" y="348"/>
                    </a:lnTo>
                    <a:lnTo>
                      <a:pt x="72" y="390"/>
                    </a:lnTo>
                    <a:lnTo>
                      <a:pt x="102" y="396"/>
                    </a:lnTo>
                    <a:lnTo>
                      <a:pt x="96" y="408"/>
                    </a:lnTo>
                    <a:lnTo>
                      <a:pt x="144" y="462"/>
                    </a:lnTo>
                    <a:lnTo>
                      <a:pt x="138" y="468"/>
                    </a:lnTo>
                    <a:lnTo>
                      <a:pt x="174" y="510"/>
                    </a:lnTo>
                    <a:lnTo>
                      <a:pt x="180" y="492"/>
                    </a:lnTo>
                    <a:lnTo>
                      <a:pt x="204" y="480"/>
                    </a:lnTo>
                    <a:lnTo>
                      <a:pt x="222" y="498"/>
                    </a:lnTo>
                    <a:lnTo>
                      <a:pt x="228" y="492"/>
                    </a:lnTo>
                    <a:lnTo>
                      <a:pt x="228" y="456"/>
                    </a:lnTo>
                    <a:lnTo>
                      <a:pt x="210" y="444"/>
                    </a:lnTo>
                    <a:lnTo>
                      <a:pt x="228" y="432"/>
                    </a:lnTo>
                    <a:lnTo>
                      <a:pt x="198" y="414"/>
                    </a:lnTo>
                    <a:lnTo>
                      <a:pt x="210" y="414"/>
                    </a:lnTo>
                    <a:lnTo>
                      <a:pt x="210" y="402"/>
                    </a:lnTo>
                    <a:lnTo>
                      <a:pt x="204" y="396"/>
                    </a:lnTo>
                    <a:lnTo>
                      <a:pt x="204" y="378"/>
                    </a:lnTo>
                    <a:lnTo>
                      <a:pt x="210" y="378"/>
                    </a:lnTo>
                    <a:lnTo>
                      <a:pt x="216" y="384"/>
                    </a:lnTo>
                    <a:lnTo>
                      <a:pt x="228" y="384"/>
                    </a:lnTo>
                    <a:lnTo>
                      <a:pt x="240" y="390"/>
                    </a:lnTo>
                    <a:lnTo>
                      <a:pt x="258" y="390"/>
                    </a:lnTo>
                    <a:lnTo>
                      <a:pt x="264" y="384"/>
                    </a:lnTo>
                    <a:lnTo>
                      <a:pt x="270" y="372"/>
                    </a:lnTo>
                    <a:lnTo>
                      <a:pt x="282" y="366"/>
                    </a:lnTo>
                    <a:lnTo>
                      <a:pt x="264" y="348"/>
                    </a:lnTo>
                    <a:lnTo>
                      <a:pt x="264" y="342"/>
                    </a:lnTo>
                    <a:lnTo>
                      <a:pt x="294" y="342"/>
                    </a:lnTo>
                    <a:lnTo>
                      <a:pt x="312" y="384"/>
                    </a:lnTo>
                    <a:lnTo>
                      <a:pt x="342" y="384"/>
                    </a:lnTo>
                    <a:lnTo>
                      <a:pt x="348" y="378"/>
                    </a:lnTo>
                    <a:lnTo>
                      <a:pt x="354" y="366"/>
                    </a:lnTo>
                    <a:lnTo>
                      <a:pt x="360" y="360"/>
                    </a:lnTo>
                    <a:lnTo>
                      <a:pt x="366" y="360"/>
                    </a:lnTo>
                    <a:lnTo>
                      <a:pt x="366" y="390"/>
                    </a:lnTo>
                    <a:lnTo>
                      <a:pt x="372" y="396"/>
                    </a:lnTo>
                    <a:lnTo>
                      <a:pt x="384" y="396"/>
                    </a:lnTo>
                    <a:lnTo>
                      <a:pt x="390" y="390"/>
                    </a:lnTo>
                    <a:lnTo>
                      <a:pt x="396" y="378"/>
                    </a:lnTo>
                    <a:lnTo>
                      <a:pt x="396" y="354"/>
                    </a:lnTo>
                    <a:lnTo>
                      <a:pt x="408" y="348"/>
                    </a:lnTo>
                    <a:lnTo>
                      <a:pt x="414" y="342"/>
                    </a:lnTo>
                    <a:lnTo>
                      <a:pt x="408" y="318"/>
                    </a:lnTo>
                    <a:lnTo>
                      <a:pt x="414" y="306"/>
                    </a:lnTo>
                    <a:lnTo>
                      <a:pt x="414" y="258"/>
                    </a:lnTo>
                    <a:lnTo>
                      <a:pt x="420" y="252"/>
                    </a:lnTo>
                    <a:lnTo>
                      <a:pt x="420" y="240"/>
                    </a:lnTo>
                    <a:close/>
                  </a:path>
                </a:pathLst>
              </a:custGeom>
              <a:solidFill>
                <a:srgbClr val="9D90A0">
                  <a:lumMod val="40000"/>
                  <a:lumOff val="60000"/>
                </a:srgbClr>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150" name="Ethiopia" descr="© INSCALE GmbH, 05.05.2010&#10;http://www.presentationload.com/">
                <a:extLst>
                  <a:ext uri="{FF2B5EF4-FFF2-40B4-BE49-F238E27FC236}">
                    <a16:creationId xmlns:a16="http://schemas.microsoft.com/office/drawing/2014/main" id="{F6F2A22C-0B00-4C32-972A-E7507A34F1BD}"/>
                  </a:ext>
                </a:extLst>
              </p:cNvPr>
              <p:cNvSpPr>
                <a:spLocks/>
              </p:cNvSpPr>
              <p:nvPr/>
            </p:nvSpPr>
            <p:spPr bwMode="gray">
              <a:xfrm>
                <a:off x="5142850" y="4025561"/>
                <a:ext cx="418056" cy="405452"/>
              </a:xfrm>
              <a:custGeom>
                <a:avLst/>
                <a:gdLst>
                  <a:gd name="T0" fmla="*/ 2147483647 w 1056"/>
                  <a:gd name="T1" fmla="*/ 2147483647 h 924"/>
                  <a:gd name="T2" fmla="*/ 2147483647 w 1056"/>
                  <a:gd name="T3" fmla="*/ 2147483647 h 924"/>
                  <a:gd name="T4" fmla="*/ 2147483647 w 1056"/>
                  <a:gd name="T5" fmla="*/ 2147483647 h 924"/>
                  <a:gd name="T6" fmla="*/ 2147483647 w 1056"/>
                  <a:gd name="T7" fmla="*/ 2147483647 h 924"/>
                  <a:gd name="T8" fmla="*/ 2147483647 w 1056"/>
                  <a:gd name="T9" fmla="*/ 2147483647 h 924"/>
                  <a:gd name="T10" fmla="*/ 2147483647 w 1056"/>
                  <a:gd name="T11" fmla="*/ 2147483647 h 924"/>
                  <a:gd name="T12" fmla="*/ 2147483647 w 1056"/>
                  <a:gd name="T13" fmla="*/ 2147483647 h 924"/>
                  <a:gd name="T14" fmla="*/ 2147483647 w 1056"/>
                  <a:gd name="T15" fmla="*/ 2147483647 h 924"/>
                  <a:gd name="T16" fmla="*/ 2147483647 w 1056"/>
                  <a:gd name="T17" fmla="*/ 2147483647 h 924"/>
                  <a:gd name="T18" fmla="*/ 2147483647 w 1056"/>
                  <a:gd name="T19" fmla="*/ 2147483647 h 924"/>
                  <a:gd name="T20" fmla="*/ 2147483647 w 1056"/>
                  <a:gd name="T21" fmla="*/ 2147483647 h 924"/>
                  <a:gd name="T22" fmla="*/ 2147483647 w 1056"/>
                  <a:gd name="T23" fmla="*/ 2147483647 h 924"/>
                  <a:gd name="T24" fmla="*/ 2147483647 w 1056"/>
                  <a:gd name="T25" fmla="*/ 2147483647 h 924"/>
                  <a:gd name="T26" fmla="*/ 2147483647 w 1056"/>
                  <a:gd name="T27" fmla="*/ 2147483647 h 924"/>
                  <a:gd name="T28" fmla="*/ 2147483647 w 1056"/>
                  <a:gd name="T29" fmla="*/ 2147483647 h 924"/>
                  <a:gd name="T30" fmla="*/ 2147483647 w 1056"/>
                  <a:gd name="T31" fmla="*/ 2147483647 h 924"/>
                  <a:gd name="T32" fmla="*/ 2147483647 w 1056"/>
                  <a:gd name="T33" fmla="*/ 2147483647 h 924"/>
                  <a:gd name="T34" fmla="*/ 2147483647 w 1056"/>
                  <a:gd name="T35" fmla="*/ 2147483647 h 924"/>
                  <a:gd name="T36" fmla="*/ 2147483647 w 1056"/>
                  <a:gd name="T37" fmla="*/ 2147483647 h 924"/>
                  <a:gd name="T38" fmla="*/ 2147483647 w 1056"/>
                  <a:gd name="T39" fmla="*/ 2147483647 h 924"/>
                  <a:gd name="T40" fmla="*/ 2147483647 w 1056"/>
                  <a:gd name="T41" fmla="*/ 2147483647 h 924"/>
                  <a:gd name="T42" fmla="*/ 2147483647 w 1056"/>
                  <a:gd name="T43" fmla="*/ 2147483647 h 924"/>
                  <a:gd name="T44" fmla="*/ 2147483647 w 1056"/>
                  <a:gd name="T45" fmla="*/ 2147483647 h 924"/>
                  <a:gd name="T46" fmla="*/ 2147483647 w 1056"/>
                  <a:gd name="T47" fmla="*/ 2147483647 h 924"/>
                  <a:gd name="T48" fmla="*/ 2147483647 w 1056"/>
                  <a:gd name="T49" fmla="*/ 2147483647 h 924"/>
                  <a:gd name="T50" fmla="*/ 2147483647 w 1056"/>
                  <a:gd name="T51" fmla="*/ 2147483647 h 924"/>
                  <a:gd name="T52" fmla="*/ 2147483647 w 1056"/>
                  <a:gd name="T53" fmla="*/ 2147483647 h 924"/>
                  <a:gd name="T54" fmla="*/ 2147483647 w 1056"/>
                  <a:gd name="T55" fmla="*/ 2147483647 h 924"/>
                  <a:gd name="T56" fmla="*/ 2147483647 w 1056"/>
                  <a:gd name="T57" fmla="*/ 2147483647 h 924"/>
                  <a:gd name="T58" fmla="*/ 2147483647 w 1056"/>
                  <a:gd name="T59" fmla="*/ 2147483647 h 924"/>
                  <a:gd name="T60" fmla="*/ 2147483647 w 1056"/>
                  <a:gd name="T61" fmla="*/ 2147483647 h 924"/>
                  <a:gd name="T62" fmla="*/ 2147483647 w 1056"/>
                  <a:gd name="T63" fmla="*/ 2147483647 h 924"/>
                  <a:gd name="T64" fmla="*/ 2147483647 w 1056"/>
                  <a:gd name="T65" fmla="*/ 2147483647 h 924"/>
                  <a:gd name="T66" fmla="*/ 2147483647 w 1056"/>
                  <a:gd name="T67" fmla="*/ 2147483647 h 924"/>
                  <a:gd name="T68" fmla="*/ 2147483647 w 1056"/>
                  <a:gd name="T69" fmla="*/ 2147483647 h 924"/>
                  <a:gd name="T70" fmla="*/ 2147483647 w 1056"/>
                  <a:gd name="T71" fmla="*/ 2147483647 h 924"/>
                  <a:gd name="T72" fmla="*/ 2147483647 w 1056"/>
                  <a:gd name="T73" fmla="*/ 0 h 924"/>
                  <a:gd name="T74" fmla="*/ 2147483647 w 1056"/>
                  <a:gd name="T75" fmla="*/ 2147483647 h 924"/>
                  <a:gd name="T76" fmla="*/ 2147483647 w 1056"/>
                  <a:gd name="T77" fmla="*/ 2147483647 h 924"/>
                  <a:gd name="T78" fmla="*/ 2147483647 w 1056"/>
                  <a:gd name="T79" fmla="*/ 2147483647 h 924"/>
                  <a:gd name="T80" fmla="*/ 2147483647 w 1056"/>
                  <a:gd name="T81" fmla="*/ 2147483647 h 924"/>
                  <a:gd name="T82" fmla="*/ 2147483647 w 1056"/>
                  <a:gd name="T83" fmla="*/ 2147483647 h 924"/>
                  <a:gd name="T84" fmla="*/ 2147483647 w 1056"/>
                  <a:gd name="T85" fmla="*/ 2147483647 h 924"/>
                  <a:gd name="T86" fmla="*/ 2147483647 w 1056"/>
                  <a:gd name="T87" fmla="*/ 2147483647 h 924"/>
                  <a:gd name="T88" fmla="*/ 2147483647 w 1056"/>
                  <a:gd name="T89" fmla="*/ 2147483647 h 924"/>
                  <a:gd name="T90" fmla="*/ 2147483647 w 1056"/>
                  <a:gd name="T91" fmla="*/ 2147483647 h 924"/>
                  <a:gd name="T92" fmla="*/ 2147483647 w 1056"/>
                  <a:gd name="T93" fmla="*/ 2147483647 h 924"/>
                  <a:gd name="T94" fmla="*/ 2147483647 w 1056"/>
                  <a:gd name="T95" fmla="*/ 2147483647 h 924"/>
                  <a:gd name="T96" fmla="*/ 2147483647 w 1056"/>
                  <a:gd name="T97" fmla="*/ 2147483647 h 924"/>
                  <a:gd name="T98" fmla="*/ 2147483647 w 1056"/>
                  <a:gd name="T99" fmla="*/ 2147483647 h 924"/>
                  <a:gd name="T100" fmla="*/ 2147483647 w 1056"/>
                  <a:gd name="T101" fmla="*/ 2147483647 h 924"/>
                  <a:gd name="T102" fmla="*/ 2147483647 w 1056"/>
                  <a:gd name="T103" fmla="*/ 2147483647 h 924"/>
                  <a:gd name="T104" fmla="*/ 2147483647 w 1056"/>
                  <a:gd name="T105" fmla="*/ 2147483647 h 924"/>
                  <a:gd name="T106" fmla="*/ 2147483647 w 1056"/>
                  <a:gd name="T107" fmla="*/ 2147483647 h 924"/>
                  <a:gd name="T108" fmla="*/ 2147483647 w 1056"/>
                  <a:gd name="T109" fmla="*/ 2147483647 h 924"/>
                  <a:gd name="T110" fmla="*/ 2147483647 w 1056"/>
                  <a:gd name="T111" fmla="*/ 2147483647 h 924"/>
                  <a:gd name="T112" fmla="*/ 2147483647 w 1056"/>
                  <a:gd name="T113" fmla="*/ 2147483647 h 924"/>
                  <a:gd name="T114" fmla="*/ 2147483647 w 1056"/>
                  <a:gd name="T115" fmla="*/ 2147483647 h 924"/>
                  <a:gd name="T116" fmla="*/ 2147483647 w 1056"/>
                  <a:gd name="T117" fmla="*/ 2147483647 h 92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056"/>
                  <a:gd name="T178" fmla="*/ 0 h 924"/>
                  <a:gd name="T179" fmla="*/ 1056 w 1056"/>
                  <a:gd name="T180" fmla="*/ 924 h 92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056" h="924">
                    <a:moveTo>
                      <a:pt x="84" y="642"/>
                    </a:moveTo>
                    <a:lnTo>
                      <a:pt x="108" y="642"/>
                    </a:lnTo>
                    <a:lnTo>
                      <a:pt x="114" y="666"/>
                    </a:lnTo>
                    <a:lnTo>
                      <a:pt x="126" y="666"/>
                    </a:lnTo>
                    <a:lnTo>
                      <a:pt x="126" y="702"/>
                    </a:lnTo>
                    <a:lnTo>
                      <a:pt x="138" y="708"/>
                    </a:lnTo>
                    <a:lnTo>
                      <a:pt x="138" y="726"/>
                    </a:lnTo>
                    <a:lnTo>
                      <a:pt x="156" y="762"/>
                    </a:lnTo>
                    <a:lnTo>
                      <a:pt x="168" y="768"/>
                    </a:lnTo>
                    <a:lnTo>
                      <a:pt x="186" y="768"/>
                    </a:lnTo>
                    <a:lnTo>
                      <a:pt x="192" y="774"/>
                    </a:lnTo>
                    <a:lnTo>
                      <a:pt x="198" y="786"/>
                    </a:lnTo>
                    <a:lnTo>
                      <a:pt x="198" y="804"/>
                    </a:lnTo>
                    <a:lnTo>
                      <a:pt x="210" y="840"/>
                    </a:lnTo>
                    <a:lnTo>
                      <a:pt x="282" y="846"/>
                    </a:lnTo>
                    <a:lnTo>
                      <a:pt x="360" y="906"/>
                    </a:lnTo>
                    <a:lnTo>
                      <a:pt x="390" y="906"/>
                    </a:lnTo>
                    <a:lnTo>
                      <a:pt x="402" y="912"/>
                    </a:lnTo>
                    <a:lnTo>
                      <a:pt x="432" y="912"/>
                    </a:lnTo>
                    <a:lnTo>
                      <a:pt x="444" y="918"/>
                    </a:lnTo>
                    <a:lnTo>
                      <a:pt x="450" y="918"/>
                    </a:lnTo>
                    <a:lnTo>
                      <a:pt x="462" y="924"/>
                    </a:lnTo>
                    <a:lnTo>
                      <a:pt x="486" y="906"/>
                    </a:lnTo>
                    <a:lnTo>
                      <a:pt x="486" y="894"/>
                    </a:lnTo>
                    <a:lnTo>
                      <a:pt x="498" y="882"/>
                    </a:lnTo>
                    <a:lnTo>
                      <a:pt x="510" y="882"/>
                    </a:lnTo>
                    <a:lnTo>
                      <a:pt x="522" y="876"/>
                    </a:lnTo>
                    <a:lnTo>
                      <a:pt x="528" y="870"/>
                    </a:lnTo>
                    <a:lnTo>
                      <a:pt x="534" y="870"/>
                    </a:lnTo>
                    <a:lnTo>
                      <a:pt x="552" y="852"/>
                    </a:lnTo>
                    <a:lnTo>
                      <a:pt x="576" y="882"/>
                    </a:lnTo>
                    <a:lnTo>
                      <a:pt x="606" y="882"/>
                    </a:lnTo>
                    <a:lnTo>
                      <a:pt x="612" y="876"/>
                    </a:lnTo>
                    <a:lnTo>
                      <a:pt x="636" y="882"/>
                    </a:lnTo>
                    <a:lnTo>
                      <a:pt x="636" y="876"/>
                    </a:lnTo>
                    <a:lnTo>
                      <a:pt x="648" y="864"/>
                    </a:lnTo>
                    <a:lnTo>
                      <a:pt x="660" y="864"/>
                    </a:lnTo>
                    <a:lnTo>
                      <a:pt x="672" y="858"/>
                    </a:lnTo>
                    <a:lnTo>
                      <a:pt x="696" y="858"/>
                    </a:lnTo>
                    <a:lnTo>
                      <a:pt x="714" y="840"/>
                    </a:lnTo>
                    <a:lnTo>
                      <a:pt x="714" y="828"/>
                    </a:lnTo>
                    <a:lnTo>
                      <a:pt x="726" y="822"/>
                    </a:lnTo>
                    <a:lnTo>
                      <a:pt x="732" y="816"/>
                    </a:lnTo>
                    <a:lnTo>
                      <a:pt x="744" y="810"/>
                    </a:lnTo>
                    <a:lnTo>
                      <a:pt x="756" y="810"/>
                    </a:lnTo>
                    <a:lnTo>
                      <a:pt x="762" y="804"/>
                    </a:lnTo>
                    <a:lnTo>
                      <a:pt x="846" y="804"/>
                    </a:lnTo>
                    <a:lnTo>
                      <a:pt x="1056" y="558"/>
                    </a:lnTo>
                    <a:lnTo>
                      <a:pt x="984" y="564"/>
                    </a:lnTo>
                    <a:lnTo>
                      <a:pt x="948" y="546"/>
                    </a:lnTo>
                    <a:lnTo>
                      <a:pt x="936" y="534"/>
                    </a:lnTo>
                    <a:lnTo>
                      <a:pt x="918" y="528"/>
                    </a:lnTo>
                    <a:lnTo>
                      <a:pt x="906" y="522"/>
                    </a:lnTo>
                    <a:lnTo>
                      <a:pt x="882" y="516"/>
                    </a:lnTo>
                    <a:lnTo>
                      <a:pt x="810" y="492"/>
                    </a:lnTo>
                    <a:lnTo>
                      <a:pt x="774" y="474"/>
                    </a:lnTo>
                    <a:lnTo>
                      <a:pt x="768" y="462"/>
                    </a:lnTo>
                    <a:lnTo>
                      <a:pt x="762" y="456"/>
                    </a:lnTo>
                    <a:lnTo>
                      <a:pt x="756" y="444"/>
                    </a:lnTo>
                    <a:lnTo>
                      <a:pt x="732" y="444"/>
                    </a:lnTo>
                    <a:lnTo>
                      <a:pt x="732" y="438"/>
                    </a:lnTo>
                    <a:lnTo>
                      <a:pt x="726" y="432"/>
                    </a:lnTo>
                    <a:lnTo>
                      <a:pt x="714" y="408"/>
                    </a:lnTo>
                    <a:lnTo>
                      <a:pt x="708" y="402"/>
                    </a:lnTo>
                    <a:lnTo>
                      <a:pt x="702" y="390"/>
                    </a:lnTo>
                    <a:lnTo>
                      <a:pt x="696" y="384"/>
                    </a:lnTo>
                    <a:lnTo>
                      <a:pt x="690" y="372"/>
                    </a:lnTo>
                    <a:lnTo>
                      <a:pt x="690" y="360"/>
                    </a:lnTo>
                    <a:lnTo>
                      <a:pt x="678" y="348"/>
                    </a:lnTo>
                    <a:lnTo>
                      <a:pt x="696" y="318"/>
                    </a:lnTo>
                    <a:lnTo>
                      <a:pt x="690" y="312"/>
                    </a:lnTo>
                    <a:lnTo>
                      <a:pt x="678" y="306"/>
                    </a:lnTo>
                    <a:lnTo>
                      <a:pt x="666" y="306"/>
                    </a:lnTo>
                    <a:lnTo>
                      <a:pt x="660" y="312"/>
                    </a:lnTo>
                    <a:lnTo>
                      <a:pt x="654" y="312"/>
                    </a:lnTo>
                    <a:lnTo>
                      <a:pt x="648" y="318"/>
                    </a:lnTo>
                    <a:lnTo>
                      <a:pt x="624" y="318"/>
                    </a:lnTo>
                    <a:lnTo>
                      <a:pt x="612" y="306"/>
                    </a:lnTo>
                    <a:lnTo>
                      <a:pt x="612" y="294"/>
                    </a:lnTo>
                    <a:lnTo>
                      <a:pt x="606" y="276"/>
                    </a:lnTo>
                    <a:lnTo>
                      <a:pt x="606" y="264"/>
                    </a:lnTo>
                    <a:lnTo>
                      <a:pt x="624" y="246"/>
                    </a:lnTo>
                    <a:lnTo>
                      <a:pt x="654" y="192"/>
                    </a:lnTo>
                    <a:lnTo>
                      <a:pt x="642" y="174"/>
                    </a:lnTo>
                    <a:lnTo>
                      <a:pt x="630" y="174"/>
                    </a:lnTo>
                    <a:lnTo>
                      <a:pt x="618" y="168"/>
                    </a:lnTo>
                    <a:lnTo>
                      <a:pt x="612" y="162"/>
                    </a:lnTo>
                    <a:lnTo>
                      <a:pt x="612" y="138"/>
                    </a:lnTo>
                    <a:lnTo>
                      <a:pt x="600" y="126"/>
                    </a:lnTo>
                    <a:lnTo>
                      <a:pt x="576" y="114"/>
                    </a:lnTo>
                    <a:lnTo>
                      <a:pt x="570" y="108"/>
                    </a:lnTo>
                    <a:lnTo>
                      <a:pt x="546" y="72"/>
                    </a:lnTo>
                    <a:lnTo>
                      <a:pt x="534" y="66"/>
                    </a:lnTo>
                    <a:lnTo>
                      <a:pt x="528" y="60"/>
                    </a:lnTo>
                    <a:lnTo>
                      <a:pt x="516" y="60"/>
                    </a:lnTo>
                    <a:lnTo>
                      <a:pt x="498" y="36"/>
                    </a:lnTo>
                    <a:lnTo>
                      <a:pt x="468" y="36"/>
                    </a:lnTo>
                    <a:lnTo>
                      <a:pt x="462" y="30"/>
                    </a:lnTo>
                    <a:lnTo>
                      <a:pt x="444" y="30"/>
                    </a:lnTo>
                    <a:lnTo>
                      <a:pt x="432" y="36"/>
                    </a:lnTo>
                    <a:lnTo>
                      <a:pt x="420" y="36"/>
                    </a:lnTo>
                    <a:lnTo>
                      <a:pt x="420" y="24"/>
                    </a:lnTo>
                    <a:lnTo>
                      <a:pt x="414" y="18"/>
                    </a:lnTo>
                    <a:lnTo>
                      <a:pt x="408" y="24"/>
                    </a:lnTo>
                    <a:lnTo>
                      <a:pt x="402" y="36"/>
                    </a:lnTo>
                    <a:lnTo>
                      <a:pt x="372" y="36"/>
                    </a:lnTo>
                    <a:lnTo>
                      <a:pt x="366" y="24"/>
                    </a:lnTo>
                    <a:lnTo>
                      <a:pt x="360" y="18"/>
                    </a:lnTo>
                    <a:lnTo>
                      <a:pt x="354" y="18"/>
                    </a:lnTo>
                    <a:lnTo>
                      <a:pt x="342" y="6"/>
                    </a:lnTo>
                    <a:lnTo>
                      <a:pt x="330" y="0"/>
                    </a:lnTo>
                    <a:lnTo>
                      <a:pt x="330" y="12"/>
                    </a:lnTo>
                    <a:lnTo>
                      <a:pt x="324" y="24"/>
                    </a:lnTo>
                    <a:lnTo>
                      <a:pt x="318" y="42"/>
                    </a:lnTo>
                    <a:lnTo>
                      <a:pt x="318" y="54"/>
                    </a:lnTo>
                    <a:lnTo>
                      <a:pt x="306" y="66"/>
                    </a:lnTo>
                    <a:lnTo>
                      <a:pt x="288" y="48"/>
                    </a:lnTo>
                    <a:lnTo>
                      <a:pt x="288" y="42"/>
                    </a:lnTo>
                    <a:lnTo>
                      <a:pt x="282" y="36"/>
                    </a:lnTo>
                    <a:lnTo>
                      <a:pt x="276" y="36"/>
                    </a:lnTo>
                    <a:lnTo>
                      <a:pt x="276" y="42"/>
                    </a:lnTo>
                    <a:lnTo>
                      <a:pt x="270" y="48"/>
                    </a:lnTo>
                    <a:lnTo>
                      <a:pt x="234" y="48"/>
                    </a:lnTo>
                    <a:lnTo>
                      <a:pt x="234" y="90"/>
                    </a:lnTo>
                    <a:lnTo>
                      <a:pt x="228" y="96"/>
                    </a:lnTo>
                    <a:lnTo>
                      <a:pt x="222" y="108"/>
                    </a:lnTo>
                    <a:lnTo>
                      <a:pt x="216" y="114"/>
                    </a:lnTo>
                    <a:lnTo>
                      <a:pt x="210" y="126"/>
                    </a:lnTo>
                    <a:lnTo>
                      <a:pt x="210" y="174"/>
                    </a:lnTo>
                    <a:lnTo>
                      <a:pt x="180" y="174"/>
                    </a:lnTo>
                    <a:lnTo>
                      <a:pt x="174" y="180"/>
                    </a:lnTo>
                    <a:lnTo>
                      <a:pt x="168" y="192"/>
                    </a:lnTo>
                    <a:lnTo>
                      <a:pt x="162" y="198"/>
                    </a:lnTo>
                    <a:lnTo>
                      <a:pt x="162" y="234"/>
                    </a:lnTo>
                    <a:lnTo>
                      <a:pt x="156" y="240"/>
                    </a:lnTo>
                    <a:lnTo>
                      <a:pt x="144" y="240"/>
                    </a:lnTo>
                    <a:lnTo>
                      <a:pt x="138" y="246"/>
                    </a:lnTo>
                    <a:lnTo>
                      <a:pt x="138" y="270"/>
                    </a:lnTo>
                    <a:lnTo>
                      <a:pt x="126" y="288"/>
                    </a:lnTo>
                    <a:lnTo>
                      <a:pt x="126" y="294"/>
                    </a:lnTo>
                    <a:lnTo>
                      <a:pt x="132" y="300"/>
                    </a:lnTo>
                    <a:lnTo>
                      <a:pt x="132" y="336"/>
                    </a:lnTo>
                    <a:lnTo>
                      <a:pt x="126" y="342"/>
                    </a:lnTo>
                    <a:lnTo>
                      <a:pt x="114" y="342"/>
                    </a:lnTo>
                    <a:lnTo>
                      <a:pt x="108" y="336"/>
                    </a:lnTo>
                    <a:lnTo>
                      <a:pt x="108" y="324"/>
                    </a:lnTo>
                    <a:lnTo>
                      <a:pt x="102" y="324"/>
                    </a:lnTo>
                    <a:lnTo>
                      <a:pt x="84" y="342"/>
                    </a:lnTo>
                    <a:lnTo>
                      <a:pt x="84" y="360"/>
                    </a:lnTo>
                    <a:lnTo>
                      <a:pt x="90" y="372"/>
                    </a:lnTo>
                    <a:lnTo>
                      <a:pt x="90" y="390"/>
                    </a:lnTo>
                    <a:lnTo>
                      <a:pt x="84" y="396"/>
                    </a:lnTo>
                    <a:lnTo>
                      <a:pt x="72" y="402"/>
                    </a:lnTo>
                    <a:lnTo>
                      <a:pt x="66" y="414"/>
                    </a:lnTo>
                    <a:lnTo>
                      <a:pt x="66" y="426"/>
                    </a:lnTo>
                    <a:lnTo>
                      <a:pt x="72" y="438"/>
                    </a:lnTo>
                    <a:lnTo>
                      <a:pt x="72" y="450"/>
                    </a:lnTo>
                    <a:lnTo>
                      <a:pt x="78" y="456"/>
                    </a:lnTo>
                    <a:lnTo>
                      <a:pt x="78" y="492"/>
                    </a:lnTo>
                    <a:lnTo>
                      <a:pt x="72" y="504"/>
                    </a:lnTo>
                    <a:lnTo>
                      <a:pt x="72" y="516"/>
                    </a:lnTo>
                    <a:lnTo>
                      <a:pt x="66" y="522"/>
                    </a:lnTo>
                    <a:lnTo>
                      <a:pt x="54" y="522"/>
                    </a:lnTo>
                    <a:lnTo>
                      <a:pt x="48" y="528"/>
                    </a:lnTo>
                    <a:lnTo>
                      <a:pt x="42" y="522"/>
                    </a:lnTo>
                    <a:lnTo>
                      <a:pt x="6" y="522"/>
                    </a:lnTo>
                    <a:lnTo>
                      <a:pt x="12" y="546"/>
                    </a:lnTo>
                    <a:lnTo>
                      <a:pt x="6" y="552"/>
                    </a:lnTo>
                    <a:lnTo>
                      <a:pt x="0" y="564"/>
                    </a:lnTo>
                    <a:lnTo>
                      <a:pt x="0" y="576"/>
                    </a:lnTo>
                    <a:lnTo>
                      <a:pt x="6" y="576"/>
                    </a:lnTo>
                    <a:lnTo>
                      <a:pt x="18" y="582"/>
                    </a:lnTo>
                    <a:lnTo>
                      <a:pt x="42" y="582"/>
                    </a:lnTo>
                    <a:lnTo>
                      <a:pt x="48" y="588"/>
                    </a:lnTo>
                    <a:lnTo>
                      <a:pt x="60" y="594"/>
                    </a:lnTo>
                    <a:lnTo>
                      <a:pt x="66" y="606"/>
                    </a:lnTo>
                    <a:lnTo>
                      <a:pt x="78" y="612"/>
                    </a:lnTo>
                    <a:lnTo>
                      <a:pt x="78" y="630"/>
                    </a:lnTo>
                    <a:lnTo>
                      <a:pt x="84" y="642"/>
                    </a:lnTo>
                    <a:close/>
                  </a:path>
                </a:pathLst>
              </a:custGeom>
              <a:solidFill>
                <a:srgbClr val="9D90A0">
                  <a:lumMod val="40000"/>
                  <a:lumOff val="60000"/>
                </a:srgbClr>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151" name="Eritrea" descr="© INSCALE GmbH, 05.05.2010&#10;http://www.presentationload.com/">
                <a:extLst>
                  <a:ext uri="{FF2B5EF4-FFF2-40B4-BE49-F238E27FC236}">
                    <a16:creationId xmlns:a16="http://schemas.microsoft.com/office/drawing/2014/main" id="{0FB43BC2-2972-4A79-93AD-6A6E903B8996}"/>
                  </a:ext>
                </a:extLst>
              </p:cNvPr>
              <p:cNvSpPr>
                <a:spLocks/>
              </p:cNvSpPr>
              <p:nvPr/>
            </p:nvSpPr>
            <p:spPr bwMode="gray">
              <a:xfrm>
                <a:off x="5231765" y="3914669"/>
                <a:ext cx="190309" cy="200993"/>
              </a:xfrm>
              <a:custGeom>
                <a:avLst/>
                <a:gdLst>
                  <a:gd name="T0" fmla="*/ 2147483647 w 480"/>
                  <a:gd name="T1" fmla="*/ 2147483647 h 456"/>
                  <a:gd name="T2" fmla="*/ 2147483647 w 480"/>
                  <a:gd name="T3" fmla="*/ 2147483647 h 456"/>
                  <a:gd name="T4" fmla="*/ 2147483647 w 480"/>
                  <a:gd name="T5" fmla="*/ 2147483647 h 456"/>
                  <a:gd name="T6" fmla="*/ 2147483647 w 480"/>
                  <a:gd name="T7" fmla="*/ 2147483647 h 456"/>
                  <a:gd name="T8" fmla="*/ 2147483647 w 480"/>
                  <a:gd name="T9" fmla="*/ 2147483647 h 456"/>
                  <a:gd name="T10" fmla="*/ 2147483647 w 480"/>
                  <a:gd name="T11" fmla="*/ 2147483647 h 456"/>
                  <a:gd name="T12" fmla="*/ 2147483647 w 480"/>
                  <a:gd name="T13" fmla="*/ 2147483647 h 456"/>
                  <a:gd name="T14" fmla="*/ 2147483647 w 480"/>
                  <a:gd name="T15" fmla="*/ 2147483647 h 456"/>
                  <a:gd name="T16" fmla="*/ 0 w 480"/>
                  <a:gd name="T17" fmla="*/ 2147483647 h 456"/>
                  <a:gd name="T18" fmla="*/ 2147483647 w 480"/>
                  <a:gd name="T19" fmla="*/ 2147483647 h 456"/>
                  <a:gd name="T20" fmla="*/ 2147483647 w 480"/>
                  <a:gd name="T21" fmla="*/ 2147483647 h 456"/>
                  <a:gd name="T22" fmla="*/ 2147483647 w 480"/>
                  <a:gd name="T23" fmla="*/ 2147483647 h 456"/>
                  <a:gd name="T24" fmla="*/ 2147483647 w 480"/>
                  <a:gd name="T25" fmla="*/ 2147483647 h 456"/>
                  <a:gd name="T26" fmla="*/ 2147483647 w 480"/>
                  <a:gd name="T27" fmla="*/ 2147483647 h 456"/>
                  <a:gd name="T28" fmla="*/ 2147483647 w 480"/>
                  <a:gd name="T29" fmla="*/ 2147483647 h 456"/>
                  <a:gd name="T30" fmla="*/ 2147483647 w 480"/>
                  <a:gd name="T31" fmla="*/ 2147483647 h 456"/>
                  <a:gd name="T32" fmla="*/ 2147483647 w 480"/>
                  <a:gd name="T33" fmla="*/ 2147483647 h 456"/>
                  <a:gd name="T34" fmla="*/ 2147483647 w 480"/>
                  <a:gd name="T35" fmla="*/ 2147483647 h 456"/>
                  <a:gd name="T36" fmla="*/ 2147483647 w 480"/>
                  <a:gd name="T37" fmla="*/ 2147483647 h 456"/>
                  <a:gd name="T38" fmla="*/ 2147483647 w 480"/>
                  <a:gd name="T39" fmla="*/ 2147483647 h 456"/>
                  <a:gd name="T40" fmla="*/ 2147483647 w 480"/>
                  <a:gd name="T41" fmla="*/ 2147483647 h 456"/>
                  <a:gd name="T42" fmla="*/ 2147483647 w 480"/>
                  <a:gd name="T43" fmla="*/ 2147483647 h 456"/>
                  <a:gd name="T44" fmla="*/ 2147483647 w 480"/>
                  <a:gd name="T45" fmla="*/ 2147483647 h 456"/>
                  <a:gd name="T46" fmla="*/ 2147483647 w 480"/>
                  <a:gd name="T47" fmla="*/ 2147483647 h 456"/>
                  <a:gd name="T48" fmla="*/ 2147483647 w 480"/>
                  <a:gd name="T49" fmla="*/ 2147483647 h 456"/>
                  <a:gd name="T50" fmla="*/ 2147483647 w 480"/>
                  <a:gd name="T51" fmla="*/ 2147483647 h 456"/>
                  <a:gd name="T52" fmla="*/ 2147483647 w 480"/>
                  <a:gd name="T53" fmla="*/ 2147483647 h 456"/>
                  <a:gd name="T54" fmla="*/ 2147483647 w 480"/>
                  <a:gd name="T55" fmla="*/ 2147483647 h 456"/>
                  <a:gd name="T56" fmla="*/ 2147483647 w 480"/>
                  <a:gd name="T57" fmla="*/ 2147483647 h 456"/>
                  <a:gd name="T58" fmla="*/ 2147483647 w 480"/>
                  <a:gd name="T59" fmla="*/ 2147483647 h 456"/>
                  <a:gd name="T60" fmla="*/ 2147483647 w 480"/>
                  <a:gd name="T61" fmla="*/ 2147483647 h 456"/>
                  <a:gd name="T62" fmla="*/ 2147483647 w 480"/>
                  <a:gd name="T63" fmla="*/ 2147483647 h 456"/>
                  <a:gd name="T64" fmla="*/ 2147483647 w 480"/>
                  <a:gd name="T65" fmla="*/ 2147483647 h 456"/>
                  <a:gd name="T66" fmla="*/ 2147483647 w 480"/>
                  <a:gd name="T67" fmla="*/ 2147483647 h 456"/>
                  <a:gd name="T68" fmla="*/ 2147483647 w 480"/>
                  <a:gd name="T69" fmla="*/ 2147483647 h 456"/>
                  <a:gd name="T70" fmla="*/ 2147483647 w 480"/>
                  <a:gd name="T71" fmla="*/ 2147483647 h 456"/>
                  <a:gd name="T72" fmla="*/ 2147483647 w 480"/>
                  <a:gd name="T73" fmla="*/ 2147483647 h 456"/>
                  <a:gd name="T74" fmla="*/ 2147483647 w 480"/>
                  <a:gd name="T75" fmla="*/ 2147483647 h 456"/>
                  <a:gd name="T76" fmla="*/ 2147483647 w 480"/>
                  <a:gd name="T77" fmla="*/ 2147483647 h 456"/>
                  <a:gd name="T78" fmla="*/ 2147483647 w 480"/>
                  <a:gd name="T79" fmla="*/ 2147483647 h 456"/>
                  <a:gd name="T80" fmla="*/ 2147483647 w 480"/>
                  <a:gd name="T81" fmla="*/ 2147483647 h 456"/>
                  <a:gd name="T82" fmla="*/ 2147483647 w 480"/>
                  <a:gd name="T83" fmla="*/ 2147483647 h 456"/>
                  <a:gd name="T84" fmla="*/ 2147483647 w 480"/>
                  <a:gd name="T85" fmla="*/ 2147483647 h 456"/>
                  <a:gd name="T86" fmla="*/ 2147483647 w 480"/>
                  <a:gd name="T87" fmla="*/ 2147483647 h 456"/>
                  <a:gd name="T88" fmla="*/ 2147483647 w 480"/>
                  <a:gd name="T89" fmla="*/ 2147483647 h 456"/>
                  <a:gd name="T90" fmla="*/ 2147483647 w 480"/>
                  <a:gd name="T91" fmla="*/ 2147483647 h 456"/>
                  <a:gd name="T92" fmla="*/ 2147483647 w 480"/>
                  <a:gd name="T93" fmla="*/ 2147483647 h 456"/>
                  <a:gd name="T94" fmla="*/ 2147483647 w 480"/>
                  <a:gd name="T95" fmla="*/ 2147483647 h 456"/>
                  <a:gd name="T96" fmla="*/ 2147483647 w 480"/>
                  <a:gd name="T97" fmla="*/ 0 h 456"/>
                  <a:gd name="T98" fmla="*/ 2147483647 w 480"/>
                  <a:gd name="T99" fmla="*/ 2147483647 h 456"/>
                  <a:gd name="T100" fmla="*/ 2147483647 w 480"/>
                  <a:gd name="T101" fmla="*/ 2147483647 h 456"/>
                  <a:gd name="T102" fmla="*/ 2147483647 w 480"/>
                  <a:gd name="T103" fmla="*/ 2147483647 h 45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480"/>
                  <a:gd name="T157" fmla="*/ 0 h 456"/>
                  <a:gd name="T158" fmla="*/ 480 w 480"/>
                  <a:gd name="T159" fmla="*/ 456 h 45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480" h="456">
                    <a:moveTo>
                      <a:pt x="78" y="54"/>
                    </a:moveTo>
                    <a:lnTo>
                      <a:pt x="78" y="66"/>
                    </a:lnTo>
                    <a:lnTo>
                      <a:pt x="72" y="72"/>
                    </a:lnTo>
                    <a:lnTo>
                      <a:pt x="72" y="78"/>
                    </a:lnTo>
                    <a:lnTo>
                      <a:pt x="66" y="84"/>
                    </a:lnTo>
                    <a:lnTo>
                      <a:pt x="48" y="84"/>
                    </a:lnTo>
                    <a:lnTo>
                      <a:pt x="48" y="102"/>
                    </a:lnTo>
                    <a:lnTo>
                      <a:pt x="42" y="108"/>
                    </a:lnTo>
                    <a:lnTo>
                      <a:pt x="30" y="108"/>
                    </a:lnTo>
                    <a:lnTo>
                      <a:pt x="30" y="120"/>
                    </a:lnTo>
                    <a:lnTo>
                      <a:pt x="36" y="126"/>
                    </a:lnTo>
                    <a:lnTo>
                      <a:pt x="36" y="168"/>
                    </a:lnTo>
                    <a:lnTo>
                      <a:pt x="30" y="180"/>
                    </a:lnTo>
                    <a:lnTo>
                      <a:pt x="24" y="186"/>
                    </a:lnTo>
                    <a:lnTo>
                      <a:pt x="18" y="186"/>
                    </a:lnTo>
                    <a:lnTo>
                      <a:pt x="18" y="222"/>
                    </a:lnTo>
                    <a:lnTo>
                      <a:pt x="12" y="222"/>
                    </a:lnTo>
                    <a:lnTo>
                      <a:pt x="0" y="228"/>
                    </a:lnTo>
                    <a:lnTo>
                      <a:pt x="0" y="246"/>
                    </a:lnTo>
                    <a:lnTo>
                      <a:pt x="6" y="252"/>
                    </a:lnTo>
                    <a:lnTo>
                      <a:pt x="12" y="300"/>
                    </a:lnTo>
                    <a:lnTo>
                      <a:pt x="48" y="300"/>
                    </a:lnTo>
                    <a:lnTo>
                      <a:pt x="54" y="294"/>
                    </a:lnTo>
                    <a:lnTo>
                      <a:pt x="54" y="288"/>
                    </a:lnTo>
                    <a:lnTo>
                      <a:pt x="60" y="288"/>
                    </a:lnTo>
                    <a:lnTo>
                      <a:pt x="66" y="294"/>
                    </a:lnTo>
                    <a:lnTo>
                      <a:pt x="66" y="300"/>
                    </a:lnTo>
                    <a:lnTo>
                      <a:pt x="84" y="318"/>
                    </a:lnTo>
                    <a:lnTo>
                      <a:pt x="96" y="306"/>
                    </a:lnTo>
                    <a:lnTo>
                      <a:pt x="96" y="294"/>
                    </a:lnTo>
                    <a:lnTo>
                      <a:pt x="102" y="276"/>
                    </a:lnTo>
                    <a:lnTo>
                      <a:pt x="108" y="264"/>
                    </a:lnTo>
                    <a:lnTo>
                      <a:pt x="108" y="252"/>
                    </a:lnTo>
                    <a:lnTo>
                      <a:pt x="120" y="258"/>
                    </a:lnTo>
                    <a:lnTo>
                      <a:pt x="132" y="270"/>
                    </a:lnTo>
                    <a:lnTo>
                      <a:pt x="138" y="270"/>
                    </a:lnTo>
                    <a:lnTo>
                      <a:pt x="144" y="276"/>
                    </a:lnTo>
                    <a:lnTo>
                      <a:pt x="150" y="288"/>
                    </a:lnTo>
                    <a:lnTo>
                      <a:pt x="180" y="288"/>
                    </a:lnTo>
                    <a:lnTo>
                      <a:pt x="186" y="276"/>
                    </a:lnTo>
                    <a:lnTo>
                      <a:pt x="192" y="270"/>
                    </a:lnTo>
                    <a:lnTo>
                      <a:pt x="198" y="276"/>
                    </a:lnTo>
                    <a:lnTo>
                      <a:pt x="198" y="288"/>
                    </a:lnTo>
                    <a:lnTo>
                      <a:pt x="210" y="288"/>
                    </a:lnTo>
                    <a:lnTo>
                      <a:pt x="222" y="282"/>
                    </a:lnTo>
                    <a:lnTo>
                      <a:pt x="240" y="282"/>
                    </a:lnTo>
                    <a:lnTo>
                      <a:pt x="246" y="288"/>
                    </a:lnTo>
                    <a:lnTo>
                      <a:pt x="276" y="288"/>
                    </a:lnTo>
                    <a:lnTo>
                      <a:pt x="294" y="312"/>
                    </a:lnTo>
                    <a:lnTo>
                      <a:pt x="306" y="312"/>
                    </a:lnTo>
                    <a:lnTo>
                      <a:pt x="312" y="318"/>
                    </a:lnTo>
                    <a:lnTo>
                      <a:pt x="324" y="324"/>
                    </a:lnTo>
                    <a:lnTo>
                      <a:pt x="348" y="360"/>
                    </a:lnTo>
                    <a:lnTo>
                      <a:pt x="354" y="366"/>
                    </a:lnTo>
                    <a:lnTo>
                      <a:pt x="378" y="378"/>
                    </a:lnTo>
                    <a:lnTo>
                      <a:pt x="390" y="390"/>
                    </a:lnTo>
                    <a:lnTo>
                      <a:pt x="390" y="414"/>
                    </a:lnTo>
                    <a:lnTo>
                      <a:pt x="396" y="420"/>
                    </a:lnTo>
                    <a:lnTo>
                      <a:pt x="408" y="426"/>
                    </a:lnTo>
                    <a:lnTo>
                      <a:pt x="420" y="426"/>
                    </a:lnTo>
                    <a:lnTo>
                      <a:pt x="432" y="444"/>
                    </a:lnTo>
                    <a:lnTo>
                      <a:pt x="456" y="456"/>
                    </a:lnTo>
                    <a:lnTo>
                      <a:pt x="468" y="438"/>
                    </a:lnTo>
                    <a:lnTo>
                      <a:pt x="480" y="432"/>
                    </a:lnTo>
                    <a:lnTo>
                      <a:pt x="474" y="420"/>
                    </a:lnTo>
                    <a:lnTo>
                      <a:pt x="456" y="402"/>
                    </a:lnTo>
                    <a:lnTo>
                      <a:pt x="432" y="402"/>
                    </a:lnTo>
                    <a:lnTo>
                      <a:pt x="426" y="396"/>
                    </a:lnTo>
                    <a:lnTo>
                      <a:pt x="426" y="360"/>
                    </a:lnTo>
                    <a:lnTo>
                      <a:pt x="420" y="360"/>
                    </a:lnTo>
                    <a:lnTo>
                      <a:pt x="414" y="354"/>
                    </a:lnTo>
                    <a:lnTo>
                      <a:pt x="366" y="330"/>
                    </a:lnTo>
                    <a:lnTo>
                      <a:pt x="360" y="324"/>
                    </a:lnTo>
                    <a:lnTo>
                      <a:pt x="360" y="312"/>
                    </a:lnTo>
                    <a:lnTo>
                      <a:pt x="354" y="300"/>
                    </a:lnTo>
                    <a:lnTo>
                      <a:pt x="354" y="288"/>
                    </a:lnTo>
                    <a:lnTo>
                      <a:pt x="348" y="276"/>
                    </a:lnTo>
                    <a:lnTo>
                      <a:pt x="348" y="270"/>
                    </a:lnTo>
                    <a:lnTo>
                      <a:pt x="336" y="270"/>
                    </a:lnTo>
                    <a:lnTo>
                      <a:pt x="324" y="264"/>
                    </a:lnTo>
                    <a:lnTo>
                      <a:pt x="306" y="264"/>
                    </a:lnTo>
                    <a:lnTo>
                      <a:pt x="282" y="240"/>
                    </a:lnTo>
                    <a:lnTo>
                      <a:pt x="264" y="246"/>
                    </a:lnTo>
                    <a:lnTo>
                      <a:pt x="252" y="228"/>
                    </a:lnTo>
                    <a:lnTo>
                      <a:pt x="234" y="222"/>
                    </a:lnTo>
                    <a:lnTo>
                      <a:pt x="216" y="204"/>
                    </a:lnTo>
                    <a:lnTo>
                      <a:pt x="210" y="192"/>
                    </a:lnTo>
                    <a:lnTo>
                      <a:pt x="204" y="186"/>
                    </a:lnTo>
                    <a:lnTo>
                      <a:pt x="198" y="174"/>
                    </a:lnTo>
                    <a:lnTo>
                      <a:pt x="198" y="114"/>
                    </a:lnTo>
                    <a:lnTo>
                      <a:pt x="192" y="90"/>
                    </a:lnTo>
                    <a:lnTo>
                      <a:pt x="186" y="78"/>
                    </a:lnTo>
                    <a:lnTo>
                      <a:pt x="180" y="60"/>
                    </a:lnTo>
                    <a:lnTo>
                      <a:pt x="168" y="42"/>
                    </a:lnTo>
                    <a:lnTo>
                      <a:pt x="162" y="24"/>
                    </a:lnTo>
                    <a:lnTo>
                      <a:pt x="156" y="12"/>
                    </a:lnTo>
                    <a:lnTo>
                      <a:pt x="150" y="6"/>
                    </a:lnTo>
                    <a:lnTo>
                      <a:pt x="150" y="0"/>
                    </a:lnTo>
                    <a:lnTo>
                      <a:pt x="144" y="0"/>
                    </a:lnTo>
                    <a:lnTo>
                      <a:pt x="144" y="12"/>
                    </a:lnTo>
                    <a:lnTo>
                      <a:pt x="132" y="36"/>
                    </a:lnTo>
                    <a:lnTo>
                      <a:pt x="108" y="48"/>
                    </a:lnTo>
                    <a:lnTo>
                      <a:pt x="90" y="54"/>
                    </a:lnTo>
                    <a:lnTo>
                      <a:pt x="78" y="54"/>
                    </a:lnTo>
                    <a:close/>
                  </a:path>
                </a:pathLst>
              </a:custGeom>
              <a:solidFill>
                <a:srgbClr val="9D90A0">
                  <a:lumMod val="40000"/>
                  <a:lumOff val="60000"/>
                </a:srgbClr>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152" name="Equatorial Guinea" descr="© INSCALE GmbH, 05.05.2010&#10;http://www.presentationload.com/">
                <a:extLst>
                  <a:ext uri="{FF2B5EF4-FFF2-40B4-BE49-F238E27FC236}">
                    <a16:creationId xmlns:a16="http://schemas.microsoft.com/office/drawing/2014/main" id="{2E4F7023-4C46-4A16-BDC2-9EDFBA837333}"/>
                  </a:ext>
                </a:extLst>
              </p:cNvPr>
              <p:cNvSpPr>
                <a:spLocks/>
              </p:cNvSpPr>
              <p:nvPr/>
            </p:nvSpPr>
            <p:spPr bwMode="gray">
              <a:xfrm>
                <a:off x="4476768" y="4470865"/>
                <a:ext cx="57717" cy="48516"/>
              </a:xfrm>
              <a:custGeom>
                <a:avLst/>
                <a:gdLst>
                  <a:gd name="T0" fmla="*/ 2147483647 w 144"/>
                  <a:gd name="T1" fmla="*/ 2147483647 h 108"/>
                  <a:gd name="T2" fmla="*/ 2147483647 w 144"/>
                  <a:gd name="T3" fmla="*/ 2147483647 h 108"/>
                  <a:gd name="T4" fmla="*/ 2147483647 w 144"/>
                  <a:gd name="T5" fmla="*/ 2147483647 h 108"/>
                  <a:gd name="T6" fmla="*/ 2147483647 w 144"/>
                  <a:gd name="T7" fmla="*/ 0 h 108"/>
                  <a:gd name="T8" fmla="*/ 2147483647 w 144"/>
                  <a:gd name="T9" fmla="*/ 2147483647 h 108"/>
                  <a:gd name="T10" fmla="*/ 2147483647 w 144"/>
                  <a:gd name="T11" fmla="*/ 2147483647 h 108"/>
                  <a:gd name="T12" fmla="*/ 2147483647 w 144"/>
                  <a:gd name="T13" fmla="*/ 2147483647 h 108"/>
                  <a:gd name="T14" fmla="*/ 2147483647 w 144"/>
                  <a:gd name="T15" fmla="*/ 2147483647 h 108"/>
                  <a:gd name="T16" fmla="*/ 2147483647 w 144"/>
                  <a:gd name="T17" fmla="*/ 2147483647 h 108"/>
                  <a:gd name="T18" fmla="*/ 0 w 144"/>
                  <a:gd name="T19" fmla="*/ 2147483647 h 108"/>
                  <a:gd name="T20" fmla="*/ 0 w 144"/>
                  <a:gd name="T21" fmla="*/ 2147483647 h 108"/>
                  <a:gd name="T22" fmla="*/ 2147483647 w 144"/>
                  <a:gd name="T23" fmla="*/ 2147483647 h 108"/>
                  <a:gd name="T24" fmla="*/ 2147483647 w 144"/>
                  <a:gd name="T25" fmla="*/ 2147483647 h 108"/>
                  <a:gd name="T26" fmla="*/ 2147483647 w 144"/>
                  <a:gd name="T27" fmla="*/ 2147483647 h 108"/>
                  <a:gd name="T28" fmla="*/ 2147483647 w 144"/>
                  <a:gd name="T29" fmla="*/ 2147483647 h 108"/>
                  <a:gd name="T30" fmla="*/ 2147483647 w 144"/>
                  <a:gd name="T31" fmla="*/ 2147483647 h 108"/>
                  <a:gd name="T32" fmla="*/ 2147483647 w 144"/>
                  <a:gd name="T33" fmla="*/ 2147483647 h 108"/>
                  <a:gd name="T34" fmla="*/ 2147483647 w 144"/>
                  <a:gd name="T35" fmla="*/ 2147483647 h 108"/>
                  <a:gd name="T36" fmla="*/ 2147483647 w 144"/>
                  <a:gd name="T37" fmla="*/ 2147483647 h 108"/>
                  <a:gd name="T38" fmla="*/ 2147483647 w 144"/>
                  <a:gd name="T39" fmla="*/ 2147483647 h 10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44"/>
                  <a:gd name="T61" fmla="*/ 0 h 108"/>
                  <a:gd name="T62" fmla="*/ 144 w 144"/>
                  <a:gd name="T63" fmla="*/ 108 h 10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44" h="108">
                    <a:moveTo>
                      <a:pt x="138" y="48"/>
                    </a:moveTo>
                    <a:lnTo>
                      <a:pt x="144" y="12"/>
                    </a:lnTo>
                    <a:lnTo>
                      <a:pt x="48" y="12"/>
                    </a:lnTo>
                    <a:lnTo>
                      <a:pt x="36" y="0"/>
                    </a:lnTo>
                    <a:lnTo>
                      <a:pt x="30" y="6"/>
                    </a:lnTo>
                    <a:lnTo>
                      <a:pt x="30" y="42"/>
                    </a:lnTo>
                    <a:lnTo>
                      <a:pt x="18" y="54"/>
                    </a:lnTo>
                    <a:lnTo>
                      <a:pt x="12" y="66"/>
                    </a:lnTo>
                    <a:lnTo>
                      <a:pt x="6" y="72"/>
                    </a:lnTo>
                    <a:lnTo>
                      <a:pt x="0" y="84"/>
                    </a:lnTo>
                    <a:lnTo>
                      <a:pt x="0" y="90"/>
                    </a:lnTo>
                    <a:lnTo>
                      <a:pt x="6" y="96"/>
                    </a:lnTo>
                    <a:lnTo>
                      <a:pt x="18" y="102"/>
                    </a:lnTo>
                    <a:lnTo>
                      <a:pt x="36" y="102"/>
                    </a:lnTo>
                    <a:lnTo>
                      <a:pt x="36" y="108"/>
                    </a:lnTo>
                    <a:lnTo>
                      <a:pt x="138" y="108"/>
                    </a:lnTo>
                    <a:lnTo>
                      <a:pt x="138" y="102"/>
                    </a:lnTo>
                    <a:lnTo>
                      <a:pt x="144" y="84"/>
                    </a:lnTo>
                    <a:lnTo>
                      <a:pt x="144" y="54"/>
                    </a:lnTo>
                    <a:lnTo>
                      <a:pt x="138" y="48"/>
                    </a:lnTo>
                    <a:close/>
                  </a:path>
                </a:pathLst>
              </a:custGeom>
              <a:solidFill>
                <a:srgbClr val="9D90A0">
                  <a:lumMod val="40000"/>
                  <a:lumOff val="60000"/>
                </a:srgbClr>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153" name="Djibouti" descr="© INSCALE GmbH, 05.05.2010&#10;http://www.presentationload.com/">
                <a:extLst>
                  <a:ext uri="{FF2B5EF4-FFF2-40B4-BE49-F238E27FC236}">
                    <a16:creationId xmlns:a16="http://schemas.microsoft.com/office/drawing/2014/main" id="{4BB6320C-A486-4580-86E6-DDCC9EADC695}"/>
                  </a:ext>
                </a:extLst>
              </p:cNvPr>
              <p:cNvSpPr>
                <a:spLocks/>
              </p:cNvSpPr>
              <p:nvPr/>
            </p:nvSpPr>
            <p:spPr bwMode="gray">
              <a:xfrm>
                <a:off x="5383076" y="4105266"/>
                <a:ext cx="46797" cy="58912"/>
              </a:xfrm>
              <a:custGeom>
                <a:avLst/>
                <a:gdLst>
                  <a:gd name="T0" fmla="*/ 2147483647 w 114"/>
                  <a:gd name="T1" fmla="*/ 2147483647 h 138"/>
                  <a:gd name="T2" fmla="*/ 2147483647 w 114"/>
                  <a:gd name="T3" fmla="*/ 2147483647 h 138"/>
                  <a:gd name="T4" fmla="*/ 2147483647 w 114"/>
                  <a:gd name="T5" fmla="*/ 2147483647 h 138"/>
                  <a:gd name="T6" fmla="*/ 0 w 114"/>
                  <a:gd name="T7" fmla="*/ 2147483647 h 138"/>
                  <a:gd name="T8" fmla="*/ 0 w 114"/>
                  <a:gd name="T9" fmla="*/ 2147483647 h 138"/>
                  <a:gd name="T10" fmla="*/ 2147483647 w 114"/>
                  <a:gd name="T11" fmla="*/ 2147483647 h 138"/>
                  <a:gd name="T12" fmla="*/ 2147483647 w 114"/>
                  <a:gd name="T13" fmla="*/ 2147483647 h 138"/>
                  <a:gd name="T14" fmla="*/ 2147483647 w 114"/>
                  <a:gd name="T15" fmla="*/ 2147483647 h 138"/>
                  <a:gd name="T16" fmla="*/ 2147483647 w 114"/>
                  <a:gd name="T17" fmla="*/ 2147483647 h 138"/>
                  <a:gd name="T18" fmla="*/ 2147483647 w 114"/>
                  <a:gd name="T19" fmla="*/ 2147483647 h 138"/>
                  <a:gd name="T20" fmla="*/ 2147483647 w 114"/>
                  <a:gd name="T21" fmla="*/ 2147483647 h 138"/>
                  <a:gd name="T22" fmla="*/ 2147483647 w 114"/>
                  <a:gd name="T23" fmla="*/ 2147483647 h 138"/>
                  <a:gd name="T24" fmla="*/ 2147483647 w 114"/>
                  <a:gd name="T25" fmla="*/ 2147483647 h 138"/>
                  <a:gd name="T26" fmla="*/ 2147483647 w 114"/>
                  <a:gd name="T27" fmla="*/ 2147483647 h 138"/>
                  <a:gd name="T28" fmla="*/ 2147483647 w 114"/>
                  <a:gd name="T29" fmla="*/ 2147483647 h 138"/>
                  <a:gd name="T30" fmla="*/ 2147483647 w 114"/>
                  <a:gd name="T31" fmla="*/ 2147483647 h 138"/>
                  <a:gd name="T32" fmla="*/ 2147483647 w 114"/>
                  <a:gd name="T33" fmla="*/ 2147483647 h 138"/>
                  <a:gd name="T34" fmla="*/ 2147483647 w 114"/>
                  <a:gd name="T35" fmla="*/ 2147483647 h 138"/>
                  <a:gd name="T36" fmla="*/ 2147483647 w 114"/>
                  <a:gd name="T37" fmla="*/ 2147483647 h 138"/>
                  <a:gd name="T38" fmla="*/ 2147483647 w 114"/>
                  <a:gd name="T39" fmla="*/ 2147483647 h 138"/>
                  <a:gd name="T40" fmla="*/ 2147483647 w 114"/>
                  <a:gd name="T41" fmla="*/ 2147483647 h 138"/>
                  <a:gd name="T42" fmla="*/ 2147483647 w 114"/>
                  <a:gd name="T43" fmla="*/ 2147483647 h 138"/>
                  <a:gd name="T44" fmla="*/ 2147483647 w 114"/>
                  <a:gd name="T45" fmla="*/ 2147483647 h 138"/>
                  <a:gd name="T46" fmla="*/ 2147483647 w 114"/>
                  <a:gd name="T47" fmla="*/ 2147483647 h 138"/>
                  <a:gd name="T48" fmla="*/ 2147483647 w 114"/>
                  <a:gd name="T49" fmla="*/ 2147483647 h 138"/>
                  <a:gd name="T50" fmla="*/ 2147483647 w 114"/>
                  <a:gd name="T51" fmla="*/ 2147483647 h 138"/>
                  <a:gd name="T52" fmla="*/ 2147483647 w 114"/>
                  <a:gd name="T53" fmla="*/ 2147483647 h 138"/>
                  <a:gd name="T54" fmla="*/ 2147483647 w 114"/>
                  <a:gd name="T55" fmla="*/ 0 h 138"/>
                  <a:gd name="T56" fmla="*/ 2147483647 w 114"/>
                  <a:gd name="T57" fmla="*/ 2147483647 h 138"/>
                  <a:gd name="T58" fmla="*/ 2147483647 w 114"/>
                  <a:gd name="T59" fmla="*/ 2147483647 h 13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14"/>
                  <a:gd name="T91" fmla="*/ 0 h 138"/>
                  <a:gd name="T92" fmla="*/ 114 w 114"/>
                  <a:gd name="T93" fmla="*/ 138 h 13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14" h="138">
                    <a:moveTo>
                      <a:pt x="72" y="24"/>
                    </a:moveTo>
                    <a:lnTo>
                      <a:pt x="48" y="12"/>
                    </a:lnTo>
                    <a:lnTo>
                      <a:pt x="18" y="66"/>
                    </a:lnTo>
                    <a:lnTo>
                      <a:pt x="0" y="84"/>
                    </a:lnTo>
                    <a:lnTo>
                      <a:pt x="0" y="96"/>
                    </a:lnTo>
                    <a:lnTo>
                      <a:pt x="6" y="114"/>
                    </a:lnTo>
                    <a:lnTo>
                      <a:pt x="6" y="126"/>
                    </a:lnTo>
                    <a:lnTo>
                      <a:pt x="18" y="138"/>
                    </a:lnTo>
                    <a:lnTo>
                      <a:pt x="42" y="138"/>
                    </a:lnTo>
                    <a:lnTo>
                      <a:pt x="48" y="132"/>
                    </a:lnTo>
                    <a:lnTo>
                      <a:pt x="54" y="132"/>
                    </a:lnTo>
                    <a:lnTo>
                      <a:pt x="60" y="126"/>
                    </a:lnTo>
                    <a:lnTo>
                      <a:pt x="72" y="126"/>
                    </a:lnTo>
                    <a:lnTo>
                      <a:pt x="84" y="132"/>
                    </a:lnTo>
                    <a:lnTo>
                      <a:pt x="90" y="138"/>
                    </a:lnTo>
                    <a:lnTo>
                      <a:pt x="90" y="132"/>
                    </a:lnTo>
                    <a:lnTo>
                      <a:pt x="114" y="108"/>
                    </a:lnTo>
                    <a:lnTo>
                      <a:pt x="114" y="102"/>
                    </a:lnTo>
                    <a:lnTo>
                      <a:pt x="102" y="90"/>
                    </a:lnTo>
                    <a:lnTo>
                      <a:pt x="66" y="90"/>
                    </a:lnTo>
                    <a:lnTo>
                      <a:pt x="78" y="84"/>
                    </a:lnTo>
                    <a:lnTo>
                      <a:pt x="84" y="72"/>
                    </a:lnTo>
                    <a:lnTo>
                      <a:pt x="96" y="66"/>
                    </a:lnTo>
                    <a:lnTo>
                      <a:pt x="102" y="54"/>
                    </a:lnTo>
                    <a:lnTo>
                      <a:pt x="114" y="42"/>
                    </a:lnTo>
                    <a:lnTo>
                      <a:pt x="114" y="24"/>
                    </a:lnTo>
                    <a:lnTo>
                      <a:pt x="108" y="12"/>
                    </a:lnTo>
                    <a:lnTo>
                      <a:pt x="96" y="0"/>
                    </a:lnTo>
                    <a:lnTo>
                      <a:pt x="84" y="6"/>
                    </a:lnTo>
                    <a:lnTo>
                      <a:pt x="72" y="24"/>
                    </a:lnTo>
                    <a:close/>
                  </a:path>
                </a:pathLst>
              </a:custGeom>
              <a:solidFill>
                <a:srgbClr val="9D90A0">
                  <a:lumMod val="40000"/>
                  <a:lumOff val="60000"/>
                </a:srgbClr>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154" name="Côte d'Ivoire" descr="© INSCALE GmbH, 05.05.2010&#10;http://www.presentationload.com/">
                <a:extLst>
                  <a:ext uri="{FF2B5EF4-FFF2-40B4-BE49-F238E27FC236}">
                    <a16:creationId xmlns:a16="http://schemas.microsoft.com/office/drawing/2014/main" id="{C11E3284-C547-4BD1-B010-79CC915C3702}"/>
                  </a:ext>
                </a:extLst>
              </p:cNvPr>
              <p:cNvSpPr>
                <a:spLocks/>
              </p:cNvSpPr>
              <p:nvPr/>
            </p:nvSpPr>
            <p:spPr bwMode="gray">
              <a:xfrm>
                <a:off x="3971356" y="4172841"/>
                <a:ext cx="173150" cy="226984"/>
              </a:xfrm>
              <a:custGeom>
                <a:avLst/>
                <a:gdLst>
                  <a:gd name="T0" fmla="*/ 2147483647 w 438"/>
                  <a:gd name="T1" fmla="*/ 2147483647 h 516"/>
                  <a:gd name="T2" fmla="*/ 2147483647 w 438"/>
                  <a:gd name="T3" fmla="*/ 2147483647 h 516"/>
                  <a:gd name="T4" fmla="*/ 2147483647 w 438"/>
                  <a:gd name="T5" fmla="*/ 2147483647 h 516"/>
                  <a:gd name="T6" fmla="*/ 2147483647 w 438"/>
                  <a:gd name="T7" fmla="*/ 2147483647 h 516"/>
                  <a:gd name="T8" fmla="*/ 2147483647 w 438"/>
                  <a:gd name="T9" fmla="*/ 2147483647 h 516"/>
                  <a:gd name="T10" fmla="*/ 2147483647 w 438"/>
                  <a:gd name="T11" fmla="*/ 2147483647 h 516"/>
                  <a:gd name="T12" fmla="*/ 2147483647 w 438"/>
                  <a:gd name="T13" fmla="*/ 2147483647 h 516"/>
                  <a:gd name="T14" fmla="*/ 2147483647 w 438"/>
                  <a:gd name="T15" fmla="*/ 2147483647 h 516"/>
                  <a:gd name="T16" fmla="*/ 2147483647 w 438"/>
                  <a:gd name="T17" fmla="*/ 2147483647 h 516"/>
                  <a:gd name="T18" fmla="*/ 2147483647 w 438"/>
                  <a:gd name="T19" fmla="*/ 2147483647 h 516"/>
                  <a:gd name="T20" fmla="*/ 2147483647 w 438"/>
                  <a:gd name="T21" fmla="*/ 2147483647 h 516"/>
                  <a:gd name="T22" fmla="*/ 2147483647 w 438"/>
                  <a:gd name="T23" fmla="*/ 2147483647 h 516"/>
                  <a:gd name="T24" fmla="*/ 2147483647 w 438"/>
                  <a:gd name="T25" fmla="*/ 2147483647 h 516"/>
                  <a:gd name="T26" fmla="*/ 2147483647 w 438"/>
                  <a:gd name="T27" fmla="*/ 2147483647 h 516"/>
                  <a:gd name="T28" fmla="*/ 2147483647 w 438"/>
                  <a:gd name="T29" fmla="*/ 2147483647 h 516"/>
                  <a:gd name="T30" fmla="*/ 2147483647 w 438"/>
                  <a:gd name="T31" fmla="*/ 2147483647 h 516"/>
                  <a:gd name="T32" fmla="*/ 2147483647 w 438"/>
                  <a:gd name="T33" fmla="*/ 0 h 516"/>
                  <a:gd name="T34" fmla="*/ 2147483647 w 438"/>
                  <a:gd name="T35" fmla="*/ 2147483647 h 516"/>
                  <a:gd name="T36" fmla="*/ 2147483647 w 438"/>
                  <a:gd name="T37" fmla="*/ 2147483647 h 516"/>
                  <a:gd name="T38" fmla="*/ 2147483647 w 438"/>
                  <a:gd name="T39" fmla="*/ 2147483647 h 516"/>
                  <a:gd name="T40" fmla="*/ 2147483647 w 438"/>
                  <a:gd name="T41" fmla="*/ 2147483647 h 516"/>
                  <a:gd name="T42" fmla="*/ 2147483647 w 438"/>
                  <a:gd name="T43" fmla="*/ 2147483647 h 516"/>
                  <a:gd name="T44" fmla="*/ 2147483647 w 438"/>
                  <a:gd name="T45" fmla="*/ 2147483647 h 516"/>
                  <a:gd name="T46" fmla="*/ 2147483647 w 438"/>
                  <a:gd name="T47" fmla="*/ 2147483647 h 516"/>
                  <a:gd name="T48" fmla="*/ 2147483647 w 438"/>
                  <a:gd name="T49" fmla="*/ 2147483647 h 516"/>
                  <a:gd name="T50" fmla="*/ 2147483647 w 438"/>
                  <a:gd name="T51" fmla="*/ 2147483647 h 516"/>
                  <a:gd name="T52" fmla="*/ 2147483647 w 438"/>
                  <a:gd name="T53" fmla="*/ 2147483647 h 516"/>
                  <a:gd name="T54" fmla="*/ 2147483647 w 438"/>
                  <a:gd name="T55" fmla="*/ 2147483647 h 516"/>
                  <a:gd name="T56" fmla="*/ 2147483647 w 438"/>
                  <a:gd name="T57" fmla="*/ 2147483647 h 516"/>
                  <a:gd name="T58" fmla="*/ 2147483647 w 438"/>
                  <a:gd name="T59" fmla="*/ 2147483647 h 516"/>
                  <a:gd name="T60" fmla="*/ 2147483647 w 438"/>
                  <a:gd name="T61" fmla="*/ 2147483647 h 516"/>
                  <a:gd name="T62" fmla="*/ 2147483647 w 438"/>
                  <a:gd name="T63" fmla="*/ 2147483647 h 516"/>
                  <a:gd name="T64" fmla="*/ 2147483647 w 438"/>
                  <a:gd name="T65" fmla="*/ 2147483647 h 516"/>
                  <a:gd name="T66" fmla="*/ 2147483647 w 438"/>
                  <a:gd name="T67" fmla="*/ 2147483647 h 516"/>
                  <a:gd name="T68" fmla="*/ 2147483647 w 438"/>
                  <a:gd name="T69" fmla="*/ 2147483647 h 516"/>
                  <a:gd name="T70" fmla="*/ 2147483647 w 438"/>
                  <a:gd name="T71" fmla="*/ 2147483647 h 516"/>
                  <a:gd name="T72" fmla="*/ 2147483647 w 438"/>
                  <a:gd name="T73" fmla="*/ 2147483647 h 516"/>
                  <a:gd name="T74" fmla="*/ 2147483647 w 438"/>
                  <a:gd name="T75" fmla="*/ 2147483647 h 516"/>
                  <a:gd name="T76" fmla="*/ 2147483647 w 438"/>
                  <a:gd name="T77" fmla="*/ 2147483647 h 516"/>
                  <a:gd name="T78" fmla="*/ 2147483647 w 438"/>
                  <a:gd name="T79" fmla="*/ 2147483647 h 516"/>
                  <a:gd name="T80" fmla="*/ 2147483647 w 438"/>
                  <a:gd name="T81" fmla="*/ 2147483647 h 516"/>
                  <a:gd name="T82" fmla="*/ 2147483647 w 438"/>
                  <a:gd name="T83" fmla="*/ 2147483647 h 516"/>
                  <a:gd name="T84" fmla="*/ 2147483647 w 438"/>
                  <a:gd name="T85" fmla="*/ 2147483647 h 516"/>
                  <a:gd name="T86" fmla="*/ 2147483647 w 438"/>
                  <a:gd name="T87" fmla="*/ 2147483647 h 516"/>
                  <a:gd name="T88" fmla="*/ 2147483647 w 438"/>
                  <a:gd name="T89" fmla="*/ 2147483647 h 51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38"/>
                  <a:gd name="T136" fmla="*/ 0 h 516"/>
                  <a:gd name="T137" fmla="*/ 438 w 438"/>
                  <a:gd name="T138" fmla="*/ 516 h 51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38" h="516">
                    <a:moveTo>
                      <a:pt x="402" y="408"/>
                    </a:moveTo>
                    <a:lnTo>
                      <a:pt x="402" y="402"/>
                    </a:lnTo>
                    <a:lnTo>
                      <a:pt x="396" y="396"/>
                    </a:lnTo>
                    <a:lnTo>
                      <a:pt x="390" y="384"/>
                    </a:lnTo>
                    <a:lnTo>
                      <a:pt x="390" y="372"/>
                    </a:lnTo>
                    <a:lnTo>
                      <a:pt x="384" y="354"/>
                    </a:lnTo>
                    <a:lnTo>
                      <a:pt x="378" y="342"/>
                    </a:lnTo>
                    <a:lnTo>
                      <a:pt x="378" y="318"/>
                    </a:lnTo>
                    <a:lnTo>
                      <a:pt x="384" y="312"/>
                    </a:lnTo>
                    <a:lnTo>
                      <a:pt x="390" y="300"/>
                    </a:lnTo>
                    <a:lnTo>
                      <a:pt x="408" y="282"/>
                    </a:lnTo>
                    <a:lnTo>
                      <a:pt x="408" y="270"/>
                    </a:lnTo>
                    <a:lnTo>
                      <a:pt x="414" y="258"/>
                    </a:lnTo>
                    <a:lnTo>
                      <a:pt x="414" y="240"/>
                    </a:lnTo>
                    <a:lnTo>
                      <a:pt x="420" y="228"/>
                    </a:lnTo>
                    <a:lnTo>
                      <a:pt x="426" y="222"/>
                    </a:lnTo>
                    <a:lnTo>
                      <a:pt x="438" y="198"/>
                    </a:lnTo>
                    <a:lnTo>
                      <a:pt x="438" y="186"/>
                    </a:lnTo>
                    <a:lnTo>
                      <a:pt x="432" y="174"/>
                    </a:lnTo>
                    <a:lnTo>
                      <a:pt x="432" y="162"/>
                    </a:lnTo>
                    <a:lnTo>
                      <a:pt x="426" y="150"/>
                    </a:lnTo>
                    <a:lnTo>
                      <a:pt x="426" y="138"/>
                    </a:lnTo>
                    <a:lnTo>
                      <a:pt x="420" y="132"/>
                    </a:lnTo>
                    <a:lnTo>
                      <a:pt x="420" y="126"/>
                    </a:lnTo>
                    <a:lnTo>
                      <a:pt x="432" y="126"/>
                    </a:lnTo>
                    <a:lnTo>
                      <a:pt x="426" y="96"/>
                    </a:lnTo>
                    <a:lnTo>
                      <a:pt x="408" y="102"/>
                    </a:lnTo>
                    <a:lnTo>
                      <a:pt x="408" y="90"/>
                    </a:lnTo>
                    <a:lnTo>
                      <a:pt x="390" y="72"/>
                    </a:lnTo>
                    <a:lnTo>
                      <a:pt x="372" y="66"/>
                    </a:lnTo>
                    <a:lnTo>
                      <a:pt x="342" y="66"/>
                    </a:lnTo>
                    <a:lnTo>
                      <a:pt x="318" y="78"/>
                    </a:lnTo>
                    <a:lnTo>
                      <a:pt x="318" y="84"/>
                    </a:lnTo>
                    <a:lnTo>
                      <a:pt x="312" y="90"/>
                    </a:lnTo>
                    <a:lnTo>
                      <a:pt x="300" y="90"/>
                    </a:lnTo>
                    <a:lnTo>
                      <a:pt x="294" y="84"/>
                    </a:lnTo>
                    <a:lnTo>
                      <a:pt x="282" y="84"/>
                    </a:lnTo>
                    <a:lnTo>
                      <a:pt x="276" y="78"/>
                    </a:lnTo>
                    <a:lnTo>
                      <a:pt x="264" y="72"/>
                    </a:lnTo>
                    <a:lnTo>
                      <a:pt x="258" y="60"/>
                    </a:lnTo>
                    <a:lnTo>
                      <a:pt x="258" y="48"/>
                    </a:lnTo>
                    <a:lnTo>
                      <a:pt x="252" y="42"/>
                    </a:lnTo>
                    <a:lnTo>
                      <a:pt x="252" y="36"/>
                    </a:lnTo>
                    <a:lnTo>
                      <a:pt x="228" y="42"/>
                    </a:lnTo>
                    <a:lnTo>
                      <a:pt x="228" y="18"/>
                    </a:lnTo>
                    <a:lnTo>
                      <a:pt x="216" y="18"/>
                    </a:lnTo>
                    <a:lnTo>
                      <a:pt x="210" y="24"/>
                    </a:lnTo>
                    <a:lnTo>
                      <a:pt x="204" y="36"/>
                    </a:lnTo>
                    <a:lnTo>
                      <a:pt x="198" y="42"/>
                    </a:lnTo>
                    <a:lnTo>
                      <a:pt x="174" y="36"/>
                    </a:lnTo>
                    <a:lnTo>
                      <a:pt x="174" y="0"/>
                    </a:lnTo>
                    <a:lnTo>
                      <a:pt x="162" y="24"/>
                    </a:lnTo>
                    <a:lnTo>
                      <a:pt x="150" y="6"/>
                    </a:lnTo>
                    <a:lnTo>
                      <a:pt x="144" y="30"/>
                    </a:lnTo>
                    <a:lnTo>
                      <a:pt x="126" y="30"/>
                    </a:lnTo>
                    <a:lnTo>
                      <a:pt x="120" y="48"/>
                    </a:lnTo>
                    <a:lnTo>
                      <a:pt x="102" y="30"/>
                    </a:lnTo>
                    <a:lnTo>
                      <a:pt x="84" y="24"/>
                    </a:lnTo>
                    <a:lnTo>
                      <a:pt x="72" y="24"/>
                    </a:lnTo>
                    <a:lnTo>
                      <a:pt x="66" y="30"/>
                    </a:lnTo>
                    <a:lnTo>
                      <a:pt x="66" y="48"/>
                    </a:lnTo>
                    <a:lnTo>
                      <a:pt x="54" y="42"/>
                    </a:lnTo>
                    <a:lnTo>
                      <a:pt x="36" y="66"/>
                    </a:lnTo>
                    <a:lnTo>
                      <a:pt x="42" y="102"/>
                    </a:lnTo>
                    <a:lnTo>
                      <a:pt x="60" y="108"/>
                    </a:lnTo>
                    <a:lnTo>
                      <a:pt x="48" y="126"/>
                    </a:lnTo>
                    <a:lnTo>
                      <a:pt x="66" y="132"/>
                    </a:lnTo>
                    <a:lnTo>
                      <a:pt x="60" y="138"/>
                    </a:lnTo>
                    <a:lnTo>
                      <a:pt x="54" y="150"/>
                    </a:lnTo>
                    <a:lnTo>
                      <a:pt x="54" y="162"/>
                    </a:lnTo>
                    <a:lnTo>
                      <a:pt x="60" y="162"/>
                    </a:lnTo>
                    <a:lnTo>
                      <a:pt x="72" y="168"/>
                    </a:lnTo>
                    <a:lnTo>
                      <a:pt x="78" y="168"/>
                    </a:lnTo>
                    <a:lnTo>
                      <a:pt x="78" y="180"/>
                    </a:lnTo>
                    <a:lnTo>
                      <a:pt x="72" y="186"/>
                    </a:lnTo>
                    <a:lnTo>
                      <a:pt x="72" y="192"/>
                    </a:lnTo>
                    <a:lnTo>
                      <a:pt x="66" y="186"/>
                    </a:lnTo>
                    <a:lnTo>
                      <a:pt x="54" y="186"/>
                    </a:lnTo>
                    <a:lnTo>
                      <a:pt x="48" y="180"/>
                    </a:lnTo>
                    <a:lnTo>
                      <a:pt x="30" y="180"/>
                    </a:lnTo>
                    <a:lnTo>
                      <a:pt x="30" y="192"/>
                    </a:lnTo>
                    <a:lnTo>
                      <a:pt x="36" y="204"/>
                    </a:lnTo>
                    <a:lnTo>
                      <a:pt x="48" y="210"/>
                    </a:lnTo>
                    <a:lnTo>
                      <a:pt x="54" y="222"/>
                    </a:lnTo>
                    <a:lnTo>
                      <a:pt x="36" y="222"/>
                    </a:lnTo>
                    <a:lnTo>
                      <a:pt x="36" y="228"/>
                    </a:lnTo>
                    <a:lnTo>
                      <a:pt x="42" y="234"/>
                    </a:lnTo>
                    <a:lnTo>
                      <a:pt x="42" y="252"/>
                    </a:lnTo>
                    <a:lnTo>
                      <a:pt x="36" y="258"/>
                    </a:lnTo>
                    <a:lnTo>
                      <a:pt x="30" y="258"/>
                    </a:lnTo>
                    <a:lnTo>
                      <a:pt x="18" y="252"/>
                    </a:lnTo>
                    <a:lnTo>
                      <a:pt x="12" y="246"/>
                    </a:lnTo>
                    <a:lnTo>
                      <a:pt x="6" y="246"/>
                    </a:lnTo>
                    <a:lnTo>
                      <a:pt x="24" y="282"/>
                    </a:lnTo>
                    <a:lnTo>
                      <a:pt x="24" y="306"/>
                    </a:lnTo>
                    <a:lnTo>
                      <a:pt x="18" y="324"/>
                    </a:lnTo>
                    <a:lnTo>
                      <a:pt x="6" y="330"/>
                    </a:lnTo>
                    <a:lnTo>
                      <a:pt x="0" y="342"/>
                    </a:lnTo>
                    <a:lnTo>
                      <a:pt x="6" y="348"/>
                    </a:lnTo>
                    <a:lnTo>
                      <a:pt x="24" y="348"/>
                    </a:lnTo>
                    <a:lnTo>
                      <a:pt x="24" y="360"/>
                    </a:lnTo>
                    <a:lnTo>
                      <a:pt x="60" y="354"/>
                    </a:lnTo>
                    <a:lnTo>
                      <a:pt x="60" y="384"/>
                    </a:lnTo>
                    <a:lnTo>
                      <a:pt x="90" y="414"/>
                    </a:lnTo>
                    <a:lnTo>
                      <a:pt x="90" y="438"/>
                    </a:lnTo>
                    <a:lnTo>
                      <a:pt x="84" y="450"/>
                    </a:lnTo>
                    <a:lnTo>
                      <a:pt x="84" y="462"/>
                    </a:lnTo>
                    <a:lnTo>
                      <a:pt x="78" y="468"/>
                    </a:lnTo>
                    <a:lnTo>
                      <a:pt x="78" y="516"/>
                    </a:lnTo>
                    <a:lnTo>
                      <a:pt x="90" y="516"/>
                    </a:lnTo>
                    <a:lnTo>
                      <a:pt x="96" y="510"/>
                    </a:lnTo>
                    <a:lnTo>
                      <a:pt x="102" y="498"/>
                    </a:lnTo>
                    <a:lnTo>
                      <a:pt x="114" y="498"/>
                    </a:lnTo>
                    <a:lnTo>
                      <a:pt x="126" y="486"/>
                    </a:lnTo>
                    <a:lnTo>
                      <a:pt x="138" y="480"/>
                    </a:lnTo>
                    <a:lnTo>
                      <a:pt x="198" y="456"/>
                    </a:lnTo>
                    <a:lnTo>
                      <a:pt x="228" y="450"/>
                    </a:lnTo>
                    <a:lnTo>
                      <a:pt x="264" y="450"/>
                    </a:lnTo>
                    <a:lnTo>
                      <a:pt x="270" y="444"/>
                    </a:lnTo>
                    <a:lnTo>
                      <a:pt x="282" y="444"/>
                    </a:lnTo>
                    <a:lnTo>
                      <a:pt x="294" y="438"/>
                    </a:lnTo>
                    <a:lnTo>
                      <a:pt x="330" y="438"/>
                    </a:lnTo>
                    <a:lnTo>
                      <a:pt x="336" y="444"/>
                    </a:lnTo>
                    <a:lnTo>
                      <a:pt x="342" y="444"/>
                    </a:lnTo>
                    <a:lnTo>
                      <a:pt x="348" y="450"/>
                    </a:lnTo>
                    <a:lnTo>
                      <a:pt x="366" y="450"/>
                    </a:lnTo>
                    <a:lnTo>
                      <a:pt x="378" y="438"/>
                    </a:lnTo>
                    <a:lnTo>
                      <a:pt x="384" y="438"/>
                    </a:lnTo>
                    <a:lnTo>
                      <a:pt x="384" y="444"/>
                    </a:lnTo>
                    <a:lnTo>
                      <a:pt x="396" y="456"/>
                    </a:lnTo>
                    <a:lnTo>
                      <a:pt x="408" y="462"/>
                    </a:lnTo>
                    <a:lnTo>
                      <a:pt x="420" y="462"/>
                    </a:lnTo>
                    <a:lnTo>
                      <a:pt x="426" y="468"/>
                    </a:lnTo>
                    <a:lnTo>
                      <a:pt x="426" y="414"/>
                    </a:lnTo>
                    <a:lnTo>
                      <a:pt x="402" y="408"/>
                    </a:lnTo>
                    <a:close/>
                  </a:path>
                </a:pathLst>
              </a:custGeom>
              <a:solidFill>
                <a:srgbClr val="9D90A0">
                  <a:lumMod val="40000"/>
                  <a:lumOff val="60000"/>
                </a:srgbClr>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155" name="Congo" descr="© INSCALE GmbH, 05.05.2010&#10;http://www.presentationload.com/">
                <a:extLst>
                  <a:ext uri="{FF2B5EF4-FFF2-40B4-BE49-F238E27FC236}">
                    <a16:creationId xmlns:a16="http://schemas.microsoft.com/office/drawing/2014/main" id="{79B721C5-997A-4F86-9A01-AF332A1BAC03}"/>
                  </a:ext>
                </a:extLst>
              </p:cNvPr>
              <p:cNvSpPr>
                <a:spLocks/>
              </p:cNvSpPr>
              <p:nvPr/>
            </p:nvSpPr>
            <p:spPr bwMode="gray">
              <a:xfrm>
                <a:off x="4561003" y="4361705"/>
                <a:ext cx="533490" cy="667089"/>
              </a:xfrm>
              <a:custGeom>
                <a:avLst/>
                <a:gdLst>
                  <a:gd name="T0" fmla="*/ 2147483647 w 1350"/>
                  <a:gd name="T1" fmla="*/ 2147483647 h 1518"/>
                  <a:gd name="T2" fmla="*/ 2147483647 w 1350"/>
                  <a:gd name="T3" fmla="*/ 2147483647 h 1518"/>
                  <a:gd name="T4" fmla="*/ 2147483647 w 1350"/>
                  <a:gd name="T5" fmla="*/ 2147483647 h 1518"/>
                  <a:gd name="T6" fmla="*/ 2147483647 w 1350"/>
                  <a:gd name="T7" fmla="*/ 2147483647 h 1518"/>
                  <a:gd name="T8" fmla="*/ 2147483647 w 1350"/>
                  <a:gd name="T9" fmla="*/ 2147483647 h 1518"/>
                  <a:gd name="T10" fmla="*/ 2147483647 w 1350"/>
                  <a:gd name="T11" fmla="*/ 2147483647 h 1518"/>
                  <a:gd name="T12" fmla="*/ 2147483647 w 1350"/>
                  <a:gd name="T13" fmla="*/ 2147483647 h 1518"/>
                  <a:gd name="T14" fmla="*/ 2147483647 w 1350"/>
                  <a:gd name="T15" fmla="*/ 2147483647 h 1518"/>
                  <a:gd name="T16" fmla="*/ 2147483647 w 1350"/>
                  <a:gd name="T17" fmla="*/ 2147483647 h 1518"/>
                  <a:gd name="T18" fmla="*/ 2147483647 w 1350"/>
                  <a:gd name="T19" fmla="*/ 2147483647 h 1518"/>
                  <a:gd name="T20" fmla="*/ 2147483647 w 1350"/>
                  <a:gd name="T21" fmla="*/ 2147483647 h 1518"/>
                  <a:gd name="T22" fmla="*/ 2147483647 w 1350"/>
                  <a:gd name="T23" fmla="*/ 2147483647 h 1518"/>
                  <a:gd name="T24" fmla="*/ 2147483647 w 1350"/>
                  <a:gd name="T25" fmla="*/ 2147483647 h 1518"/>
                  <a:gd name="T26" fmla="*/ 2147483647 w 1350"/>
                  <a:gd name="T27" fmla="*/ 2147483647 h 1518"/>
                  <a:gd name="T28" fmla="*/ 2147483647 w 1350"/>
                  <a:gd name="T29" fmla="*/ 2147483647 h 1518"/>
                  <a:gd name="T30" fmla="*/ 2147483647 w 1350"/>
                  <a:gd name="T31" fmla="*/ 2147483647 h 1518"/>
                  <a:gd name="T32" fmla="*/ 2147483647 w 1350"/>
                  <a:gd name="T33" fmla="*/ 2147483647 h 1518"/>
                  <a:gd name="T34" fmla="*/ 2147483647 w 1350"/>
                  <a:gd name="T35" fmla="*/ 2147483647 h 1518"/>
                  <a:gd name="T36" fmla="*/ 2147483647 w 1350"/>
                  <a:gd name="T37" fmla="*/ 2147483647 h 1518"/>
                  <a:gd name="T38" fmla="*/ 2147483647 w 1350"/>
                  <a:gd name="T39" fmla="*/ 2147483647 h 1518"/>
                  <a:gd name="T40" fmla="*/ 2147483647 w 1350"/>
                  <a:gd name="T41" fmla="*/ 2147483647 h 1518"/>
                  <a:gd name="T42" fmla="*/ 2147483647 w 1350"/>
                  <a:gd name="T43" fmla="*/ 2147483647 h 1518"/>
                  <a:gd name="T44" fmla="*/ 2147483647 w 1350"/>
                  <a:gd name="T45" fmla="*/ 2147483647 h 1518"/>
                  <a:gd name="T46" fmla="*/ 2147483647 w 1350"/>
                  <a:gd name="T47" fmla="*/ 2147483647 h 1518"/>
                  <a:gd name="T48" fmla="*/ 2147483647 w 1350"/>
                  <a:gd name="T49" fmla="*/ 2147483647 h 1518"/>
                  <a:gd name="T50" fmla="*/ 2147483647 w 1350"/>
                  <a:gd name="T51" fmla="*/ 2147483647 h 1518"/>
                  <a:gd name="T52" fmla="*/ 2147483647 w 1350"/>
                  <a:gd name="T53" fmla="*/ 2147483647 h 1518"/>
                  <a:gd name="T54" fmla="*/ 2147483647 w 1350"/>
                  <a:gd name="T55" fmla="*/ 2147483647 h 1518"/>
                  <a:gd name="T56" fmla="*/ 2147483647 w 1350"/>
                  <a:gd name="T57" fmla="*/ 2147483647 h 1518"/>
                  <a:gd name="T58" fmla="*/ 2147483647 w 1350"/>
                  <a:gd name="T59" fmla="*/ 2147483647 h 1518"/>
                  <a:gd name="T60" fmla="*/ 2147483647 w 1350"/>
                  <a:gd name="T61" fmla="*/ 2147483647 h 1518"/>
                  <a:gd name="T62" fmla="*/ 2147483647 w 1350"/>
                  <a:gd name="T63" fmla="*/ 2147483647 h 1518"/>
                  <a:gd name="T64" fmla="*/ 2147483647 w 1350"/>
                  <a:gd name="T65" fmla="*/ 2147483647 h 1518"/>
                  <a:gd name="T66" fmla="*/ 2147483647 w 1350"/>
                  <a:gd name="T67" fmla="*/ 2147483647 h 1518"/>
                  <a:gd name="T68" fmla="*/ 2147483647 w 1350"/>
                  <a:gd name="T69" fmla="*/ 2147483647 h 1518"/>
                  <a:gd name="T70" fmla="*/ 2147483647 w 1350"/>
                  <a:gd name="T71" fmla="*/ 2147483647 h 1518"/>
                  <a:gd name="T72" fmla="*/ 2147483647 w 1350"/>
                  <a:gd name="T73" fmla="*/ 2147483647 h 1518"/>
                  <a:gd name="T74" fmla="*/ 2147483647 w 1350"/>
                  <a:gd name="T75" fmla="*/ 2147483647 h 1518"/>
                  <a:gd name="T76" fmla="*/ 2147483647 w 1350"/>
                  <a:gd name="T77" fmla="*/ 2147483647 h 1518"/>
                  <a:gd name="T78" fmla="*/ 2147483647 w 1350"/>
                  <a:gd name="T79" fmla="*/ 2147483647 h 1518"/>
                  <a:gd name="T80" fmla="*/ 2147483647 w 1350"/>
                  <a:gd name="T81" fmla="*/ 2147483647 h 1518"/>
                  <a:gd name="T82" fmla="*/ 2147483647 w 1350"/>
                  <a:gd name="T83" fmla="*/ 2147483647 h 1518"/>
                  <a:gd name="T84" fmla="*/ 2147483647 w 1350"/>
                  <a:gd name="T85" fmla="*/ 2147483647 h 1518"/>
                  <a:gd name="T86" fmla="*/ 2147483647 w 1350"/>
                  <a:gd name="T87" fmla="*/ 2147483647 h 1518"/>
                  <a:gd name="T88" fmla="*/ 2147483647 w 1350"/>
                  <a:gd name="T89" fmla="*/ 2147483647 h 1518"/>
                  <a:gd name="T90" fmla="*/ 2147483647 w 1350"/>
                  <a:gd name="T91" fmla="*/ 2147483647 h 1518"/>
                  <a:gd name="T92" fmla="*/ 2147483647 w 1350"/>
                  <a:gd name="T93" fmla="*/ 2147483647 h 1518"/>
                  <a:gd name="T94" fmla="*/ 2147483647 w 1350"/>
                  <a:gd name="T95" fmla="*/ 2147483647 h 1518"/>
                  <a:gd name="T96" fmla="*/ 2147483647 w 1350"/>
                  <a:gd name="T97" fmla="*/ 2147483647 h 1518"/>
                  <a:gd name="T98" fmla="*/ 2147483647 w 1350"/>
                  <a:gd name="T99" fmla="*/ 2147483647 h 1518"/>
                  <a:gd name="T100" fmla="*/ 2147483647 w 1350"/>
                  <a:gd name="T101" fmla="*/ 2147483647 h 1518"/>
                  <a:gd name="T102" fmla="*/ 2147483647 w 1350"/>
                  <a:gd name="T103" fmla="*/ 2147483647 h 1518"/>
                  <a:gd name="T104" fmla="*/ 2147483647 w 1350"/>
                  <a:gd name="T105" fmla="*/ 2147483647 h 1518"/>
                  <a:gd name="T106" fmla="*/ 2147483647 w 1350"/>
                  <a:gd name="T107" fmla="*/ 2147483647 h 1518"/>
                  <a:gd name="T108" fmla="*/ 2147483647 w 1350"/>
                  <a:gd name="T109" fmla="*/ 2147483647 h 1518"/>
                  <a:gd name="T110" fmla="*/ 2147483647 w 1350"/>
                  <a:gd name="T111" fmla="*/ 2147483647 h 1518"/>
                  <a:gd name="T112" fmla="*/ 2147483647 w 1350"/>
                  <a:gd name="T113" fmla="*/ 2147483647 h 1518"/>
                  <a:gd name="T114" fmla="*/ 2147483647 w 1350"/>
                  <a:gd name="T115" fmla="*/ 2147483647 h 1518"/>
                  <a:gd name="T116" fmla="*/ 2147483647 w 1350"/>
                  <a:gd name="T117" fmla="*/ 2147483647 h 1518"/>
                  <a:gd name="T118" fmla="*/ 2147483647 w 1350"/>
                  <a:gd name="T119" fmla="*/ 2147483647 h 1518"/>
                  <a:gd name="T120" fmla="*/ 2147483647 w 1350"/>
                  <a:gd name="T121" fmla="*/ 2147483647 h 1518"/>
                  <a:gd name="T122" fmla="*/ 2147483647 w 1350"/>
                  <a:gd name="T123" fmla="*/ 2147483647 h 1518"/>
                  <a:gd name="T124" fmla="*/ 2147483647 w 1350"/>
                  <a:gd name="T125" fmla="*/ 2147483647 h 151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350"/>
                  <a:gd name="T190" fmla="*/ 0 h 1518"/>
                  <a:gd name="T191" fmla="*/ 1350 w 1350"/>
                  <a:gd name="T192" fmla="*/ 1518 h 151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350" h="1518">
                    <a:moveTo>
                      <a:pt x="1242" y="468"/>
                    </a:moveTo>
                    <a:lnTo>
                      <a:pt x="1242" y="438"/>
                    </a:lnTo>
                    <a:lnTo>
                      <a:pt x="1260" y="366"/>
                    </a:lnTo>
                    <a:lnTo>
                      <a:pt x="1278" y="354"/>
                    </a:lnTo>
                    <a:lnTo>
                      <a:pt x="1278" y="342"/>
                    </a:lnTo>
                    <a:lnTo>
                      <a:pt x="1302" y="330"/>
                    </a:lnTo>
                    <a:lnTo>
                      <a:pt x="1308" y="318"/>
                    </a:lnTo>
                    <a:lnTo>
                      <a:pt x="1320" y="312"/>
                    </a:lnTo>
                    <a:lnTo>
                      <a:pt x="1332" y="288"/>
                    </a:lnTo>
                    <a:lnTo>
                      <a:pt x="1344" y="276"/>
                    </a:lnTo>
                    <a:lnTo>
                      <a:pt x="1350" y="264"/>
                    </a:lnTo>
                    <a:lnTo>
                      <a:pt x="1350" y="252"/>
                    </a:lnTo>
                    <a:lnTo>
                      <a:pt x="1344" y="246"/>
                    </a:lnTo>
                    <a:lnTo>
                      <a:pt x="1332" y="240"/>
                    </a:lnTo>
                    <a:lnTo>
                      <a:pt x="1320" y="240"/>
                    </a:lnTo>
                    <a:lnTo>
                      <a:pt x="1314" y="234"/>
                    </a:lnTo>
                    <a:lnTo>
                      <a:pt x="1314" y="222"/>
                    </a:lnTo>
                    <a:lnTo>
                      <a:pt x="1320" y="210"/>
                    </a:lnTo>
                    <a:lnTo>
                      <a:pt x="1326" y="204"/>
                    </a:lnTo>
                    <a:lnTo>
                      <a:pt x="1326" y="198"/>
                    </a:lnTo>
                    <a:lnTo>
                      <a:pt x="1320" y="192"/>
                    </a:lnTo>
                    <a:lnTo>
                      <a:pt x="1308" y="186"/>
                    </a:lnTo>
                    <a:lnTo>
                      <a:pt x="1326" y="168"/>
                    </a:lnTo>
                    <a:lnTo>
                      <a:pt x="1320" y="144"/>
                    </a:lnTo>
                    <a:lnTo>
                      <a:pt x="1302" y="144"/>
                    </a:lnTo>
                    <a:lnTo>
                      <a:pt x="1296" y="120"/>
                    </a:lnTo>
                    <a:lnTo>
                      <a:pt x="1290" y="120"/>
                    </a:lnTo>
                    <a:lnTo>
                      <a:pt x="1284" y="114"/>
                    </a:lnTo>
                    <a:lnTo>
                      <a:pt x="1272" y="108"/>
                    </a:lnTo>
                    <a:lnTo>
                      <a:pt x="1260" y="96"/>
                    </a:lnTo>
                    <a:lnTo>
                      <a:pt x="1254" y="84"/>
                    </a:lnTo>
                    <a:lnTo>
                      <a:pt x="1248" y="66"/>
                    </a:lnTo>
                    <a:lnTo>
                      <a:pt x="1236" y="60"/>
                    </a:lnTo>
                    <a:lnTo>
                      <a:pt x="1230" y="54"/>
                    </a:lnTo>
                    <a:lnTo>
                      <a:pt x="1218" y="66"/>
                    </a:lnTo>
                    <a:lnTo>
                      <a:pt x="1218" y="72"/>
                    </a:lnTo>
                    <a:lnTo>
                      <a:pt x="1206" y="84"/>
                    </a:lnTo>
                    <a:lnTo>
                      <a:pt x="1200" y="84"/>
                    </a:lnTo>
                    <a:lnTo>
                      <a:pt x="1188" y="78"/>
                    </a:lnTo>
                    <a:lnTo>
                      <a:pt x="1188" y="72"/>
                    </a:lnTo>
                    <a:lnTo>
                      <a:pt x="1176" y="66"/>
                    </a:lnTo>
                    <a:lnTo>
                      <a:pt x="1164" y="66"/>
                    </a:lnTo>
                    <a:lnTo>
                      <a:pt x="1158" y="72"/>
                    </a:lnTo>
                    <a:lnTo>
                      <a:pt x="1152" y="84"/>
                    </a:lnTo>
                    <a:lnTo>
                      <a:pt x="1146" y="90"/>
                    </a:lnTo>
                    <a:lnTo>
                      <a:pt x="1098" y="66"/>
                    </a:lnTo>
                    <a:lnTo>
                      <a:pt x="1098" y="42"/>
                    </a:lnTo>
                    <a:lnTo>
                      <a:pt x="1068" y="18"/>
                    </a:lnTo>
                    <a:lnTo>
                      <a:pt x="1062" y="6"/>
                    </a:lnTo>
                    <a:lnTo>
                      <a:pt x="1044" y="24"/>
                    </a:lnTo>
                    <a:lnTo>
                      <a:pt x="1026" y="30"/>
                    </a:lnTo>
                    <a:lnTo>
                      <a:pt x="1002" y="30"/>
                    </a:lnTo>
                    <a:lnTo>
                      <a:pt x="990" y="18"/>
                    </a:lnTo>
                    <a:lnTo>
                      <a:pt x="990" y="12"/>
                    </a:lnTo>
                    <a:lnTo>
                      <a:pt x="954" y="18"/>
                    </a:lnTo>
                    <a:lnTo>
                      <a:pt x="942" y="6"/>
                    </a:lnTo>
                    <a:lnTo>
                      <a:pt x="942" y="0"/>
                    </a:lnTo>
                    <a:lnTo>
                      <a:pt x="936" y="0"/>
                    </a:lnTo>
                    <a:lnTo>
                      <a:pt x="918" y="18"/>
                    </a:lnTo>
                    <a:lnTo>
                      <a:pt x="918" y="30"/>
                    </a:lnTo>
                    <a:lnTo>
                      <a:pt x="906" y="30"/>
                    </a:lnTo>
                    <a:lnTo>
                      <a:pt x="900" y="36"/>
                    </a:lnTo>
                    <a:lnTo>
                      <a:pt x="876" y="36"/>
                    </a:lnTo>
                    <a:lnTo>
                      <a:pt x="864" y="24"/>
                    </a:lnTo>
                    <a:lnTo>
                      <a:pt x="840" y="42"/>
                    </a:lnTo>
                    <a:lnTo>
                      <a:pt x="822" y="42"/>
                    </a:lnTo>
                    <a:lnTo>
                      <a:pt x="810" y="54"/>
                    </a:lnTo>
                    <a:lnTo>
                      <a:pt x="798" y="60"/>
                    </a:lnTo>
                    <a:lnTo>
                      <a:pt x="792" y="66"/>
                    </a:lnTo>
                    <a:lnTo>
                      <a:pt x="786" y="66"/>
                    </a:lnTo>
                    <a:lnTo>
                      <a:pt x="762" y="42"/>
                    </a:lnTo>
                    <a:lnTo>
                      <a:pt x="756" y="54"/>
                    </a:lnTo>
                    <a:lnTo>
                      <a:pt x="738" y="72"/>
                    </a:lnTo>
                    <a:lnTo>
                      <a:pt x="738" y="84"/>
                    </a:lnTo>
                    <a:lnTo>
                      <a:pt x="732" y="90"/>
                    </a:lnTo>
                    <a:lnTo>
                      <a:pt x="726" y="102"/>
                    </a:lnTo>
                    <a:lnTo>
                      <a:pt x="720" y="108"/>
                    </a:lnTo>
                    <a:lnTo>
                      <a:pt x="708" y="102"/>
                    </a:lnTo>
                    <a:lnTo>
                      <a:pt x="702" y="96"/>
                    </a:lnTo>
                    <a:lnTo>
                      <a:pt x="690" y="90"/>
                    </a:lnTo>
                    <a:lnTo>
                      <a:pt x="642" y="90"/>
                    </a:lnTo>
                    <a:lnTo>
                      <a:pt x="630" y="84"/>
                    </a:lnTo>
                    <a:lnTo>
                      <a:pt x="624" y="78"/>
                    </a:lnTo>
                    <a:lnTo>
                      <a:pt x="582" y="78"/>
                    </a:lnTo>
                    <a:lnTo>
                      <a:pt x="582" y="48"/>
                    </a:lnTo>
                    <a:lnTo>
                      <a:pt x="576" y="42"/>
                    </a:lnTo>
                    <a:lnTo>
                      <a:pt x="558" y="42"/>
                    </a:lnTo>
                    <a:lnTo>
                      <a:pt x="558" y="30"/>
                    </a:lnTo>
                    <a:lnTo>
                      <a:pt x="546" y="24"/>
                    </a:lnTo>
                    <a:lnTo>
                      <a:pt x="534" y="24"/>
                    </a:lnTo>
                    <a:lnTo>
                      <a:pt x="516" y="18"/>
                    </a:lnTo>
                    <a:lnTo>
                      <a:pt x="504" y="18"/>
                    </a:lnTo>
                    <a:lnTo>
                      <a:pt x="492" y="24"/>
                    </a:lnTo>
                    <a:lnTo>
                      <a:pt x="486" y="30"/>
                    </a:lnTo>
                    <a:lnTo>
                      <a:pt x="486" y="36"/>
                    </a:lnTo>
                    <a:lnTo>
                      <a:pt x="480" y="48"/>
                    </a:lnTo>
                    <a:lnTo>
                      <a:pt x="480" y="54"/>
                    </a:lnTo>
                    <a:lnTo>
                      <a:pt x="474" y="66"/>
                    </a:lnTo>
                    <a:lnTo>
                      <a:pt x="462" y="78"/>
                    </a:lnTo>
                    <a:lnTo>
                      <a:pt x="456" y="78"/>
                    </a:lnTo>
                    <a:lnTo>
                      <a:pt x="444" y="90"/>
                    </a:lnTo>
                    <a:lnTo>
                      <a:pt x="444" y="102"/>
                    </a:lnTo>
                    <a:lnTo>
                      <a:pt x="450" y="102"/>
                    </a:lnTo>
                    <a:lnTo>
                      <a:pt x="450" y="120"/>
                    </a:lnTo>
                    <a:lnTo>
                      <a:pt x="438" y="138"/>
                    </a:lnTo>
                    <a:lnTo>
                      <a:pt x="450" y="150"/>
                    </a:lnTo>
                    <a:lnTo>
                      <a:pt x="450" y="186"/>
                    </a:lnTo>
                    <a:lnTo>
                      <a:pt x="444" y="198"/>
                    </a:lnTo>
                    <a:lnTo>
                      <a:pt x="438" y="216"/>
                    </a:lnTo>
                    <a:lnTo>
                      <a:pt x="426" y="228"/>
                    </a:lnTo>
                    <a:lnTo>
                      <a:pt x="414" y="252"/>
                    </a:lnTo>
                    <a:lnTo>
                      <a:pt x="408" y="258"/>
                    </a:lnTo>
                    <a:lnTo>
                      <a:pt x="408" y="288"/>
                    </a:lnTo>
                    <a:lnTo>
                      <a:pt x="414" y="300"/>
                    </a:lnTo>
                    <a:lnTo>
                      <a:pt x="414" y="324"/>
                    </a:lnTo>
                    <a:lnTo>
                      <a:pt x="396" y="360"/>
                    </a:lnTo>
                    <a:lnTo>
                      <a:pt x="396" y="372"/>
                    </a:lnTo>
                    <a:lnTo>
                      <a:pt x="402" y="378"/>
                    </a:lnTo>
                    <a:lnTo>
                      <a:pt x="408" y="390"/>
                    </a:lnTo>
                    <a:lnTo>
                      <a:pt x="408" y="414"/>
                    </a:lnTo>
                    <a:lnTo>
                      <a:pt x="402" y="426"/>
                    </a:lnTo>
                    <a:lnTo>
                      <a:pt x="390" y="432"/>
                    </a:lnTo>
                    <a:lnTo>
                      <a:pt x="390" y="486"/>
                    </a:lnTo>
                    <a:lnTo>
                      <a:pt x="384" y="492"/>
                    </a:lnTo>
                    <a:lnTo>
                      <a:pt x="372" y="498"/>
                    </a:lnTo>
                    <a:lnTo>
                      <a:pt x="366" y="510"/>
                    </a:lnTo>
                    <a:lnTo>
                      <a:pt x="318" y="534"/>
                    </a:lnTo>
                    <a:lnTo>
                      <a:pt x="312" y="540"/>
                    </a:lnTo>
                    <a:lnTo>
                      <a:pt x="306" y="552"/>
                    </a:lnTo>
                    <a:lnTo>
                      <a:pt x="306" y="588"/>
                    </a:lnTo>
                    <a:lnTo>
                      <a:pt x="282" y="612"/>
                    </a:lnTo>
                    <a:lnTo>
                      <a:pt x="276" y="612"/>
                    </a:lnTo>
                    <a:lnTo>
                      <a:pt x="282" y="714"/>
                    </a:lnTo>
                    <a:lnTo>
                      <a:pt x="252" y="756"/>
                    </a:lnTo>
                    <a:lnTo>
                      <a:pt x="246" y="762"/>
                    </a:lnTo>
                    <a:lnTo>
                      <a:pt x="228" y="762"/>
                    </a:lnTo>
                    <a:lnTo>
                      <a:pt x="216" y="774"/>
                    </a:lnTo>
                    <a:lnTo>
                      <a:pt x="210" y="786"/>
                    </a:lnTo>
                    <a:lnTo>
                      <a:pt x="192" y="804"/>
                    </a:lnTo>
                    <a:lnTo>
                      <a:pt x="186" y="816"/>
                    </a:lnTo>
                    <a:lnTo>
                      <a:pt x="180" y="822"/>
                    </a:lnTo>
                    <a:lnTo>
                      <a:pt x="168" y="828"/>
                    </a:lnTo>
                    <a:lnTo>
                      <a:pt x="150" y="828"/>
                    </a:lnTo>
                    <a:lnTo>
                      <a:pt x="144" y="822"/>
                    </a:lnTo>
                    <a:lnTo>
                      <a:pt x="150" y="810"/>
                    </a:lnTo>
                    <a:lnTo>
                      <a:pt x="150" y="780"/>
                    </a:lnTo>
                    <a:lnTo>
                      <a:pt x="144" y="780"/>
                    </a:lnTo>
                    <a:lnTo>
                      <a:pt x="126" y="798"/>
                    </a:lnTo>
                    <a:lnTo>
                      <a:pt x="102" y="792"/>
                    </a:lnTo>
                    <a:lnTo>
                      <a:pt x="102" y="810"/>
                    </a:lnTo>
                    <a:lnTo>
                      <a:pt x="96" y="822"/>
                    </a:lnTo>
                    <a:lnTo>
                      <a:pt x="90" y="828"/>
                    </a:lnTo>
                    <a:lnTo>
                      <a:pt x="78" y="828"/>
                    </a:lnTo>
                    <a:lnTo>
                      <a:pt x="72" y="822"/>
                    </a:lnTo>
                    <a:lnTo>
                      <a:pt x="72" y="816"/>
                    </a:lnTo>
                    <a:lnTo>
                      <a:pt x="66" y="810"/>
                    </a:lnTo>
                    <a:lnTo>
                      <a:pt x="66" y="804"/>
                    </a:lnTo>
                    <a:lnTo>
                      <a:pt x="54" y="804"/>
                    </a:lnTo>
                    <a:lnTo>
                      <a:pt x="48" y="816"/>
                    </a:lnTo>
                    <a:lnTo>
                      <a:pt x="12" y="846"/>
                    </a:lnTo>
                    <a:lnTo>
                      <a:pt x="18" y="858"/>
                    </a:lnTo>
                    <a:lnTo>
                      <a:pt x="18" y="864"/>
                    </a:lnTo>
                    <a:lnTo>
                      <a:pt x="24" y="876"/>
                    </a:lnTo>
                    <a:lnTo>
                      <a:pt x="24" y="882"/>
                    </a:lnTo>
                    <a:lnTo>
                      <a:pt x="18" y="888"/>
                    </a:lnTo>
                    <a:lnTo>
                      <a:pt x="6" y="894"/>
                    </a:lnTo>
                    <a:lnTo>
                      <a:pt x="0" y="900"/>
                    </a:lnTo>
                    <a:lnTo>
                      <a:pt x="6" y="906"/>
                    </a:lnTo>
                    <a:lnTo>
                      <a:pt x="6" y="912"/>
                    </a:lnTo>
                    <a:lnTo>
                      <a:pt x="18" y="918"/>
                    </a:lnTo>
                    <a:lnTo>
                      <a:pt x="18" y="924"/>
                    </a:lnTo>
                    <a:lnTo>
                      <a:pt x="54" y="906"/>
                    </a:lnTo>
                    <a:lnTo>
                      <a:pt x="78" y="912"/>
                    </a:lnTo>
                    <a:lnTo>
                      <a:pt x="84" y="906"/>
                    </a:lnTo>
                    <a:lnTo>
                      <a:pt x="96" y="912"/>
                    </a:lnTo>
                    <a:lnTo>
                      <a:pt x="120" y="906"/>
                    </a:lnTo>
                    <a:lnTo>
                      <a:pt x="132" y="912"/>
                    </a:lnTo>
                    <a:lnTo>
                      <a:pt x="162" y="912"/>
                    </a:lnTo>
                    <a:lnTo>
                      <a:pt x="174" y="906"/>
                    </a:lnTo>
                    <a:lnTo>
                      <a:pt x="186" y="906"/>
                    </a:lnTo>
                    <a:lnTo>
                      <a:pt x="198" y="912"/>
                    </a:lnTo>
                    <a:lnTo>
                      <a:pt x="228" y="912"/>
                    </a:lnTo>
                    <a:lnTo>
                      <a:pt x="246" y="906"/>
                    </a:lnTo>
                    <a:lnTo>
                      <a:pt x="270" y="906"/>
                    </a:lnTo>
                    <a:lnTo>
                      <a:pt x="276" y="900"/>
                    </a:lnTo>
                    <a:lnTo>
                      <a:pt x="294" y="900"/>
                    </a:lnTo>
                    <a:lnTo>
                      <a:pt x="300" y="906"/>
                    </a:lnTo>
                    <a:lnTo>
                      <a:pt x="306" y="918"/>
                    </a:lnTo>
                    <a:lnTo>
                      <a:pt x="318" y="930"/>
                    </a:lnTo>
                    <a:lnTo>
                      <a:pt x="318" y="972"/>
                    </a:lnTo>
                    <a:lnTo>
                      <a:pt x="336" y="990"/>
                    </a:lnTo>
                    <a:lnTo>
                      <a:pt x="336" y="1014"/>
                    </a:lnTo>
                    <a:lnTo>
                      <a:pt x="330" y="1020"/>
                    </a:lnTo>
                    <a:lnTo>
                      <a:pt x="330" y="1026"/>
                    </a:lnTo>
                    <a:lnTo>
                      <a:pt x="336" y="1032"/>
                    </a:lnTo>
                    <a:lnTo>
                      <a:pt x="342" y="1032"/>
                    </a:lnTo>
                    <a:lnTo>
                      <a:pt x="354" y="1044"/>
                    </a:lnTo>
                    <a:lnTo>
                      <a:pt x="354" y="1056"/>
                    </a:lnTo>
                    <a:lnTo>
                      <a:pt x="360" y="1062"/>
                    </a:lnTo>
                    <a:lnTo>
                      <a:pt x="372" y="1086"/>
                    </a:lnTo>
                    <a:lnTo>
                      <a:pt x="402" y="1086"/>
                    </a:lnTo>
                    <a:lnTo>
                      <a:pt x="414" y="1092"/>
                    </a:lnTo>
                    <a:lnTo>
                      <a:pt x="420" y="1080"/>
                    </a:lnTo>
                    <a:lnTo>
                      <a:pt x="444" y="1080"/>
                    </a:lnTo>
                    <a:lnTo>
                      <a:pt x="456" y="1074"/>
                    </a:lnTo>
                    <a:lnTo>
                      <a:pt x="462" y="1080"/>
                    </a:lnTo>
                    <a:lnTo>
                      <a:pt x="504" y="1074"/>
                    </a:lnTo>
                    <a:lnTo>
                      <a:pt x="504" y="1056"/>
                    </a:lnTo>
                    <a:lnTo>
                      <a:pt x="510" y="1050"/>
                    </a:lnTo>
                    <a:lnTo>
                      <a:pt x="510" y="1044"/>
                    </a:lnTo>
                    <a:lnTo>
                      <a:pt x="522" y="1044"/>
                    </a:lnTo>
                    <a:lnTo>
                      <a:pt x="522" y="1032"/>
                    </a:lnTo>
                    <a:lnTo>
                      <a:pt x="516" y="1020"/>
                    </a:lnTo>
                    <a:lnTo>
                      <a:pt x="510" y="1014"/>
                    </a:lnTo>
                    <a:lnTo>
                      <a:pt x="510" y="1008"/>
                    </a:lnTo>
                    <a:lnTo>
                      <a:pt x="516" y="1002"/>
                    </a:lnTo>
                    <a:lnTo>
                      <a:pt x="564" y="1002"/>
                    </a:lnTo>
                    <a:lnTo>
                      <a:pt x="564" y="996"/>
                    </a:lnTo>
                    <a:lnTo>
                      <a:pt x="576" y="996"/>
                    </a:lnTo>
                    <a:lnTo>
                      <a:pt x="588" y="1002"/>
                    </a:lnTo>
                    <a:lnTo>
                      <a:pt x="588" y="1026"/>
                    </a:lnTo>
                    <a:lnTo>
                      <a:pt x="678" y="1026"/>
                    </a:lnTo>
                    <a:lnTo>
                      <a:pt x="678" y="1050"/>
                    </a:lnTo>
                    <a:lnTo>
                      <a:pt x="666" y="1068"/>
                    </a:lnTo>
                    <a:lnTo>
                      <a:pt x="672" y="1086"/>
                    </a:lnTo>
                    <a:lnTo>
                      <a:pt x="684" y="1098"/>
                    </a:lnTo>
                    <a:lnTo>
                      <a:pt x="690" y="1110"/>
                    </a:lnTo>
                    <a:lnTo>
                      <a:pt x="690" y="1122"/>
                    </a:lnTo>
                    <a:lnTo>
                      <a:pt x="684" y="1134"/>
                    </a:lnTo>
                    <a:lnTo>
                      <a:pt x="678" y="1140"/>
                    </a:lnTo>
                    <a:lnTo>
                      <a:pt x="684" y="1164"/>
                    </a:lnTo>
                    <a:lnTo>
                      <a:pt x="684" y="1176"/>
                    </a:lnTo>
                    <a:lnTo>
                      <a:pt x="678" y="1182"/>
                    </a:lnTo>
                    <a:lnTo>
                      <a:pt x="678" y="1194"/>
                    </a:lnTo>
                    <a:lnTo>
                      <a:pt x="684" y="1212"/>
                    </a:lnTo>
                    <a:lnTo>
                      <a:pt x="696" y="1230"/>
                    </a:lnTo>
                    <a:lnTo>
                      <a:pt x="708" y="1254"/>
                    </a:lnTo>
                    <a:lnTo>
                      <a:pt x="714" y="1260"/>
                    </a:lnTo>
                    <a:lnTo>
                      <a:pt x="714" y="1278"/>
                    </a:lnTo>
                    <a:lnTo>
                      <a:pt x="708" y="1290"/>
                    </a:lnTo>
                    <a:lnTo>
                      <a:pt x="708" y="1302"/>
                    </a:lnTo>
                    <a:lnTo>
                      <a:pt x="702" y="1308"/>
                    </a:lnTo>
                    <a:lnTo>
                      <a:pt x="702" y="1332"/>
                    </a:lnTo>
                    <a:lnTo>
                      <a:pt x="708" y="1338"/>
                    </a:lnTo>
                    <a:lnTo>
                      <a:pt x="714" y="1338"/>
                    </a:lnTo>
                    <a:lnTo>
                      <a:pt x="720" y="1344"/>
                    </a:lnTo>
                    <a:lnTo>
                      <a:pt x="726" y="1326"/>
                    </a:lnTo>
                    <a:lnTo>
                      <a:pt x="756" y="1332"/>
                    </a:lnTo>
                    <a:lnTo>
                      <a:pt x="780" y="1326"/>
                    </a:lnTo>
                    <a:lnTo>
                      <a:pt x="780" y="1314"/>
                    </a:lnTo>
                    <a:lnTo>
                      <a:pt x="792" y="1314"/>
                    </a:lnTo>
                    <a:lnTo>
                      <a:pt x="804" y="1326"/>
                    </a:lnTo>
                    <a:lnTo>
                      <a:pt x="828" y="1326"/>
                    </a:lnTo>
                    <a:lnTo>
                      <a:pt x="834" y="1308"/>
                    </a:lnTo>
                    <a:lnTo>
                      <a:pt x="840" y="1320"/>
                    </a:lnTo>
                    <a:lnTo>
                      <a:pt x="858" y="1320"/>
                    </a:lnTo>
                    <a:lnTo>
                      <a:pt x="858" y="1350"/>
                    </a:lnTo>
                    <a:lnTo>
                      <a:pt x="864" y="1356"/>
                    </a:lnTo>
                    <a:lnTo>
                      <a:pt x="882" y="1356"/>
                    </a:lnTo>
                    <a:lnTo>
                      <a:pt x="882" y="1350"/>
                    </a:lnTo>
                    <a:lnTo>
                      <a:pt x="876" y="1344"/>
                    </a:lnTo>
                    <a:lnTo>
                      <a:pt x="918" y="1338"/>
                    </a:lnTo>
                    <a:lnTo>
                      <a:pt x="918" y="1356"/>
                    </a:lnTo>
                    <a:lnTo>
                      <a:pt x="924" y="1368"/>
                    </a:lnTo>
                    <a:lnTo>
                      <a:pt x="930" y="1374"/>
                    </a:lnTo>
                    <a:lnTo>
                      <a:pt x="948" y="1386"/>
                    </a:lnTo>
                    <a:lnTo>
                      <a:pt x="984" y="1392"/>
                    </a:lnTo>
                    <a:lnTo>
                      <a:pt x="1014" y="1398"/>
                    </a:lnTo>
                    <a:lnTo>
                      <a:pt x="1032" y="1398"/>
                    </a:lnTo>
                    <a:lnTo>
                      <a:pt x="1032" y="1392"/>
                    </a:lnTo>
                    <a:lnTo>
                      <a:pt x="1038" y="1386"/>
                    </a:lnTo>
                    <a:lnTo>
                      <a:pt x="1038" y="1368"/>
                    </a:lnTo>
                    <a:lnTo>
                      <a:pt x="1044" y="1362"/>
                    </a:lnTo>
                    <a:lnTo>
                      <a:pt x="1050" y="1362"/>
                    </a:lnTo>
                    <a:lnTo>
                      <a:pt x="1062" y="1374"/>
                    </a:lnTo>
                    <a:lnTo>
                      <a:pt x="1062" y="1386"/>
                    </a:lnTo>
                    <a:lnTo>
                      <a:pt x="1068" y="1392"/>
                    </a:lnTo>
                    <a:lnTo>
                      <a:pt x="1080" y="1392"/>
                    </a:lnTo>
                    <a:lnTo>
                      <a:pt x="1080" y="1404"/>
                    </a:lnTo>
                    <a:lnTo>
                      <a:pt x="1074" y="1404"/>
                    </a:lnTo>
                    <a:lnTo>
                      <a:pt x="1074" y="1416"/>
                    </a:lnTo>
                    <a:lnTo>
                      <a:pt x="1104" y="1416"/>
                    </a:lnTo>
                    <a:lnTo>
                      <a:pt x="1110" y="1422"/>
                    </a:lnTo>
                    <a:lnTo>
                      <a:pt x="1110" y="1434"/>
                    </a:lnTo>
                    <a:lnTo>
                      <a:pt x="1122" y="1434"/>
                    </a:lnTo>
                    <a:lnTo>
                      <a:pt x="1128" y="1428"/>
                    </a:lnTo>
                    <a:lnTo>
                      <a:pt x="1134" y="1428"/>
                    </a:lnTo>
                    <a:lnTo>
                      <a:pt x="1140" y="1434"/>
                    </a:lnTo>
                    <a:lnTo>
                      <a:pt x="1146" y="1446"/>
                    </a:lnTo>
                    <a:lnTo>
                      <a:pt x="1146" y="1452"/>
                    </a:lnTo>
                    <a:lnTo>
                      <a:pt x="1152" y="1464"/>
                    </a:lnTo>
                    <a:lnTo>
                      <a:pt x="1164" y="1464"/>
                    </a:lnTo>
                    <a:lnTo>
                      <a:pt x="1176" y="1476"/>
                    </a:lnTo>
                    <a:lnTo>
                      <a:pt x="1176" y="1488"/>
                    </a:lnTo>
                    <a:lnTo>
                      <a:pt x="1182" y="1500"/>
                    </a:lnTo>
                    <a:lnTo>
                      <a:pt x="1182" y="1512"/>
                    </a:lnTo>
                    <a:lnTo>
                      <a:pt x="1200" y="1512"/>
                    </a:lnTo>
                    <a:lnTo>
                      <a:pt x="1218" y="1500"/>
                    </a:lnTo>
                    <a:lnTo>
                      <a:pt x="1224" y="1512"/>
                    </a:lnTo>
                    <a:lnTo>
                      <a:pt x="1224" y="1518"/>
                    </a:lnTo>
                    <a:lnTo>
                      <a:pt x="1230" y="1518"/>
                    </a:lnTo>
                    <a:lnTo>
                      <a:pt x="1236" y="1500"/>
                    </a:lnTo>
                    <a:lnTo>
                      <a:pt x="1242" y="1464"/>
                    </a:lnTo>
                    <a:lnTo>
                      <a:pt x="1242" y="1416"/>
                    </a:lnTo>
                    <a:lnTo>
                      <a:pt x="1218" y="1416"/>
                    </a:lnTo>
                    <a:lnTo>
                      <a:pt x="1218" y="1434"/>
                    </a:lnTo>
                    <a:lnTo>
                      <a:pt x="1212" y="1440"/>
                    </a:lnTo>
                    <a:lnTo>
                      <a:pt x="1206" y="1440"/>
                    </a:lnTo>
                    <a:lnTo>
                      <a:pt x="1194" y="1434"/>
                    </a:lnTo>
                    <a:lnTo>
                      <a:pt x="1164" y="1404"/>
                    </a:lnTo>
                    <a:lnTo>
                      <a:pt x="1158" y="1404"/>
                    </a:lnTo>
                    <a:lnTo>
                      <a:pt x="1158" y="1398"/>
                    </a:lnTo>
                    <a:lnTo>
                      <a:pt x="1152" y="1398"/>
                    </a:lnTo>
                    <a:lnTo>
                      <a:pt x="1140" y="1386"/>
                    </a:lnTo>
                    <a:lnTo>
                      <a:pt x="1140" y="1362"/>
                    </a:lnTo>
                    <a:lnTo>
                      <a:pt x="1146" y="1350"/>
                    </a:lnTo>
                    <a:lnTo>
                      <a:pt x="1152" y="1332"/>
                    </a:lnTo>
                    <a:lnTo>
                      <a:pt x="1158" y="1320"/>
                    </a:lnTo>
                    <a:lnTo>
                      <a:pt x="1170" y="1308"/>
                    </a:lnTo>
                    <a:lnTo>
                      <a:pt x="1170" y="1254"/>
                    </a:lnTo>
                    <a:lnTo>
                      <a:pt x="1164" y="1236"/>
                    </a:lnTo>
                    <a:lnTo>
                      <a:pt x="1164" y="1212"/>
                    </a:lnTo>
                    <a:lnTo>
                      <a:pt x="1158" y="1206"/>
                    </a:lnTo>
                    <a:lnTo>
                      <a:pt x="1158" y="1200"/>
                    </a:lnTo>
                    <a:lnTo>
                      <a:pt x="1152" y="1194"/>
                    </a:lnTo>
                    <a:lnTo>
                      <a:pt x="1152" y="1188"/>
                    </a:lnTo>
                    <a:lnTo>
                      <a:pt x="1140" y="1176"/>
                    </a:lnTo>
                    <a:lnTo>
                      <a:pt x="1146" y="1176"/>
                    </a:lnTo>
                    <a:lnTo>
                      <a:pt x="1152" y="1170"/>
                    </a:lnTo>
                    <a:lnTo>
                      <a:pt x="1164" y="1164"/>
                    </a:lnTo>
                    <a:lnTo>
                      <a:pt x="1182" y="1146"/>
                    </a:lnTo>
                    <a:lnTo>
                      <a:pt x="1182" y="1116"/>
                    </a:lnTo>
                    <a:lnTo>
                      <a:pt x="1194" y="1116"/>
                    </a:lnTo>
                    <a:lnTo>
                      <a:pt x="1212" y="1110"/>
                    </a:lnTo>
                    <a:lnTo>
                      <a:pt x="1230" y="1110"/>
                    </a:lnTo>
                    <a:lnTo>
                      <a:pt x="1242" y="1104"/>
                    </a:lnTo>
                    <a:lnTo>
                      <a:pt x="1260" y="1104"/>
                    </a:lnTo>
                    <a:lnTo>
                      <a:pt x="1284" y="1092"/>
                    </a:lnTo>
                    <a:lnTo>
                      <a:pt x="1290" y="1092"/>
                    </a:lnTo>
                    <a:lnTo>
                      <a:pt x="1290" y="1086"/>
                    </a:lnTo>
                    <a:lnTo>
                      <a:pt x="1284" y="1074"/>
                    </a:lnTo>
                    <a:lnTo>
                      <a:pt x="1272" y="1062"/>
                    </a:lnTo>
                    <a:lnTo>
                      <a:pt x="1272" y="1014"/>
                    </a:lnTo>
                    <a:lnTo>
                      <a:pt x="1248" y="1014"/>
                    </a:lnTo>
                    <a:lnTo>
                      <a:pt x="1248" y="1008"/>
                    </a:lnTo>
                    <a:lnTo>
                      <a:pt x="1242" y="996"/>
                    </a:lnTo>
                    <a:lnTo>
                      <a:pt x="1242" y="978"/>
                    </a:lnTo>
                    <a:lnTo>
                      <a:pt x="1236" y="972"/>
                    </a:lnTo>
                    <a:lnTo>
                      <a:pt x="1224" y="966"/>
                    </a:lnTo>
                    <a:lnTo>
                      <a:pt x="1218" y="960"/>
                    </a:lnTo>
                    <a:lnTo>
                      <a:pt x="1206" y="936"/>
                    </a:lnTo>
                    <a:lnTo>
                      <a:pt x="1206" y="906"/>
                    </a:lnTo>
                    <a:lnTo>
                      <a:pt x="1212" y="900"/>
                    </a:lnTo>
                    <a:lnTo>
                      <a:pt x="1212" y="876"/>
                    </a:lnTo>
                    <a:lnTo>
                      <a:pt x="1200" y="864"/>
                    </a:lnTo>
                    <a:lnTo>
                      <a:pt x="1194" y="852"/>
                    </a:lnTo>
                    <a:lnTo>
                      <a:pt x="1194" y="804"/>
                    </a:lnTo>
                    <a:lnTo>
                      <a:pt x="1200" y="780"/>
                    </a:lnTo>
                    <a:lnTo>
                      <a:pt x="1200" y="750"/>
                    </a:lnTo>
                    <a:lnTo>
                      <a:pt x="1212" y="738"/>
                    </a:lnTo>
                    <a:lnTo>
                      <a:pt x="1218" y="744"/>
                    </a:lnTo>
                    <a:lnTo>
                      <a:pt x="1218" y="732"/>
                    </a:lnTo>
                    <a:lnTo>
                      <a:pt x="1224" y="726"/>
                    </a:lnTo>
                    <a:lnTo>
                      <a:pt x="1224" y="696"/>
                    </a:lnTo>
                    <a:lnTo>
                      <a:pt x="1218" y="690"/>
                    </a:lnTo>
                    <a:lnTo>
                      <a:pt x="1206" y="684"/>
                    </a:lnTo>
                    <a:lnTo>
                      <a:pt x="1200" y="678"/>
                    </a:lnTo>
                    <a:lnTo>
                      <a:pt x="1188" y="648"/>
                    </a:lnTo>
                    <a:lnTo>
                      <a:pt x="1182" y="642"/>
                    </a:lnTo>
                    <a:lnTo>
                      <a:pt x="1176" y="642"/>
                    </a:lnTo>
                    <a:lnTo>
                      <a:pt x="1176" y="636"/>
                    </a:lnTo>
                    <a:lnTo>
                      <a:pt x="1182" y="624"/>
                    </a:lnTo>
                    <a:lnTo>
                      <a:pt x="1194" y="618"/>
                    </a:lnTo>
                    <a:lnTo>
                      <a:pt x="1206" y="606"/>
                    </a:lnTo>
                    <a:lnTo>
                      <a:pt x="1206" y="594"/>
                    </a:lnTo>
                    <a:lnTo>
                      <a:pt x="1200" y="588"/>
                    </a:lnTo>
                    <a:lnTo>
                      <a:pt x="1194" y="576"/>
                    </a:lnTo>
                    <a:lnTo>
                      <a:pt x="1194" y="570"/>
                    </a:lnTo>
                    <a:lnTo>
                      <a:pt x="1200" y="564"/>
                    </a:lnTo>
                    <a:lnTo>
                      <a:pt x="1224" y="552"/>
                    </a:lnTo>
                    <a:lnTo>
                      <a:pt x="1230" y="546"/>
                    </a:lnTo>
                    <a:lnTo>
                      <a:pt x="1236" y="546"/>
                    </a:lnTo>
                    <a:lnTo>
                      <a:pt x="1242" y="468"/>
                    </a:lnTo>
                    <a:close/>
                  </a:path>
                </a:pathLst>
              </a:custGeom>
              <a:solidFill>
                <a:srgbClr val="9D90A0">
                  <a:lumMod val="40000"/>
                  <a:lumOff val="60000"/>
                </a:srgbClr>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156" name="Congo (Brazzaville)" descr="© INSCALE GmbH, 05.05.2010&#10;http://www.presentationload.com/">
                <a:extLst>
                  <a:ext uri="{FF2B5EF4-FFF2-40B4-BE49-F238E27FC236}">
                    <a16:creationId xmlns:a16="http://schemas.microsoft.com/office/drawing/2014/main" id="{9AC1C67A-95D5-4E5F-916F-A903028E8581}"/>
                  </a:ext>
                </a:extLst>
              </p:cNvPr>
              <p:cNvSpPr>
                <a:spLocks/>
              </p:cNvSpPr>
              <p:nvPr/>
            </p:nvSpPr>
            <p:spPr bwMode="gray">
              <a:xfrm>
                <a:off x="4526685" y="4420617"/>
                <a:ext cx="212148" cy="308421"/>
              </a:xfrm>
              <a:custGeom>
                <a:avLst/>
                <a:gdLst>
                  <a:gd name="T0" fmla="*/ 2147483647 w 534"/>
                  <a:gd name="T1" fmla="*/ 2147483647 h 702"/>
                  <a:gd name="T2" fmla="*/ 2147483647 w 534"/>
                  <a:gd name="T3" fmla="*/ 2147483647 h 702"/>
                  <a:gd name="T4" fmla="*/ 2147483647 w 534"/>
                  <a:gd name="T5" fmla="*/ 2147483647 h 702"/>
                  <a:gd name="T6" fmla="*/ 2147483647 w 534"/>
                  <a:gd name="T7" fmla="*/ 2147483647 h 702"/>
                  <a:gd name="T8" fmla="*/ 2147483647 w 534"/>
                  <a:gd name="T9" fmla="*/ 2147483647 h 702"/>
                  <a:gd name="T10" fmla="*/ 2147483647 w 534"/>
                  <a:gd name="T11" fmla="*/ 2147483647 h 702"/>
                  <a:gd name="T12" fmla="*/ 2147483647 w 534"/>
                  <a:gd name="T13" fmla="*/ 2147483647 h 702"/>
                  <a:gd name="T14" fmla="*/ 2147483647 w 534"/>
                  <a:gd name="T15" fmla="*/ 2147483647 h 702"/>
                  <a:gd name="T16" fmla="*/ 2147483647 w 534"/>
                  <a:gd name="T17" fmla="*/ 2147483647 h 702"/>
                  <a:gd name="T18" fmla="*/ 2147483647 w 534"/>
                  <a:gd name="T19" fmla="*/ 2147483647 h 702"/>
                  <a:gd name="T20" fmla="*/ 2147483647 w 534"/>
                  <a:gd name="T21" fmla="*/ 2147483647 h 702"/>
                  <a:gd name="T22" fmla="*/ 2147483647 w 534"/>
                  <a:gd name="T23" fmla="*/ 2147483647 h 702"/>
                  <a:gd name="T24" fmla="*/ 2147483647 w 534"/>
                  <a:gd name="T25" fmla="*/ 2147483647 h 702"/>
                  <a:gd name="T26" fmla="*/ 2147483647 w 534"/>
                  <a:gd name="T27" fmla="*/ 2147483647 h 702"/>
                  <a:gd name="T28" fmla="*/ 2147483647 w 534"/>
                  <a:gd name="T29" fmla="*/ 2147483647 h 702"/>
                  <a:gd name="T30" fmla="*/ 2147483647 w 534"/>
                  <a:gd name="T31" fmla="*/ 2147483647 h 702"/>
                  <a:gd name="T32" fmla="*/ 2147483647 w 534"/>
                  <a:gd name="T33" fmla="*/ 2147483647 h 702"/>
                  <a:gd name="T34" fmla="*/ 2147483647 w 534"/>
                  <a:gd name="T35" fmla="*/ 2147483647 h 702"/>
                  <a:gd name="T36" fmla="*/ 2147483647 w 534"/>
                  <a:gd name="T37" fmla="*/ 2147483647 h 702"/>
                  <a:gd name="T38" fmla="*/ 2147483647 w 534"/>
                  <a:gd name="T39" fmla="*/ 2147483647 h 702"/>
                  <a:gd name="T40" fmla="*/ 2147483647 w 534"/>
                  <a:gd name="T41" fmla="*/ 2147483647 h 702"/>
                  <a:gd name="T42" fmla="*/ 2147483647 w 534"/>
                  <a:gd name="T43" fmla="*/ 2147483647 h 702"/>
                  <a:gd name="T44" fmla="*/ 2147483647 w 534"/>
                  <a:gd name="T45" fmla="*/ 2147483647 h 702"/>
                  <a:gd name="T46" fmla="*/ 2147483647 w 534"/>
                  <a:gd name="T47" fmla="*/ 2147483647 h 702"/>
                  <a:gd name="T48" fmla="*/ 2147483647 w 534"/>
                  <a:gd name="T49" fmla="*/ 2147483647 h 702"/>
                  <a:gd name="T50" fmla="*/ 0 w 534"/>
                  <a:gd name="T51" fmla="*/ 2147483647 h 702"/>
                  <a:gd name="T52" fmla="*/ 2147483647 w 534"/>
                  <a:gd name="T53" fmla="*/ 2147483647 h 702"/>
                  <a:gd name="T54" fmla="*/ 2147483647 w 534"/>
                  <a:gd name="T55" fmla="*/ 2147483647 h 702"/>
                  <a:gd name="T56" fmla="*/ 2147483647 w 534"/>
                  <a:gd name="T57" fmla="*/ 2147483647 h 702"/>
                  <a:gd name="T58" fmla="*/ 2147483647 w 534"/>
                  <a:gd name="T59" fmla="*/ 2147483647 h 702"/>
                  <a:gd name="T60" fmla="*/ 2147483647 w 534"/>
                  <a:gd name="T61" fmla="*/ 2147483647 h 702"/>
                  <a:gd name="T62" fmla="*/ 2147483647 w 534"/>
                  <a:gd name="T63" fmla="*/ 2147483647 h 702"/>
                  <a:gd name="T64" fmla="*/ 2147483647 w 534"/>
                  <a:gd name="T65" fmla="*/ 2147483647 h 702"/>
                  <a:gd name="T66" fmla="*/ 2147483647 w 534"/>
                  <a:gd name="T67" fmla="*/ 2147483647 h 702"/>
                  <a:gd name="T68" fmla="*/ 2147483647 w 534"/>
                  <a:gd name="T69" fmla="*/ 2147483647 h 702"/>
                  <a:gd name="T70" fmla="*/ 2147483647 w 534"/>
                  <a:gd name="T71" fmla="*/ 2147483647 h 702"/>
                  <a:gd name="T72" fmla="*/ 2147483647 w 534"/>
                  <a:gd name="T73" fmla="*/ 2147483647 h 702"/>
                  <a:gd name="T74" fmla="*/ 2147483647 w 534"/>
                  <a:gd name="T75" fmla="*/ 2147483647 h 702"/>
                  <a:gd name="T76" fmla="*/ 2147483647 w 534"/>
                  <a:gd name="T77" fmla="*/ 2147483647 h 702"/>
                  <a:gd name="T78" fmla="*/ 2147483647 w 534"/>
                  <a:gd name="T79" fmla="*/ 2147483647 h 702"/>
                  <a:gd name="T80" fmla="*/ 2147483647 w 534"/>
                  <a:gd name="T81" fmla="*/ 2147483647 h 702"/>
                  <a:gd name="T82" fmla="*/ 2147483647 w 534"/>
                  <a:gd name="T83" fmla="*/ 2147483647 h 702"/>
                  <a:gd name="T84" fmla="*/ 2147483647 w 534"/>
                  <a:gd name="T85" fmla="*/ 2147483647 h 702"/>
                  <a:gd name="T86" fmla="*/ 2147483647 w 534"/>
                  <a:gd name="T87" fmla="*/ 2147483647 h 702"/>
                  <a:gd name="T88" fmla="*/ 2147483647 w 534"/>
                  <a:gd name="T89" fmla="*/ 2147483647 h 702"/>
                  <a:gd name="T90" fmla="*/ 2147483647 w 534"/>
                  <a:gd name="T91" fmla="*/ 2147483647 h 702"/>
                  <a:gd name="T92" fmla="*/ 2147483647 w 534"/>
                  <a:gd name="T93" fmla="*/ 2147483647 h 702"/>
                  <a:gd name="T94" fmla="*/ 2147483647 w 534"/>
                  <a:gd name="T95" fmla="*/ 2147483647 h 702"/>
                  <a:gd name="T96" fmla="*/ 2147483647 w 534"/>
                  <a:gd name="T97" fmla="*/ 2147483647 h 702"/>
                  <a:gd name="T98" fmla="*/ 2147483647 w 534"/>
                  <a:gd name="T99" fmla="*/ 2147483647 h 702"/>
                  <a:gd name="T100" fmla="*/ 2147483647 w 534"/>
                  <a:gd name="T101" fmla="*/ 2147483647 h 702"/>
                  <a:gd name="T102" fmla="*/ 2147483647 w 534"/>
                  <a:gd name="T103" fmla="*/ 2147483647 h 70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34"/>
                  <a:gd name="T157" fmla="*/ 0 h 702"/>
                  <a:gd name="T158" fmla="*/ 534 w 534"/>
                  <a:gd name="T159" fmla="*/ 702 h 70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34" h="702">
                    <a:moveTo>
                      <a:pt x="366" y="120"/>
                    </a:moveTo>
                    <a:lnTo>
                      <a:pt x="360" y="126"/>
                    </a:lnTo>
                    <a:lnTo>
                      <a:pt x="354" y="168"/>
                    </a:lnTo>
                    <a:lnTo>
                      <a:pt x="330" y="144"/>
                    </a:lnTo>
                    <a:lnTo>
                      <a:pt x="294" y="144"/>
                    </a:lnTo>
                    <a:lnTo>
                      <a:pt x="288" y="138"/>
                    </a:lnTo>
                    <a:lnTo>
                      <a:pt x="276" y="138"/>
                    </a:lnTo>
                    <a:lnTo>
                      <a:pt x="270" y="132"/>
                    </a:lnTo>
                    <a:lnTo>
                      <a:pt x="258" y="126"/>
                    </a:lnTo>
                    <a:lnTo>
                      <a:pt x="210" y="126"/>
                    </a:lnTo>
                    <a:lnTo>
                      <a:pt x="192" y="132"/>
                    </a:lnTo>
                    <a:lnTo>
                      <a:pt x="162" y="132"/>
                    </a:lnTo>
                    <a:lnTo>
                      <a:pt x="144" y="162"/>
                    </a:lnTo>
                    <a:lnTo>
                      <a:pt x="150" y="198"/>
                    </a:lnTo>
                    <a:lnTo>
                      <a:pt x="156" y="204"/>
                    </a:lnTo>
                    <a:lnTo>
                      <a:pt x="180" y="204"/>
                    </a:lnTo>
                    <a:lnTo>
                      <a:pt x="186" y="198"/>
                    </a:lnTo>
                    <a:lnTo>
                      <a:pt x="186" y="180"/>
                    </a:lnTo>
                    <a:lnTo>
                      <a:pt x="204" y="180"/>
                    </a:lnTo>
                    <a:lnTo>
                      <a:pt x="210" y="186"/>
                    </a:lnTo>
                    <a:lnTo>
                      <a:pt x="222" y="186"/>
                    </a:lnTo>
                    <a:lnTo>
                      <a:pt x="222" y="192"/>
                    </a:lnTo>
                    <a:lnTo>
                      <a:pt x="228" y="198"/>
                    </a:lnTo>
                    <a:lnTo>
                      <a:pt x="228" y="216"/>
                    </a:lnTo>
                    <a:lnTo>
                      <a:pt x="240" y="222"/>
                    </a:lnTo>
                    <a:lnTo>
                      <a:pt x="240" y="234"/>
                    </a:lnTo>
                    <a:lnTo>
                      <a:pt x="234" y="240"/>
                    </a:lnTo>
                    <a:lnTo>
                      <a:pt x="228" y="252"/>
                    </a:lnTo>
                    <a:lnTo>
                      <a:pt x="222" y="258"/>
                    </a:lnTo>
                    <a:lnTo>
                      <a:pt x="210" y="258"/>
                    </a:lnTo>
                    <a:lnTo>
                      <a:pt x="198" y="282"/>
                    </a:lnTo>
                    <a:lnTo>
                      <a:pt x="198" y="318"/>
                    </a:lnTo>
                    <a:lnTo>
                      <a:pt x="216" y="324"/>
                    </a:lnTo>
                    <a:lnTo>
                      <a:pt x="222" y="342"/>
                    </a:lnTo>
                    <a:lnTo>
                      <a:pt x="240" y="342"/>
                    </a:lnTo>
                    <a:lnTo>
                      <a:pt x="246" y="348"/>
                    </a:lnTo>
                    <a:lnTo>
                      <a:pt x="246" y="360"/>
                    </a:lnTo>
                    <a:lnTo>
                      <a:pt x="240" y="366"/>
                    </a:lnTo>
                    <a:lnTo>
                      <a:pt x="240" y="414"/>
                    </a:lnTo>
                    <a:lnTo>
                      <a:pt x="234" y="426"/>
                    </a:lnTo>
                    <a:lnTo>
                      <a:pt x="240" y="450"/>
                    </a:lnTo>
                    <a:lnTo>
                      <a:pt x="234" y="456"/>
                    </a:lnTo>
                    <a:lnTo>
                      <a:pt x="222" y="462"/>
                    </a:lnTo>
                    <a:lnTo>
                      <a:pt x="222" y="486"/>
                    </a:lnTo>
                    <a:lnTo>
                      <a:pt x="216" y="498"/>
                    </a:lnTo>
                    <a:lnTo>
                      <a:pt x="210" y="504"/>
                    </a:lnTo>
                    <a:lnTo>
                      <a:pt x="198" y="504"/>
                    </a:lnTo>
                    <a:lnTo>
                      <a:pt x="192" y="498"/>
                    </a:lnTo>
                    <a:lnTo>
                      <a:pt x="192" y="468"/>
                    </a:lnTo>
                    <a:lnTo>
                      <a:pt x="186" y="468"/>
                    </a:lnTo>
                    <a:lnTo>
                      <a:pt x="180" y="474"/>
                    </a:lnTo>
                    <a:lnTo>
                      <a:pt x="174" y="486"/>
                    </a:lnTo>
                    <a:lnTo>
                      <a:pt x="168" y="492"/>
                    </a:lnTo>
                    <a:lnTo>
                      <a:pt x="138" y="492"/>
                    </a:lnTo>
                    <a:lnTo>
                      <a:pt x="120" y="450"/>
                    </a:lnTo>
                    <a:lnTo>
                      <a:pt x="90" y="450"/>
                    </a:lnTo>
                    <a:lnTo>
                      <a:pt x="90" y="456"/>
                    </a:lnTo>
                    <a:lnTo>
                      <a:pt x="108" y="474"/>
                    </a:lnTo>
                    <a:lnTo>
                      <a:pt x="96" y="480"/>
                    </a:lnTo>
                    <a:lnTo>
                      <a:pt x="90" y="492"/>
                    </a:lnTo>
                    <a:lnTo>
                      <a:pt x="84" y="498"/>
                    </a:lnTo>
                    <a:lnTo>
                      <a:pt x="66" y="498"/>
                    </a:lnTo>
                    <a:lnTo>
                      <a:pt x="54" y="492"/>
                    </a:lnTo>
                    <a:lnTo>
                      <a:pt x="42" y="492"/>
                    </a:lnTo>
                    <a:lnTo>
                      <a:pt x="36" y="486"/>
                    </a:lnTo>
                    <a:lnTo>
                      <a:pt x="30" y="486"/>
                    </a:lnTo>
                    <a:lnTo>
                      <a:pt x="30" y="504"/>
                    </a:lnTo>
                    <a:lnTo>
                      <a:pt x="36" y="510"/>
                    </a:lnTo>
                    <a:lnTo>
                      <a:pt x="36" y="522"/>
                    </a:lnTo>
                    <a:lnTo>
                      <a:pt x="24" y="522"/>
                    </a:lnTo>
                    <a:lnTo>
                      <a:pt x="54" y="540"/>
                    </a:lnTo>
                    <a:lnTo>
                      <a:pt x="36" y="552"/>
                    </a:lnTo>
                    <a:lnTo>
                      <a:pt x="54" y="564"/>
                    </a:lnTo>
                    <a:lnTo>
                      <a:pt x="54" y="600"/>
                    </a:lnTo>
                    <a:lnTo>
                      <a:pt x="48" y="606"/>
                    </a:lnTo>
                    <a:lnTo>
                      <a:pt x="30" y="588"/>
                    </a:lnTo>
                    <a:lnTo>
                      <a:pt x="6" y="600"/>
                    </a:lnTo>
                    <a:lnTo>
                      <a:pt x="0" y="618"/>
                    </a:lnTo>
                    <a:lnTo>
                      <a:pt x="54" y="666"/>
                    </a:lnTo>
                    <a:lnTo>
                      <a:pt x="54" y="684"/>
                    </a:lnTo>
                    <a:lnTo>
                      <a:pt x="72" y="702"/>
                    </a:lnTo>
                    <a:lnTo>
                      <a:pt x="72" y="690"/>
                    </a:lnTo>
                    <a:lnTo>
                      <a:pt x="90" y="690"/>
                    </a:lnTo>
                    <a:lnTo>
                      <a:pt x="90" y="672"/>
                    </a:lnTo>
                    <a:lnTo>
                      <a:pt x="102" y="666"/>
                    </a:lnTo>
                    <a:lnTo>
                      <a:pt x="108" y="660"/>
                    </a:lnTo>
                    <a:lnTo>
                      <a:pt x="120" y="654"/>
                    </a:lnTo>
                    <a:lnTo>
                      <a:pt x="126" y="648"/>
                    </a:lnTo>
                    <a:lnTo>
                      <a:pt x="132" y="654"/>
                    </a:lnTo>
                    <a:lnTo>
                      <a:pt x="132" y="660"/>
                    </a:lnTo>
                    <a:lnTo>
                      <a:pt x="138" y="666"/>
                    </a:lnTo>
                    <a:lnTo>
                      <a:pt x="138" y="672"/>
                    </a:lnTo>
                    <a:lnTo>
                      <a:pt x="150" y="672"/>
                    </a:lnTo>
                    <a:lnTo>
                      <a:pt x="150" y="678"/>
                    </a:lnTo>
                    <a:lnTo>
                      <a:pt x="156" y="684"/>
                    </a:lnTo>
                    <a:lnTo>
                      <a:pt x="156" y="690"/>
                    </a:lnTo>
                    <a:lnTo>
                      <a:pt x="162" y="696"/>
                    </a:lnTo>
                    <a:lnTo>
                      <a:pt x="174" y="696"/>
                    </a:lnTo>
                    <a:lnTo>
                      <a:pt x="180" y="690"/>
                    </a:lnTo>
                    <a:lnTo>
                      <a:pt x="186" y="678"/>
                    </a:lnTo>
                    <a:lnTo>
                      <a:pt x="186" y="660"/>
                    </a:lnTo>
                    <a:lnTo>
                      <a:pt x="210" y="666"/>
                    </a:lnTo>
                    <a:lnTo>
                      <a:pt x="228" y="648"/>
                    </a:lnTo>
                    <a:lnTo>
                      <a:pt x="234" y="648"/>
                    </a:lnTo>
                    <a:lnTo>
                      <a:pt x="234" y="678"/>
                    </a:lnTo>
                    <a:lnTo>
                      <a:pt x="228" y="690"/>
                    </a:lnTo>
                    <a:lnTo>
                      <a:pt x="234" y="696"/>
                    </a:lnTo>
                    <a:lnTo>
                      <a:pt x="252" y="696"/>
                    </a:lnTo>
                    <a:lnTo>
                      <a:pt x="264" y="690"/>
                    </a:lnTo>
                    <a:lnTo>
                      <a:pt x="270" y="684"/>
                    </a:lnTo>
                    <a:lnTo>
                      <a:pt x="276" y="672"/>
                    </a:lnTo>
                    <a:lnTo>
                      <a:pt x="294" y="654"/>
                    </a:lnTo>
                    <a:lnTo>
                      <a:pt x="300" y="642"/>
                    </a:lnTo>
                    <a:lnTo>
                      <a:pt x="312" y="630"/>
                    </a:lnTo>
                    <a:lnTo>
                      <a:pt x="330" y="630"/>
                    </a:lnTo>
                    <a:lnTo>
                      <a:pt x="336" y="624"/>
                    </a:lnTo>
                    <a:lnTo>
                      <a:pt x="366" y="582"/>
                    </a:lnTo>
                    <a:lnTo>
                      <a:pt x="360" y="480"/>
                    </a:lnTo>
                    <a:lnTo>
                      <a:pt x="366" y="480"/>
                    </a:lnTo>
                    <a:lnTo>
                      <a:pt x="390" y="456"/>
                    </a:lnTo>
                    <a:lnTo>
                      <a:pt x="390" y="420"/>
                    </a:lnTo>
                    <a:lnTo>
                      <a:pt x="396" y="408"/>
                    </a:lnTo>
                    <a:lnTo>
                      <a:pt x="402" y="402"/>
                    </a:lnTo>
                    <a:lnTo>
                      <a:pt x="450" y="378"/>
                    </a:lnTo>
                    <a:lnTo>
                      <a:pt x="456" y="366"/>
                    </a:lnTo>
                    <a:lnTo>
                      <a:pt x="468" y="360"/>
                    </a:lnTo>
                    <a:lnTo>
                      <a:pt x="474" y="354"/>
                    </a:lnTo>
                    <a:lnTo>
                      <a:pt x="474" y="300"/>
                    </a:lnTo>
                    <a:lnTo>
                      <a:pt x="486" y="294"/>
                    </a:lnTo>
                    <a:lnTo>
                      <a:pt x="492" y="282"/>
                    </a:lnTo>
                    <a:lnTo>
                      <a:pt x="492" y="258"/>
                    </a:lnTo>
                    <a:lnTo>
                      <a:pt x="486" y="246"/>
                    </a:lnTo>
                    <a:lnTo>
                      <a:pt x="480" y="240"/>
                    </a:lnTo>
                    <a:lnTo>
                      <a:pt x="480" y="228"/>
                    </a:lnTo>
                    <a:lnTo>
                      <a:pt x="498" y="192"/>
                    </a:lnTo>
                    <a:lnTo>
                      <a:pt x="498" y="168"/>
                    </a:lnTo>
                    <a:lnTo>
                      <a:pt x="492" y="156"/>
                    </a:lnTo>
                    <a:lnTo>
                      <a:pt x="492" y="126"/>
                    </a:lnTo>
                    <a:lnTo>
                      <a:pt x="498" y="120"/>
                    </a:lnTo>
                    <a:lnTo>
                      <a:pt x="510" y="96"/>
                    </a:lnTo>
                    <a:lnTo>
                      <a:pt x="522" y="84"/>
                    </a:lnTo>
                    <a:lnTo>
                      <a:pt x="528" y="66"/>
                    </a:lnTo>
                    <a:lnTo>
                      <a:pt x="534" y="54"/>
                    </a:lnTo>
                    <a:lnTo>
                      <a:pt x="534" y="18"/>
                    </a:lnTo>
                    <a:lnTo>
                      <a:pt x="522" y="6"/>
                    </a:lnTo>
                    <a:lnTo>
                      <a:pt x="510" y="18"/>
                    </a:lnTo>
                    <a:lnTo>
                      <a:pt x="498" y="18"/>
                    </a:lnTo>
                    <a:lnTo>
                      <a:pt x="462" y="0"/>
                    </a:lnTo>
                    <a:lnTo>
                      <a:pt x="444" y="0"/>
                    </a:lnTo>
                    <a:lnTo>
                      <a:pt x="426" y="18"/>
                    </a:lnTo>
                    <a:lnTo>
                      <a:pt x="396" y="18"/>
                    </a:lnTo>
                    <a:lnTo>
                      <a:pt x="378" y="48"/>
                    </a:lnTo>
                    <a:lnTo>
                      <a:pt x="390" y="60"/>
                    </a:lnTo>
                    <a:lnTo>
                      <a:pt x="390" y="84"/>
                    </a:lnTo>
                    <a:lnTo>
                      <a:pt x="384" y="96"/>
                    </a:lnTo>
                    <a:lnTo>
                      <a:pt x="378" y="102"/>
                    </a:lnTo>
                    <a:lnTo>
                      <a:pt x="372" y="114"/>
                    </a:lnTo>
                    <a:lnTo>
                      <a:pt x="366" y="120"/>
                    </a:lnTo>
                    <a:close/>
                  </a:path>
                </a:pathLst>
              </a:custGeom>
              <a:solidFill>
                <a:srgbClr val="9D90A0">
                  <a:lumMod val="40000"/>
                  <a:lumOff val="60000"/>
                </a:srgbClr>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157" name="Chad" descr="© INSCALE GmbH, 05.05.2010&#10;http://www.presentationload.com/">
                <a:extLst>
                  <a:ext uri="{FF2B5EF4-FFF2-40B4-BE49-F238E27FC236}">
                    <a16:creationId xmlns:a16="http://schemas.microsoft.com/office/drawing/2014/main" id="{F1B9F7AE-D3CD-4FD6-AC16-E545E52FE227}"/>
                  </a:ext>
                </a:extLst>
              </p:cNvPr>
              <p:cNvSpPr>
                <a:spLocks/>
              </p:cNvSpPr>
              <p:nvPr/>
            </p:nvSpPr>
            <p:spPr bwMode="gray">
              <a:xfrm>
                <a:off x="4590641" y="3722339"/>
                <a:ext cx="294823" cy="566593"/>
              </a:xfrm>
              <a:custGeom>
                <a:avLst/>
                <a:gdLst>
                  <a:gd name="T0" fmla="*/ 2147483647 w 744"/>
                  <a:gd name="T1" fmla="*/ 2147483647 h 1290"/>
                  <a:gd name="T2" fmla="*/ 2147483647 w 744"/>
                  <a:gd name="T3" fmla="*/ 0 h 1290"/>
                  <a:gd name="T4" fmla="*/ 2147483647 w 744"/>
                  <a:gd name="T5" fmla="*/ 2147483647 h 1290"/>
                  <a:gd name="T6" fmla="*/ 2147483647 w 744"/>
                  <a:gd name="T7" fmla="*/ 2147483647 h 1290"/>
                  <a:gd name="T8" fmla="*/ 2147483647 w 744"/>
                  <a:gd name="T9" fmla="*/ 2147483647 h 1290"/>
                  <a:gd name="T10" fmla="*/ 2147483647 w 744"/>
                  <a:gd name="T11" fmla="*/ 2147483647 h 1290"/>
                  <a:gd name="T12" fmla="*/ 2147483647 w 744"/>
                  <a:gd name="T13" fmla="*/ 2147483647 h 1290"/>
                  <a:gd name="T14" fmla="*/ 2147483647 w 744"/>
                  <a:gd name="T15" fmla="*/ 2147483647 h 1290"/>
                  <a:gd name="T16" fmla="*/ 2147483647 w 744"/>
                  <a:gd name="T17" fmla="*/ 2147483647 h 1290"/>
                  <a:gd name="T18" fmla="*/ 0 w 744"/>
                  <a:gd name="T19" fmla="*/ 2147483647 h 1290"/>
                  <a:gd name="T20" fmla="*/ 2147483647 w 744"/>
                  <a:gd name="T21" fmla="*/ 2147483647 h 1290"/>
                  <a:gd name="T22" fmla="*/ 2147483647 w 744"/>
                  <a:gd name="T23" fmla="*/ 2147483647 h 1290"/>
                  <a:gd name="T24" fmla="*/ 2147483647 w 744"/>
                  <a:gd name="T25" fmla="*/ 2147483647 h 1290"/>
                  <a:gd name="T26" fmla="*/ 2147483647 w 744"/>
                  <a:gd name="T27" fmla="*/ 2147483647 h 1290"/>
                  <a:gd name="T28" fmla="*/ 2147483647 w 744"/>
                  <a:gd name="T29" fmla="*/ 2147483647 h 1290"/>
                  <a:gd name="T30" fmla="*/ 2147483647 w 744"/>
                  <a:gd name="T31" fmla="*/ 2147483647 h 1290"/>
                  <a:gd name="T32" fmla="*/ 2147483647 w 744"/>
                  <a:gd name="T33" fmla="*/ 2147483647 h 1290"/>
                  <a:gd name="T34" fmla="*/ 2147483647 w 744"/>
                  <a:gd name="T35" fmla="*/ 2147483647 h 1290"/>
                  <a:gd name="T36" fmla="*/ 2147483647 w 744"/>
                  <a:gd name="T37" fmla="*/ 2147483647 h 1290"/>
                  <a:gd name="T38" fmla="*/ 2147483647 w 744"/>
                  <a:gd name="T39" fmla="*/ 2147483647 h 1290"/>
                  <a:gd name="T40" fmla="*/ 2147483647 w 744"/>
                  <a:gd name="T41" fmla="*/ 2147483647 h 1290"/>
                  <a:gd name="T42" fmla="*/ 2147483647 w 744"/>
                  <a:gd name="T43" fmla="*/ 2147483647 h 1290"/>
                  <a:gd name="T44" fmla="*/ 2147483647 w 744"/>
                  <a:gd name="T45" fmla="*/ 2147483647 h 1290"/>
                  <a:gd name="T46" fmla="*/ 2147483647 w 744"/>
                  <a:gd name="T47" fmla="*/ 2147483647 h 1290"/>
                  <a:gd name="T48" fmla="*/ 2147483647 w 744"/>
                  <a:gd name="T49" fmla="*/ 2147483647 h 1290"/>
                  <a:gd name="T50" fmla="*/ 2147483647 w 744"/>
                  <a:gd name="T51" fmla="*/ 2147483647 h 1290"/>
                  <a:gd name="T52" fmla="*/ 2147483647 w 744"/>
                  <a:gd name="T53" fmla="*/ 2147483647 h 1290"/>
                  <a:gd name="T54" fmla="*/ 2147483647 w 744"/>
                  <a:gd name="T55" fmla="*/ 2147483647 h 1290"/>
                  <a:gd name="T56" fmla="*/ 2147483647 w 744"/>
                  <a:gd name="T57" fmla="*/ 2147483647 h 1290"/>
                  <a:gd name="T58" fmla="*/ 2147483647 w 744"/>
                  <a:gd name="T59" fmla="*/ 2147483647 h 1290"/>
                  <a:gd name="T60" fmla="*/ 2147483647 w 744"/>
                  <a:gd name="T61" fmla="*/ 2147483647 h 1290"/>
                  <a:gd name="T62" fmla="*/ 2147483647 w 744"/>
                  <a:gd name="T63" fmla="*/ 2147483647 h 1290"/>
                  <a:gd name="T64" fmla="*/ 2147483647 w 744"/>
                  <a:gd name="T65" fmla="*/ 2147483647 h 1290"/>
                  <a:gd name="T66" fmla="*/ 2147483647 w 744"/>
                  <a:gd name="T67" fmla="*/ 2147483647 h 1290"/>
                  <a:gd name="T68" fmla="*/ 2147483647 w 744"/>
                  <a:gd name="T69" fmla="*/ 2147483647 h 1290"/>
                  <a:gd name="T70" fmla="*/ 2147483647 w 744"/>
                  <a:gd name="T71" fmla="*/ 2147483647 h 1290"/>
                  <a:gd name="T72" fmla="*/ 2147483647 w 744"/>
                  <a:gd name="T73" fmla="*/ 2147483647 h 1290"/>
                  <a:gd name="T74" fmla="*/ 2147483647 w 744"/>
                  <a:gd name="T75" fmla="*/ 2147483647 h 1290"/>
                  <a:gd name="T76" fmla="*/ 2147483647 w 744"/>
                  <a:gd name="T77" fmla="*/ 2147483647 h 1290"/>
                  <a:gd name="T78" fmla="*/ 2147483647 w 744"/>
                  <a:gd name="T79" fmla="*/ 2147483647 h 1290"/>
                  <a:gd name="T80" fmla="*/ 2147483647 w 744"/>
                  <a:gd name="T81" fmla="*/ 2147483647 h 1290"/>
                  <a:gd name="T82" fmla="*/ 2147483647 w 744"/>
                  <a:gd name="T83" fmla="*/ 2147483647 h 1290"/>
                  <a:gd name="T84" fmla="*/ 2147483647 w 744"/>
                  <a:gd name="T85" fmla="*/ 2147483647 h 1290"/>
                  <a:gd name="T86" fmla="*/ 2147483647 w 744"/>
                  <a:gd name="T87" fmla="*/ 2147483647 h 1290"/>
                  <a:gd name="T88" fmla="*/ 2147483647 w 744"/>
                  <a:gd name="T89" fmla="*/ 2147483647 h 1290"/>
                  <a:gd name="T90" fmla="*/ 2147483647 w 744"/>
                  <a:gd name="T91" fmla="*/ 2147483647 h 1290"/>
                  <a:gd name="T92" fmla="*/ 2147483647 w 744"/>
                  <a:gd name="T93" fmla="*/ 2147483647 h 129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44"/>
                  <a:gd name="T142" fmla="*/ 0 h 1290"/>
                  <a:gd name="T143" fmla="*/ 744 w 744"/>
                  <a:gd name="T144" fmla="*/ 1290 h 1290"/>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44" h="1290">
                    <a:moveTo>
                      <a:pt x="678" y="624"/>
                    </a:moveTo>
                    <a:lnTo>
                      <a:pt x="720" y="624"/>
                    </a:lnTo>
                    <a:lnTo>
                      <a:pt x="732" y="630"/>
                    </a:lnTo>
                    <a:lnTo>
                      <a:pt x="744" y="630"/>
                    </a:lnTo>
                    <a:lnTo>
                      <a:pt x="738" y="324"/>
                    </a:lnTo>
                    <a:lnTo>
                      <a:pt x="180" y="0"/>
                    </a:lnTo>
                    <a:lnTo>
                      <a:pt x="156" y="12"/>
                    </a:lnTo>
                    <a:lnTo>
                      <a:pt x="144" y="24"/>
                    </a:lnTo>
                    <a:lnTo>
                      <a:pt x="126" y="30"/>
                    </a:lnTo>
                    <a:lnTo>
                      <a:pt x="108" y="42"/>
                    </a:lnTo>
                    <a:lnTo>
                      <a:pt x="126" y="108"/>
                    </a:lnTo>
                    <a:lnTo>
                      <a:pt x="114" y="156"/>
                    </a:lnTo>
                    <a:lnTo>
                      <a:pt x="144" y="192"/>
                    </a:lnTo>
                    <a:lnTo>
                      <a:pt x="150" y="216"/>
                    </a:lnTo>
                    <a:lnTo>
                      <a:pt x="180" y="252"/>
                    </a:lnTo>
                    <a:lnTo>
                      <a:pt x="162" y="288"/>
                    </a:lnTo>
                    <a:lnTo>
                      <a:pt x="144" y="534"/>
                    </a:lnTo>
                    <a:lnTo>
                      <a:pt x="138" y="540"/>
                    </a:lnTo>
                    <a:lnTo>
                      <a:pt x="120" y="564"/>
                    </a:lnTo>
                    <a:lnTo>
                      <a:pt x="96" y="588"/>
                    </a:lnTo>
                    <a:lnTo>
                      <a:pt x="72" y="618"/>
                    </a:lnTo>
                    <a:lnTo>
                      <a:pt x="54" y="636"/>
                    </a:lnTo>
                    <a:lnTo>
                      <a:pt x="48" y="648"/>
                    </a:lnTo>
                    <a:lnTo>
                      <a:pt x="36" y="666"/>
                    </a:lnTo>
                    <a:lnTo>
                      <a:pt x="30" y="678"/>
                    </a:lnTo>
                    <a:lnTo>
                      <a:pt x="24" y="696"/>
                    </a:lnTo>
                    <a:lnTo>
                      <a:pt x="24" y="708"/>
                    </a:lnTo>
                    <a:lnTo>
                      <a:pt x="18" y="714"/>
                    </a:lnTo>
                    <a:lnTo>
                      <a:pt x="18" y="720"/>
                    </a:lnTo>
                    <a:lnTo>
                      <a:pt x="0" y="726"/>
                    </a:lnTo>
                    <a:lnTo>
                      <a:pt x="6" y="786"/>
                    </a:lnTo>
                    <a:lnTo>
                      <a:pt x="18" y="786"/>
                    </a:lnTo>
                    <a:lnTo>
                      <a:pt x="48" y="834"/>
                    </a:lnTo>
                    <a:lnTo>
                      <a:pt x="48" y="846"/>
                    </a:lnTo>
                    <a:lnTo>
                      <a:pt x="48" y="840"/>
                    </a:lnTo>
                    <a:lnTo>
                      <a:pt x="72" y="834"/>
                    </a:lnTo>
                    <a:lnTo>
                      <a:pt x="72" y="852"/>
                    </a:lnTo>
                    <a:lnTo>
                      <a:pt x="78" y="864"/>
                    </a:lnTo>
                    <a:lnTo>
                      <a:pt x="84" y="870"/>
                    </a:lnTo>
                    <a:lnTo>
                      <a:pt x="96" y="870"/>
                    </a:lnTo>
                    <a:lnTo>
                      <a:pt x="102" y="876"/>
                    </a:lnTo>
                    <a:lnTo>
                      <a:pt x="108" y="876"/>
                    </a:lnTo>
                    <a:lnTo>
                      <a:pt x="102" y="912"/>
                    </a:lnTo>
                    <a:lnTo>
                      <a:pt x="114" y="918"/>
                    </a:lnTo>
                    <a:lnTo>
                      <a:pt x="120" y="930"/>
                    </a:lnTo>
                    <a:lnTo>
                      <a:pt x="120" y="966"/>
                    </a:lnTo>
                    <a:lnTo>
                      <a:pt x="114" y="966"/>
                    </a:lnTo>
                    <a:lnTo>
                      <a:pt x="114" y="1002"/>
                    </a:lnTo>
                    <a:lnTo>
                      <a:pt x="120" y="1020"/>
                    </a:lnTo>
                    <a:lnTo>
                      <a:pt x="120" y="1038"/>
                    </a:lnTo>
                    <a:lnTo>
                      <a:pt x="126" y="1050"/>
                    </a:lnTo>
                    <a:lnTo>
                      <a:pt x="138" y="1056"/>
                    </a:lnTo>
                    <a:lnTo>
                      <a:pt x="144" y="1068"/>
                    </a:lnTo>
                    <a:lnTo>
                      <a:pt x="162" y="1086"/>
                    </a:lnTo>
                    <a:lnTo>
                      <a:pt x="66" y="1086"/>
                    </a:lnTo>
                    <a:lnTo>
                      <a:pt x="54" y="1092"/>
                    </a:lnTo>
                    <a:lnTo>
                      <a:pt x="48" y="1098"/>
                    </a:lnTo>
                    <a:lnTo>
                      <a:pt x="48" y="1110"/>
                    </a:lnTo>
                    <a:lnTo>
                      <a:pt x="60" y="1134"/>
                    </a:lnTo>
                    <a:lnTo>
                      <a:pt x="72" y="1146"/>
                    </a:lnTo>
                    <a:lnTo>
                      <a:pt x="78" y="1158"/>
                    </a:lnTo>
                    <a:lnTo>
                      <a:pt x="90" y="1170"/>
                    </a:lnTo>
                    <a:lnTo>
                      <a:pt x="108" y="1182"/>
                    </a:lnTo>
                    <a:lnTo>
                      <a:pt x="120" y="1188"/>
                    </a:lnTo>
                    <a:lnTo>
                      <a:pt x="132" y="1200"/>
                    </a:lnTo>
                    <a:lnTo>
                      <a:pt x="144" y="1224"/>
                    </a:lnTo>
                    <a:lnTo>
                      <a:pt x="144" y="1242"/>
                    </a:lnTo>
                    <a:lnTo>
                      <a:pt x="150" y="1254"/>
                    </a:lnTo>
                    <a:lnTo>
                      <a:pt x="156" y="1272"/>
                    </a:lnTo>
                    <a:lnTo>
                      <a:pt x="156" y="1284"/>
                    </a:lnTo>
                    <a:lnTo>
                      <a:pt x="162" y="1284"/>
                    </a:lnTo>
                    <a:lnTo>
                      <a:pt x="168" y="1290"/>
                    </a:lnTo>
                    <a:lnTo>
                      <a:pt x="186" y="1290"/>
                    </a:lnTo>
                    <a:lnTo>
                      <a:pt x="198" y="1284"/>
                    </a:lnTo>
                    <a:lnTo>
                      <a:pt x="216" y="1266"/>
                    </a:lnTo>
                    <a:lnTo>
                      <a:pt x="228" y="1260"/>
                    </a:lnTo>
                    <a:lnTo>
                      <a:pt x="234" y="1254"/>
                    </a:lnTo>
                    <a:lnTo>
                      <a:pt x="234" y="1278"/>
                    </a:lnTo>
                    <a:lnTo>
                      <a:pt x="240" y="1284"/>
                    </a:lnTo>
                    <a:lnTo>
                      <a:pt x="246" y="1284"/>
                    </a:lnTo>
                    <a:lnTo>
                      <a:pt x="258" y="1278"/>
                    </a:lnTo>
                    <a:lnTo>
                      <a:pt x="270" y="1266"/>
                    </a:lnTo>
                    <a:lnTo>
                      <a:pt x="276" y="1254"/>
                    </a:lnTo>
                    <a:lnTo>
                      <a:pt x="282" y="1248"/>
                    </a:lnTo>
                    <a:lnTo>
                      <a:pt x="372" y="1248"/>
                    </a:lnTo>
                    <a:lnTo>
                      <a:pt x="378" y="1242"/>
                    </a:lnTo>
                    <a:lnTo>
                      <a:pt x="384" y="1230"/>
                    </a:lnTo>
                    <a:lnTo>
                      <a:pt x="390" y="1224"/>
                    </a:lnTo>
                    <a:lnTo>
                      <a:pt x="396" y="1212"/>
                    </a:lnTo>
                    <a:lnTo>
                      <a:pt x="402" y="1206"/>
                    </a:lnTo>
                    <a:lnTo>
                      <a:pt x="402" y="1194"/>
                    </a:lnTo>
                    <a:lnTo>
                      <a:pt x="390" y="1182"/>
                    </a:lnTo>
                    <a:lnTo>
                      <a:pt x="384" y="1182"/>
                    </a:lnTo>
                    <a:lnTo>
                      <a:pt x="402" y="1170"/>
                    </a:lnTo>
                    <a:lnTo>
                      <a:pt x="420" y="1170"/>
                    </a:lnTo>
                    <a:lnTo>
                      <a:pt x="462" y="1164"/>
                    </a:lnTo>
                    <a:lnTo>
                      <a:pt x="510" y="1146"/>
                    </a:lnTo>
                    <a:lnTo>
                      <a:pt x="528" y="1134"/>
                    </a:lnTo>
                    <a:lnTo>
                      <a:pt x="552" y="1110"/>
                    </a:lnTo>
                    <a:lnTo>
                      <a:pt x="552" y="1092"/>
                    </a:lnTo>
                    <a:lnTo>
                      <a:pt x="588" y="1068"/>
                    </a:lnTo>
                    <a:lnTo>
                      <a:pt x="594" y="1038"/>
                    </a:lnTo>
                    <a:lnTo>
                      <a:pt x="648" y="1008"/>
                    </a:lnTo>
                    <a:lnTo>
                      <a:pt x="672" y="1008"/>
                    </a:lnTo>
                    <a:lnTo>
                      <a:pt x="672" y="996"/>
                    </a:lnTo>
                    <a:lnTo>
                      <a:pt x="684" y="996"/>
                    </a:lnTo>
                    <a:lnTo>
                      <a:pt x="684" y="990"/>
                    </a:lnTo>
                    <a:lnTo>
                      <a:pt x="678" y="984"/>
                    </a:lnTo>
                    <a:lnTo>
                      <a:pt x="666" y="966"/>
                    </a:lnTo>
                    <a:lnTo>
                      <a:pt x="654" y="960"/>
                    </a:lnTo>
                    <a:lnTo>
                      <a:pt x="648" y="960"/>
                    </a:lnTo>
                    <a:lnTo>
                      <a:pt x="642" y="936"/>
                    </a:lnTo>
                    <a:lnTo>
                      <a:pt x="660" y="930"/>
                    </a:lnTo>
                    <a:lnTo>
                      <a:pt x="642" y="918"/>
                    </a:lnTo>
                    <a:lnTo>
                      <a:pt x="642" y="876"/>
                    </a:lnTo>
                    <a:lnTo>
                      <a:pt x="636" y="870"/>
                    </a:lnTo>
                    <a:lnTo>
                      <a:pt x="624" y="870"/>
                    </a:lnTo>
                    <a:lnTo>
                      <a:pt x="618" y="876"/>
                    </a:lnTo>
                    <a:lnTo>
                      <a:pt x="606" y="876"/>
                    </a:lnTo>
                    <a:lnTo>
                      <a:pt x="600" y="870"/>
                    </a:lnTo>
                    <a:lnTo>
                      <a:pt x="600" y="852"/>
                    </a:lnTo>
                    <a:lnTo>
                      <a:pt x="606" y="840"/>
                    </a:lnTo>
                    <a:lnTo>
                      <a:pt x="618" y="834"/>
                    </a:lnTo>
                    <a:lnTo>
                      <a:pt x="630" y="822"/>
                    </a:lnTo>
                    <a:lnTo>
                      <a:pt x="630" y="810"/>
                    </a:lnTo>
                    <a:lnTo>
                      <a:pt x="618" y="786"/>
                    </a:lnTo>
                    <a:lnTo>
                      <a:pt x="612" y="780"/>
                    </a:lnTo>
                    <a:lnTo>
                      <a:pt x="630" y="762"/>
                    </a:lnTo>
                    <a:lnTo>
                      <a:pt x="648" y="750"/>
                    </a:lnTo>
                    <a:lnTo>
                      <a:pt x="642" y="732"/>
                    </a:lnTo>
                    <a:lnTo>
                      <a:pt x="636" y="708"/>
                    </a:lnTo>
                    <a:lnTo>
                      <a:pt x="648" y="708"/>
                    </a:lnTo>
                    <a:lnTo>
                      <a:pt x="648" y="690"/>
                    </a:lnTo>
                    <a:lnTo>
                      <a:pt x="660" y="678"/>
                    </a:lnTo>
                    <a:lnTo>
                      <a:pt x="672" y="672"/>
                    </a:lnTo>
                    <a:lnTo>
                      <a:pt x="678" y="666"/>
                    </a:lnTo>
                    <a:lnTo>
                      <a:pt x="678" y="660"/>
                    </a:lnTo>
                    <a:lnTo>
                      <a:pt x="672" y="654"/>
                    </a:lnTo>
                    <a:lnTo>
                      <a:pt x="672" y="642"/>
                    </a:lnTo>
                    <a:lnTo>
                      <a:pt x="666" y="636"/>
                    </a:lnTo>
                    <a:lnTo>
                      <a:pt x="678" y="624"/>
                    </a:lnTo>
                    <a:close/>
                  </a:path>
                </a:pathLst>
              </a:custGeom>
              <a:solidFill>
                <a:srgbClr val="9D90A0">
                  <a:lumMod val="40000"/>
                  <a:lumOff val="60000"/>
                </a:srgbClr>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158" name="Central African Republic" descr="© INSCALE GmbH, 05.05.2010&#10;http://www.presentationload.com/">
                <a:extLst>
                  <a:ext uri="{FF2B5EF4-FFF2-40B4-BE49-F238E27FC236}">
                    <a16:creationId xmlns:a16="http://schemas.microsoft.com/office/drawing/2014/main" id="{283DCE7E-134E-4551-980F-F871433F3B2E}"/>
                  </a:ext>
                </a:extLst>
              </p:cNvPr>
              <p:cNvSpPr>
                <a:spLocks/>
              </p:cNvSpPr>
              <p:nvPr/>
            </p:nvSpPr>
            <p:spPr bwMode="gray">
              <a:xfrm>
                <a:off x="4618720" y="4164177"/>
                <a:ext cx="361899" cy="308421"/>
              </a:xfrm>
              <a:custGeom>
                <a:avLst/>
                <a:gdLst>
                  <a:gd name="T0" fmla="*/ 2147483647 w 912"/>
                  <a:gd name="T1" fmla="*/ 2147483647 h 702"/>
                  <a:gd name="T2" fmla="*/ 2147483647 w 912"/>
                  <a:gd name="T3" fmla="*/ 2147483647 h 702"/>
                  <a:gd name="T4" fmla="*/ 2147483647 w 912"/>
                  <a:gd name="T5" fmla="*/ 2147483647 h 702"/>
                  <a:gd name="T6" fmla="*/ 2147483647 w 912"/>
                  <a:gd name="T7" fmla="*/ 2147483647 h 702"/>
                  <a:gd name="T8" fmla="*/ 2147483647 w 912"/>
                  <a:gd name="T9" fmla="*/ 2147483647 h 702"/>
                  <a:gd name="T10" fmla="*/ 2147483647 w 912"/>
                  <a:gd name="T11" fmla="*/ 2147483647 h 702"/>
                  <a:gd name="T12" fmla="*/ 2147483647 w 912"/>
                  <a:gd name="T13" fmla="*/ 2147483647 h 702"/>
                  <a:gd name="T14" fmla="*/ 2147483647 w 912"/>
                  <a:gd name="T15" fmla="*/ 2147483647 h 702"/>
                  <a:gd name="T16" fmla="*/ 2147483647 w 912"/>
                  <a:gd name="T17" fmla="*/ 2147483647 h 702"/>
                  <a:gd name="T18" fmla="*/ 2147483647 w 912"/>
                  <a:gd name="T19" fmla="*/ 2147483647 h 702"/>
                  <a:gd name="T20" fmla="*/ 2147483647 w 912"/>
                  <a:gd name="T21" fmla="*/ 2147483647 h 702"/>
                  <a:gd name="T22" fmla="*/ 2147483647 w 912"/>
                  <a:gd name="T23" fmla="*/ 2147483647 h 702"/>
                  <a:gd name="T24" fmla="*/ 2147483647 w 912"/>
                  <a:gd name="T25" fmla="*/ 2147483647 h 702"/>
                  <a:gd name="T26" fmla="*/ 2147483647 w 912"/>
                  <a:gd name="T27" fmla="*/ 2147483647 h 702"/>
                  <a:gd name="T28" fmla="*/ 2147483647 w 912"/>
                  <a:gd name="T29" fmla="*/ 2147483647 h 702"/>
                  <a:gd name="T30" fmla="*/ 2147483647 w 912"/>
                  <a:gd name="T31" fmla="*/ 0 h 702"/>
                  <a:gd name="T32" fmla="*/ 2147483647 w 912"/>
                  <a:gd name="T33" fmla="*/ 2147483647 h 702"/>
                  <a:gd name="T34" fmla="*/ 2147483647 w 912"/>
                  <a:gd name="T35" fmla="*/ 2147483647 h 702"/>
                  <a:gd name="T36" fmla="*/ 2147483647 w 912"/>
                  <a:gd name="T37" fmla="*/ 2147483647 h 702"/>
                  <a:gd name="T38" fmla="*/ 2147483647 w 912"/>
                  <a:gd name="T39" fmla="*/ 2147483647 h 702"/>
                  <a:gd name="T40" fmla="*/ 2147483647 w 912"/>
                  <a:gd name="T41" fmla="*/ 2147483647 h 702"/>
                  <a:gd name="T42" fmla="*/ 2147483647 w 912"/>
                  <a:gd name="T43" fmla="*/ 2147483647 h 702"/>
                  <a:gd name="T44" fmla="*/ 2147483647 w 912"/>
                  <a:gd name="T45" fmla="*/ 2147483647 h 702"/>
                  <a:gd name="T46" fmla="*/ 2147483647 w 912"/>
                  <a:gd name="T47" fmla="*/ 2147483647 h 702"/>
                  <a:gd name="T48" fmla="*/ 2147483647 w 912"/>
                  <a:gd name="T49" fmla="*/ 2147483647 h 702"/>
                  <a:gd name="T50" fmla="*/ 2147483647 w 912"/>
                  <a:gd name="T51" fmla="*/ 2147483647 h 702"/>
                  <a:gd name="T52" fmla="*/ 2147483647 w 912"/>
                  <a:gd name="T53" fmla="*/ 2147483647 h 702"/>
                  <a:gd name="T54" fmla="*/ 2147483647 w 912"/>
                  <a:gd name="T55" fmla="*/ 2147483647 h 702"/>
                  <a:gd name="T56" fmla="*/ 2147483647 w 912"/>
                  <a:gd name="T57" fmla="*/ 2147483647 h 702"/>
                  <a:gd name="T58" fmla="*/ 2147483647 w 912"/>
                  <a:gd name="T59" fmla="*/ 2147483647 h 702"/>
                  <a:gd name="T60" fmla="*/ 0 w 912"/>
                  <a:gd name="T61" fmla="*/ 2147483647 h 702"/>
                  <a:gd name="T62" fmla="*/ 2147483647 w 912"/>
                  <a:gd name="T63" fmla="*/ 2147483647 h 702"/>
                  <a:gd name="T64" fmla="*/ 2147483647 w 912"/>
                  <a:gd name="T65" fmla="*/ 2147483647 h 702"/>
                  <a:gd name="T66" fmla="*/ 2147483647 w 912"/>
                  <a:gd name="T67" fmla="*/ 2147483647 h 702"/>
                  <a:gd name="T68" fmla="*/ 2147483647 w 912"/>
                  <a:gd name="T69" fmla="*/ 2147483647 h 702"/>
                  <a:gd name="T70" fmla="*/ 2147483647 w 912"/>
                  <a:gd name="T71" fmla="*/ 2147483647 h 702"/>
                  <a:gd name="T72" fmla="*/ 2147483647 w 912"/>
                  <a:gd name="T73" fmla="*/ 2147483647 h 702"/>
                  <a:gd name="T74" fmla="*/ 2147483647 w 912"/>
                  <a:gd name="T75" fmla="*/ 2147483647 h 702"/>
                  <a:gd name="T76" fmla="*/ 2147483647 w 912"/>
                  <a:gd name="T77" fmla="*/ 2147483647 h 702"/>
                  <a:gd name="T78" fmla="*/ 2147483647 w 912"/>
                  <a:gd name="T79" fmla="*/ 2147483647 h 702"/>
                  <a:gd name="T80" fmla="*/ 2147483647 w 912"/>
                  <a:gd name="T81" fmla="*/ 2147483647 h 702"/>
                  <a:gd name="T82" fmla="*/ 2147483647 w 912"/>
                  <a:gd name="T83" fmla="*/ 2147483647 h 702"/>
                  <a:gd name="T84" fmla="*/ 2147483647 w 912"/>
                  <a:gd name="T85" fmla="*/ 2147483647 h 702"/>
                  <a:gd name="T86" fmla="*/ 2147483647 w 912"/>
                  <a:gd name="T87" fmla="*/ 2147483647 h 702"/>
                  <a:gd name="T88" fmla="*/ 2147483647 w 912"/>
                  <a:gd name="T89" fmla="*/ 2147483647 h 702"/>
                  <a:gd name="T90" fmla="*/ 2147483647 w 912"/>
                  <a:gd name="T91" fmla="*/ 2147483647 h 702"/>
                  <a:gd name="T92" fmla="*/ 2147483647 w 912"/>
                  <a:gd name="T93" fmla="*/ 2147483647 h 702"/>
                  <a:gd name="T94" fmla="*/ 2147483647 w 912"/>
                  <a:gd name="T95" fmla="*/ 2147483647 h 702"/>
                  <a:gd name="T96" fmla="*/ 2147483647 w 912"/>
                  <a:gd name="T97" fmla="*/ 2147483647 h 702"/>
                  <a:gd name="T98" fmla="*/ 2147483647 w 912"/>
                  <a:gd name="T99" fmla="*/ 2147483647 h 702"/>
                  <a:gd name="T100" fmla="*/ 2147483647 w 912"/>
                  <a:gd name="T101" fmla="*/ 2147483647 h 702"/>
                  <a:gd name="T102" fmla="*/ 2147483647 w 912"/>
                  <a:gd name="T103" fmla="*/ 2147483647 h 702"/>
                  <a:gd name="T104" fmla="*/ 2147483647 w 912"/>
                  <a:gd name="T105" fmla="*/ 2147483647 h 702"/>
                  <a:gd name="T106" fmla="*/ 2147483647 w 912"/>
                  <a:gd name="T107" fmla="*/ 2147483647 h 702"/>
                  <a:gd name="T108" fmla="*/ 2147483647 w 912"/>
                  <a:gd name="T109" fmla="*/ 2147483647 h 702"/>
                  <a:gd name="T110" fmla="*/ 2147483647 w 912"/>
                  <a:gd name="T111" fmla="*/ 2147483647 h 702"/>
                  <a:gd name="T112" fmla="*/ 2147483647 w 912"/>
                  <a:gd name="T113" fmla="*/ 2147483647 h 702"/>
                  <a:gd name="T114" fmla="*/ 2147483647 w 912"/>
                  <a:gd name="T115" fmla="*/ 2147483647 h 702"/>
                  <a:gd name="T116" fmla="*/ 2147483647 w 912"/>
                  <a:gd name="T117" fmla="*/ 2147483647 h 702"/>
                  <a:gd name="T118" fmla="*/ 2147483647 w 912"/>
                  <a:gd name="T119" fmla="*/ 2147483647 h 702"/>
                  <a:gd name="T120" fmla="*/ 2147483647 w 912"/>
                  <a:gd name="T121" fmla="*/ 2147483647 h 70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912"/>
                  <a:gd name="T184" fmla="*/ 0 h 702"/>
                  <a:gd name="T185" fmla="*/ 912 w 912"/>
                  <a:gd name="T186" fmla="*/ 702 h 702"/>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912" h="702">
                    <a:moveTo>
                      <a:pt x="906" y="420"/>
                    </a:moveTo>
                    <a:lnTo>
                      <a:pt x="900" y="414"/>
                    </a:lnTo>
                    <a:lnTo>
                      <a:pt x="888" y="408"/>
                    </a:lnTo>
                    <a:lnTo>
                      <a:pt x="882" y="402"/>
                    </a:lnTo>
                    <a:lnTo>
                      <a:pt x="858" y="396"/>
                    </a:lnTo>
                    <a:lnTo>
                      <a:pt x="858" y="378"/>
                    </a:lnTo>
                    <a:lnTo>
                      <a:pt x="846" y="366"/>
                    </a:lnTo>
                    <a:lnTo>
                      <a:pt x="846" y="360"/>
                    </a:lnTo>
                    <a:lnTo>
                      <a:pt x="858" y="360"/>
                    </a:lnTo>
                    <a:lnTo>
                      <a:pt x="858" y="348"/>
                    </a:lnTo>
                    <a:lnTo>
                      <a:pt x="852" y="342"/>
                    </a:lnTo>
                    <a:lnTo>
                      <a:pt x="834" y="342"/>
                    </a:lnTo>
                    <a:lnTo>
                      <a:pt x="834" y="336"/>
                    </a:lnTo>
                    <a:lnTo>
                      <a:pt x="828" y="330"/>
                    </a:lnTo>
                    <a:lnTo>
                      <a:pt x="822" y="318"/>
                    </a:lnTo>
                    <a:lnTo>
                      <a:pt x="810" y="306"/>
                    </a:lnTo>
                    <a:lnTo>
                      <a:pt x="798" y="300"/>
                    </a:lnTo>
                    <a:lnTo>
                      <a:pt x="792" y="300"/>
                    </a:lnTo>
                    <a:lnTo>
                      <a:pt x="780" y="294"/>
                    </a:lnTo>
                    <a:lnTo>
                      <a:pt x="768" y="282"/>
                    </a:lnTo>
                    <a:lnTo>
                      <a:pt x="768" y="276"/>
                    </a:lnTo>
                    <a:lnTo>
                      <a:pt x="774" y="276"/>
                    </a:lnTo>
                    <a:lnTo>
                      <a:pt x="774" y="270"/>
                    </a:lnTo>
                    <a:lnTo>
                      <a:pt x="780" y="270"/>
                    </a:lnTo>
                    <a:lnTo>
                      <a:pt x="780" y="264"/>
                    </a:lnTo>
                    <a:lnTo>
                      <a:pt x="768" y="252"/>
                    </a:lnTo>
                    <a:lnTo>
                      <a:pt x="756" y="246"/>
                    </a:lnTo>
                    <a:lnTo>
                      <a:pt x="750" y="246"/>
                    </a:lnTo>
                    <a:lnTo>
                      <a:pt x="750" y="228"/>
                    </a:lnTo>
                    <a:lnTo>
                      <a:pt x="720" y="228"/>
                    </a:lnTo>
                    <a:lnTo>
                      <a:pt x="696" y="216"/>
                    </a:lnTo>
                    <a:lnTo>
                      <a:pt x="696" y="186"/>
                    </a:lnTo>
                    <a:lnTo>
                      <a:pt x="648" y="180"/>
                    </a:lnTo>
                    <a:lnTo>
                      <a:pt x="654" y="162"/>
                    </a:lnTo>
                    <a:lnTo>
                      <a:pt x="648" y="162"/>
                    </a:lnTo>
                    <a:lnTo>
                      <a:pt x="642" y="156"/>
                    </a:lnTo>
                    <a:lnTo>
                      <a:pt x="642" y="150"/>
                    </a:lnTo>
                    <a:lnTo>
                      <a:pt x="648" y="144"/>
                    </a:lnTo>
                    <a:lnTo>
                      <a:pt x="654" y="132"/>
                    </a:lnTo>
                    <a:lnTo>
                      <a:pt x="660" y="126"/>
                    </a:lnTo>
                    <a:lnTo>
                      <a:pt x="660" y="96"/>
                    </a:lnTo>
                    <a:lnTo>
                      <a:pt x="654" y="84"/>
                    </a:lnTo>
                    <a:lnTo>
                      <a:pt x="648" y="66"/>
                    </a:lnTo>
                    <a:lnTo>
                      <a:pt x="636" y="54"/>
                    </a:lnTo>
                    <a:lnTo>
                      <a:pt x="630" y="42"/>
                    </a:lnTo>
                    <a:lnTo>
                      <a:pt x="600" y="12"/>
                    </a:lnTo>
                    <a:lnTo>
                      <a:pt x="600" y="0"/>
                    </a:lnTo>
                    <a:lnTo>
                      <a:pt x="576" y="0"/>
                    </a:lnTo>
                    <a:lnTo>
                      <a:pt x="522" y="30"/>
                    </a:lnTo>
                    <a:lnTo>
                      <a:pt x="516" y="60"/>
                    </a:lnTo>
                    <a:lnTo>
                      <a:pt x="480" y="84"/>
                    </a:lnTo>
                    <a:lnTo>
                      <a:pt x="480" y="102"/>
                    </a:lnTo>
                    <a:lnTo>
                      <a:pt x="456" y="126"/>
                    </a:lnTo>
                    <a:lnTo>
                      <a:pt x="438" y="138"/>
                    </a:lnTo>
                    <a:lnTo>
                      <a:pt x="390" y="156"/>
                    </a:lnTo>
                    <a:lnTo>
                      <a:pt x="348" y="162"/>
                    </a:lnTo>
                    <a:lnTo>
                      <a:pt x="330" y="162"/>
                    </a:lnTo>
                    <a:lnTo>
                      <a:pt x="312" y="174"/>
                    </a:lnTo>
                    <a:lnTo>
                      <a:pt x="318" y="174"/>
                    </a:lnTo>
                    <a:lnTo>
                      <a:pt x="330" y="186"/>
                    </a:lnTo>
                    <a:lnTo>
                      <a:pt x="330" y="198"/>
                    </a:lnTo>
                    <a:lnTo>
                      <a:pt x="324" y="204"/>
                    </a:lnTo>
                    <a:lnTo>
                      <a:pt x="318" y="216"/>
                    </a:lnTo>
                    <a:lnTo>
                      <a:pt x="312" y="222"/>
                    </a:lnTo>
                    <a:lnTo>
                      <a:pt x="306" y="234"/>
                    </a:lnTo>
                    <a:lnTo>
                      <a:pt x="300" y="240"/>
                    </a:lnTo>
                    <a:lnTo>
                      <a:pt x="210" y="240"/>
                    </a:lnTo>
                    <a:lnTo>
                      <a:pt x="204" y="246"/>
                    </a:lnTo>
                    <a:lnTo>
                      <a:pt x="198" y="258"/>
                    </a:lnTo>
                    <a:lnTo>
                      <a:pt x="186" y="270"/>
                    </a:lnTo>
                    <a:lnTo>
                      <a:pt x="174" y="276"/>
                    </a:lnTo>
                    <a:lnTo>
                      <a:pt x="168" y="276"/>
                    </a:lnTo>
                    <a:lnTo>
                      <a:pt x="162" y="270"/>
                    </a:lnTo>
                    <a:lnTo>
                      <a:pt x="162" y="246"/>
                    </a:lnTo>
                    <a:lnTo>
                      <a:pt x="156" y="252"/>
                    </a:lnTo>
                    <a:lnTo>
                      <a:pt x="144" y="258"/>
                    </a:lnTo>
                    <a:lnTo>
                      <a:pt x="126" y="276"/>
                    </a:lnTo>
                    <a:lnTo>
                      <a:pt x="114" y="282"/>
                    </a:lnTo>
                    <a:lnTo>
                      <a:pt x="96" y="282"/>
                    </a:lnTo>
                    <a:lnTo>
                      <a:pt x="90" y="276"/>
                    </a:lnTo>
                    <a:lnTo>
                      <a:pt x="78" y="276"/>
                    </a:lnTo>
                    <a:lnTo>
                      <a:pt x="66" y="288"/>
                    </a:lnTo>
                    <a:lnTo>
                      <a:pt x="60" y="300"/>
                    </a:lnTo>
                    <a:lnTo>
                      <a:pt x="54" y="306"/>
                    </a:lnTo>
                    <a:lnTo>
                      <a:pt x="54" y="324"/>
                    </a:lnTo>
                    <a:lnTo>
                      <a:pt x="48" y="336"/>
                    </a:lnTo>
                    <a:lnTo>
                      <a:pt x="42" y="336"/>
                    </a:lnTo>
                    <a:lnTo>
                      <a:pt x="36" y="372"/>
                    </a:lnTo>
                    <a:lnTo>
                      <a:pt x="30" y="372"/>
                    </a:lnTo>
                    <a:lnTo>
                      <a:pt x="24" y="378"/>
                    </a:lnTo>
                    <a:lnTo>
                      <a:pt x="12" y="384"/>
                    </a:lnTo>
                    <a:lnTo>
                      <a:pt x="0" y="396"/>
                    </a:lnTo>
                    <a:lnTo>
                      <a:pt x="0" y="402"/>
                    </a:lnTo>
                    <a:lnTo>
                      <a:pt x="12" y="408"/>
                    </a:lnTo>
                    <a:lnTo>
                      <a:pt x="18" y="408"/>
                    </a:lnTo>
                    <a:lnTo>
                      <a:pt x="18" y="444"/>
                    </a:lnTo>
                    <a:lnTo>
                      <a:pt x="6" y="456"/>
                    </a:lnTo>
                    <a:lnTo>
                      <a:pt x="24" y="468"/>
                    </a:lnTo>
                    <a:lnTo>
                      <a:pt x="24" y="516"/>
                    </a:lnTo>
                    <a:lnTo>
                      <a:pt x="30" y="516"/>
                    </a:lnTo>
                    <a:lnTo>
                      <a:pt x="48" y="534"/>
                    </a:lnTo>
                    <a:lnTo>
                      <a:pt x="54" y="534"/>
                    </a:lnTo>
                    <a:lnTo>
                      <a:pt x="54" y="576"/>
                    </a:lnTo>
                    <a:lnTo>
                      <a:pt x="60" y="582"/>
                    </a:lnTo>
                    <a:lnTo>
                      <a:pt x="72" y="606"/>
                    </a:lnTo>
                    <a:lnTo>
                      <a:pt x="84" y="618"/>
                    </a:lnTo>
                    <a:lnTo>
                      <a:pt x="96" y="624"/>
                    </a:lnTo>
                    <a:lnTo>
                      <a:pt x="102" y="636"/>
                    </a:lnTo>
                    <a:lnTo>
                      <a:pt x="114" y="642"/>
                    </a:lnTo>
                    <a:lnTo>
                      <a:pt x="120" y="660"/>
                    </a:lnTo>
                    <a:lnTo>
                      <a:pt x="120" y="690"/>
                    </a:lnTo>
                    <a:lnTo>
                      <a:pt x="132" y="702"/>
                    </a:lnTo>
                    <a:lnTo>
                      <a:pt x="138" y="696"/>
                    </a:lnTo>
                    <a:lnTo>
                      <a:pt x="144" y="684"/>
                    </a:lnTo>
                    <a:lnTo>
                      <a:pt x="150" y="678"/>
                    </a:lnTo>
                    <a:lnTo>
                      <a:pt x="156" y="666"/>
                    </a:lnTo>
                    <a:lnTo>
                      <a:pt x="156" y="642"/>
                    </a:lnTo>
                    <a:lnTo>
                      <a:pt x="144" y="630"/>
                    </a:lnTo>
                    <a:lnTo>
                      <a:pt x="162" y="600"/>
                    </a:lnTo>
                    <a:lnTo>
                      <a:pt x="192" y="600"/>
                    </a:lnTo>
                    <a:lnTo>
                      <a:pt x="210" y="582"/>
                    </a:lnTo>
                    <a:lnTo>
                      <a:pt x="228" y="582"/>
                    </a:lnTo>
                    <a:lnTo>
                      <a:pt x="264" y="600"/>
                    </a:lnTo>
                    <a:lnTo>
                      <a:pt x="276" y="600"/>
                    </a:lnTo>
                    <a:lnTo>
                      <a:pt x="288" y="588"/>
                    </a:lnTo>
                    <a:lnTo>
                      <a:pt x="300" y="570"/>
                    </a:lnTo>
                    <a:lnTo>
                      <a:pt x="300" y="552"/>
                    </a:lnTo>
                    <a:lnTo>
                      <a:pt x="294" y="552"/>
                    </a:lnTo>
                    <a:lnTo>
                      <a:pt x="294" y="540"/>
                    </a:lnTo>
                    <a:lnTo>
                      <a:pt x="306" y="528"/>
                    </a:lnTo>
                    <a:lnTo>
                      <a:pt x="312" y="528"/>
                    </a:lnTo>
                    <a:lnTo>
                      <a:pt x="324" y="516"/>
                    </a:lnTo>
                    <a:lnTo>
                      <a:pt x="330" y="504"/>
                    </a:lnTo>
                    <a:lnTo>
                      <a:pt x="330" y="498"/>
                    </a:lnTo>
                    <a:lnTo>
                      <a:pt x="336" y="486"/>
                    </a:lnTo>
                    <a:lnTo>
                      <a:pt x="336" y="480"/>
                    </a:lnTo>
                    <a:lnTo>
                      <a:pt x="342" y="474"/>
                    </a:lnTo>
                    <a:lnTo>
                      <a:pt x="354" y="468"/>
                    </a:lnTo>
                    <a:lnTo>
                      <a:pt x="366" y="468"/>
                    </a:lnTo>
                    <a:lnTo>
                      <a:pt x="384" y="474"/>
                    </a:lnTo>
                    <a:lnTo>
                      <a:pt x="396" y="474"/>
                    </a:lnTo>
                    <a:lnTo>
                      <a:pt x="408" y="480"/>
                    </a:lnTo>
                    <a:lnTo>
                      <a:pt x="408" y="492"/>
                    </a:lnTo>
                    <a:lnTo>
                      <a:pt x="426" y="492"/>
                    </a:lnTo>
                    <a:lnTo>
                      <a:pt x="432" y="498"/>
                    </a:lnTo>
                    <a:lnTo>
                      <a:pt x="432" y="528"/>
                    </a:lnTo>
                    <a:lnTo>
                      <a:pt x="474" y="528"/>
                    </a:lnTo>
                    <a:lnTo>
                      <a:pt x="480" y="534"/>
                    </a:lnTo>
                    <a:lnTo>
                      <a:pt x="492" y="540"/>
                    </a:lnTo>
                    <a:lnTo>
                      <a:pt x="540" y="540"/>
                    </a:lnTo>
                    <a:lnTo>
                      <a:pt x="552" y="546"/>
                    </a:lnTo>
                    <a:lnTo>
                      <a:pt x="558" y="552"/>
                    </a:lnTo>
                    <a:lnTo>
                      <a:pt x="570" y="558"/>
                    </a:lnTo>
                    <a:lnTo>
                      <a:pt x="576" y="552"/>
                    </a:lnTo>
                    <a:lnTo>
                      <a:pt x="582" y="540"/>
                    </a:lnTo>
                    <a:lnTo>
                      <a:pt x="588" y="534"/>
                    </a:lnTo>
                    <a:lnTo>
                      <a:pt x="588" y="522"/>
                    </a:lnTo>
                    <a:lnTo>
                      <a:pt x="606" y="504"/>
                    </a:lnTo>
                    <a:lnTo>
                      <a:pt x="612" y="492"/>
                    </a:lnTo>
                    <a:lnTo>
                      <a:pt x="636" y="516"/>
                    </a:lnTo>
                    <a:lnTo>
                      <a:pt x="642" y="516"/>
                    </a:lnTo>
                    <a:lnTo>
                      <a:pt x="648" y="510"/>
                    </a:lnTo>
                    <a:lnTo>
                      <a:pt x="660" y="504"/>
                    </a:lnTo>
                    <a:lnTo>
                      <a:pt x="672" y="492"/>
                    </a:lnTo>
                    <a:lnTo>
                      <a:pt x="690" y="492"/>
                    </a:lnTo>
                    <a:lnTo>
                      <a:pt x="714" y="474"/>
                    </a:lnTo>
                    <a:lnTo>
                      <a:pt x="726" y="486"/>
                    </a:lnTo>
                    <a:lnTo>
                      <a:pt x="750" y="486"/>
                    </a:lnTo>
                    <a:lnTo>
                      <a:pt x="756" y="480"/>
                    </a:lnTo>
                    <a:lnTo>
                      <a:pt x="768" y="480"/>
                    </a:lnTo>
                    <a:lnTo>
                      <a:pt x="768" y="468"/>
                    </a:lnTo>
                    <a:lnTo>
                      <a:pt x="786" y="450"/>
                    </a:lnTo>
                    <a:lnTo>
                      <a:pt x="792" y="450"/>
                    </a:lnTo>
                    <a:lnTo>
                      <a:pt x="792" y="456"/>
                    </a:lnTo>
                    <a:lnTo>
                      <a:pt x="804" y="468"/>
                    </a:lnTo>
                    <a:lnTo>
                      <a:pt x="840" y="462"/>
                    </a:lnTo>
                    <a:lnTo>
                      <a:pt x="840" y="468"/>
                    </a:lnTo>
                    <a:lnTo>
                      <a:pt x="852" y="480"/>
                    </a:lnTo>
                    <a:lnTo>
                      <a:pt x="876" y="480"/>
                    </a:lnTo>
                    <a:lnTo>
                      <a:pt x="894" y="474"/>
                    </a:lnTo>
                    <a:lnTo>
                      <a:pt x="912" y="456"/>
                    </a:lnTo>
                    <a:lnTo>
                      <a:pt x="912" y="432"/>
                    </a:lnTo>
                    <a:lnTo>
                      <a:pt x="906" y="420"/>
                    </a:lnTo>
                    <a:close/>
                  </a:path>
                </a:pathLst>
              </a:custGeom>
              <a:solidFill>
                <a:srgbClr val="9D90A0">
                  <a:lumMod val="40000"/>
                  <a:lumOff val="60000"/>
                </a:srgbClr>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159" name="Cameroon" descr="© INSCALE GmbH, 05.05.2010&#10;http://www.presentationload.com/">
                <a:extLst>
                  <a:ext uri="{FF2B5EF4-FFF2-40B4-BE49-F238E27FC236}">
                    <a16:creationId xmlns:a16="http://schemas.microsoft.com/office/drawing/2014/main" id="{A608E63C-233A-4925-A23C-53C4568E6640}"/>
                  </a:ext>
                </a:extLst>
              </p:cNvPr>
              <p:cNvSpPr>
                <a:spLocks/>
              </p:cNvSpPr>
              <p:nvPr/>
            </p:nvSpPr>
            <p:spPr bwMode="gray">
              <a:xfrm>
                <a:off x="4454929" y="4087939"/>
                <a:ext cx="216828" cy="407184"/>
              </a:xfrm>
              <a:custGeom>
                <a:avLst/>
                <a:gdLst>
                  <a:gd name="T0" fmla="*/ 2147483647 w 546"/>
                  <a:gd name="T1" fmla="*/ 0 h 924"/>
                  <a:gd name="T2" fmla="*/ 2147483647 w 546"/>
                  <a:gd name="T3" fmla="*/ 2147483647 h 924"/>
                  <a:gd name="T4" fmla="*/ 2147483647 w 546"/>
                  <a:gd name="T5" fmla="*/ 2147483647 h 924"/>
                  <a:gd name="T6" fmla="*/ 2147483647 w 546"/>
                  <a:gd name="T7" fmla="*/ 2147483647 h 924"/>
                  <a:gd name="T8" fmla="*/ 2147483647 w 546"/>
                  <a:gd name="T9" fmla="*/ 2147483647 h 924"/>
                  <a:gd name="T10" fmla="*/ 2147483647 w 546"/>
                  <a:gd name="T11" fmla="*/ 2147483647 h 924"/>
                  <a:gd name="T12" fmla="*/ 2147483647 w 546"/>
                  <a:gd name="T13" fmla="*/ 2147483647 h 924"/>
                  <a:gd name="T14" fmla="*/ 2147483647 w 546"/>
                  <a:gd name="T15" fmla="*/ 2147483647 h 924"/>
                  <a:gd name="T16" fmla="*/ 2147483647 w 546"/>
                  <a:gd name="T17" fmla="*/ 2147483647 h 924"/>
                  <a:gd name="T18" fmla="*/ 2147483647 w 546"/>
                  <a:gd name="T19" fmla="*/ 2147483647 h 924"/>
                  <a:gd name="T20" fmla="*/ 2147483647 w 546"/>
                  <a:gd name="T21" fmla="*/ 2147483647 h 924"/>
                  <a:gd name="T22" fmla="*/ 2147483647 w 546"/>
                  <a:gd name="T23" fmla="*/ 2147483647 h 924"/>
                  <a:gd name="T24" fmla="*/ 2147483647 w 546"/>
                  <a:gd name="T25" fmla="*/ 2147483647 h 924"/>
                  <a:gd name="T26" fmla="*/ 2147483647 w 546"/>
                  <a:gd name="T27" fmla="*/ 2147483647 h 924"/>
                  <a:gd name="T28" fmla="*/ 2147483647 w 546"/>
                  <a:gd name="T29" fmla="*/ 2147483647 h 924"/>
                  <a:gd name="T30" fmla="*/ 2147483647 w 546"/>
                  <a:gd name="T31" fmla="*/ 2147483647 h 924"/>
                  <a:gd name="T32" fmla="*/ 2147483647 w 546"/>
                  <a:gd name="T33" fmla="*/ 2147483647 h 924"/>
                  <a:gd name="T34" fmla="*/ 2147483647 w 546"/>
                  <a:gd name="T35" fmla="*/ 2147483647 h 924"/>
                  <a:gd name="T36" fmla="*/ 2147483647 w 546"/>
                  <a:gd name="T37" fmla="*/ 2147483647 h 924"/>
                  <a:gd name="T38" fmla="*/ 2147483647 w 546"/>
                  <a:gd name="T39" fmla="*/ 2147483647 h 924"/>
                  <a:gd name="T40" fmla="*/ 2147483647 w 546"/>
                  <a:gd name="T41" fmla="*/ 2147483647 h 924"/>
                  <a:gd name="T42" fmla="*/ 2147483647 w 546"/>
                  <a:gd name="T43" fmla="*/ 2147483647 h 924"/>
                  <a:gd name="T44" fmla="*/ 2147483647 w 546"/>
                  <a:gd name="T45" fmla="*/ 2147483647 h 924"/>
                  <a:gd name="T46" fmla="*/ 2147483647 w 546"/>
                  <a:gd name="T47" fmla="*/ 2147483647 h 924"/>
                  <a:gd name="T48" fmla="*/ 2147483647 w 546"/>
                  <a:gd name="T49" fmla="*/ 2147483647 h 924"/>
                  <a:gd name="T50" fmla="*/ 2147483647 w 546"/>
                  <a:gd name="T51" fmla="*/ 2147483647 h 924"/>
                  <a:gd name="T52" fmla="*/ 2147483647 w 546"/>
                  <a:gd name="T53" fmla="*/ 2147483647 h 924"/>
                  <a:gd name="T54" fmla="*/ 2147483647 w 546"/>
                  <a:gd name="T55" fmla="*/ 2147483647 h 924"/>
                  <a:gd name="T56" fmla="*/ 2147483647 w 546"/>
                  <a:gd name="T57" fmla="*/ 2147483647 h 924"/>
                  <a:gd name="T58" fmla="*/ 2147483647 w 546"/>
                  <a:gd name="T59" fmla="*/ 2147483647 h 924"/>
                  <a:gd name="T60" fmla="*/ 2147483647 w 546"/>
                  <a:gd name="T61" fmla="*/ 2147483647 h 924"/>
                  <a:gd name="T62" fmla="*/ 2147483647 w 546"/>
                  <a:gd name="T63" fmla="*/ 2147483647 h 924"/>
                  <a:gd name="T64" fmla="*/ 2147483647 w 546"/>
                  <a:gd name="T65" fmla="*/ 2147483647 h 924"/>
                  <a:gd name="T66" fmla="*/ 2147483647 w 546"/>
                  <a:gd name="T67" fmla="*/ 2147483647 h 924"/>
                  <a:gd name="T68" fmla="*/ 2147483647 w 546"/>
                  <a:gd name="T69" fmla="*/ 2147483647 h 924"/>
                  <a:gd name="T70" fmla="*/ 2147483647 w 546"/>
                  <a:gd name="T71" fmla="*/ 2147483647 h 924"/>
                  <a:gd name="T72" fmla="*/ 2147483647 w 546"/>
                  <a:gd name="T73" fmla="*/ 2147483647 h 924"/>
                  <a:gd name="T74" fmla="*/ 2147483647 w 546"/>
                  <a:gd name="T75" fmla="*/ 2147483647 h 924"/>
                  <a:gd name="T76" fmla="*/ 2147483647 w 546"/>
                  <a:gd name="T77" fmla="*/ 2147483647 h 924"/>
                  <a:gd name="T78" fmla="*/ 2147483647 w 546"/>
                  <a:gd name="T79" fmla="*/ 2147483647 h 924"/>
                  <a:gd name="T80" fmla="*/ 2147483647 w 546"/>
                  <a:gd name="T81" fmla="*/ 2147483647 h 924"/>
                  <a:gd name="T82" fmla="*/ 2147483647 w 546"/>
                  <a:gd name="T83" fmla="*/ 2147483647 h 924"/>
                  <a:gd name="T84" fmla="*/ 2147483647 w 546"/>
                  <a:gd name="T85" fmla="*/ 2147483647 h 924"/>
                  <a:gd name="T86" fmla="*/ 2147483647 w 546"/>
                  <a:gd name="T87" fmla="*/ 2147483647 h 924"/>
                  <a:gd name="T88" fmla="*/ 2147483647 w 546"/>
                  <a:gd name="T89" fmla="*/ 2147483647 h 924"/>
                  <a:gd name="T90" fmla="*/ 2147483647 w 546"/>
                  <a:gd name="T91" fmla="*/ 2147483647 h 924"/>
                  <a:gd name="T92" fmla="*/ 2147483647 w 546"/>
                  <a:gd name="T93" fmla="*/ 2147483647 h 924"/>
                  <a:gd name="T94" fmla="*/ 2147483647 w 546"/>
                  <a:gd name="T95" fmla="*/ 2147483647 h 924"/>
                  <a:gd name="T96" fmla="*/ 2147483647 w 546"/>
                  <a:gd name="T97" fmla="*/ 2147483647 h 924"/>
                  <a:gd name="T98" fmla="*/ 2147483647 w 546"/>
                  <a:gd name="T99" fmla="*/ 2147483647 h 924"/>
                  <a:gd name="T100" fmla="*/ 2147483647 w 546"/>
                  <a:gd name="T101" fmla="*/ 2147483647 h 924"/>
                  <a:gd name="T102" fmla="*/ 2147483647 w 546"/>
                  <a:gd name="T103" fmla="*/ 2147483647 h 924"/>
                  <a:gd name="T104" fmla="*/ 2147483647 w 546"/>
                  <a:gd name="T105" fmla="*/ 2147483647 h 924"/>
                  <a:gd name="T106" fmla="*/ 2147483647 w 546"/>
                  <a:gd name="T107" fmla="*/ 2147483647 h 924"/>
                  <a:gd name="T108" fmla="*/ 2147483647 w 546"/>
                  <a:gd name="T109" fmla="*/ 2147483647 h 924"/>
                  <a:gd name="T110" fmla="*/ 2147483647 w 546"/>
                  <a:gd name="T111" fmla="*/ 2147483647 h 92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46"/>
                  <a:gd name="T169" fmla="*/ 0 h 924"/>
                  <a:gd name="T170" fmla="*/ 546 w 546"/>
                  <a:gd name="T171" fmla="*/ 924 h 92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46" h="924">
                    <a:moveTo>
                      <a:pt x="420" y="30"/>
                    </a:moveTo>
                    <a:lnTo>
                      <a:pt x="414" y="18"/>
                    </a:lnTo>
                    <a:lnTo>
                      <a:pt x="414" y="0"/>
                    </a:lnTo>
                    <a:lnTo>
                      <a:pt x="390" y="6"/>
                    </a:lnTo>
                    <a:lnTo>
                      <a:pt x="390" y="54"/>
                    </a:lnTo>
                    <a:lnTo>
                      <a:pt x="396" y="60"/>
                    </a:lnTo>
                    <a:lnTo>
                      <a:pt x="396" y="66"/>
                    </a:lnTo>
                    <a:lnTo>
                      <a:pt x="426" y="66"/>
                    </a:lnTo>
                    <a:lnTo>
                      <a:pt x="426" y="96"/>
                    </a:lnTo>
                    <a:lnTo>
                      <a:pt x="420" y="102"/>
                    </a:lnTo>
                    <a:lnTo>
                      <a:pt x="420" y="108"/>
                    </a:lnTo>
                    <a:lnTo>
                      <a:pt x="426" y="114"/>
                    </a:lnTo>
                    <a:lnTo>
                      <a:pt x="426" y="126"/>
                    </a:lnTo>
                    <a:lnTo>
                      <a:pt x="408" y="144"/>
                    </a:lnTo>
                    <a:lnTo>
                      <a:pt x="396" y="150"/>
                    </a:lnTo>
                    <a:lnTo>
                      <a:pt x="384" y="150"/>
                    </a:lnTo>
                    <a:lnTo>
                      <a:pt x="384" y="156"/>
                    </a:lnTo>
                    <a:lnTo>
                      <a:pt x="378" y="162"/>
                    </a:lnTo>
                    <a:lnTo>
                      <a:pt x="378" y="168"/>
                    </a:lnTo>
                    <a:lnTo>
                      <a:pt x="372" y="174"/>
                    </a:lnTo>
                    <a:lnTo>
                      <a:pt x="372" y="180"/>
                    </a:lnTo>
                    <a:lnTo>
                      <a:pt x="360" y="192"/>
                    </a:lnTo>
                    <a:lnTo>
                      <a:pt x="354" y="204"/>
                    </a:lnTo>
                    <a:lnTo>
                      <a:pt x="348" y="234"/>
                    </a:lnTo>
                    <a:lnTo>
                      <a:pt x="342" y="240"/>
                    </a:lnTo>
                    <a:lnTo>
                      <a:pt x="342" y="270"/>
                    </a:lnTo>
                    <a:lnTo>
                      <a:pt x="336" y="288"/>
                    </a:lnTo>
                    <a:lnTo>
                      <a:pt x="330" y="294"/>
                    </a:lnTo>
                    <a:lnTo>
                      <a:pt x="312" y="294"/>
                    </a:lnTo>
                    <a:lnTo>
                      <a:pt x="312" y="324"/>
                    </a:lnTo>
                    <a:lnTo>
                      <a:pt x="306" y="342"/>
                    </a:lnTo>
                    <a:lnTo>
                      <a:pt x="306" y="354"/>
                    </a:lnTo>
                    <a:lnTo>
                      <a:pt x="300" y="360"/>
                    </a:lnTo>
                    <a:lnTo>
                      <a:pt x="288" y="366"/>
                    </a:lnTo>
                    <a:lnTo>
                      <a:pt x="282" y="372"/>
                    </a:lnTo>
                    <a:lnTo>
                      <a:pt x="270" y="378"/>
                    </a:lnTo>
                    <a:lnTo>
                      <a:pt x="258" y="426"/>
                    </a:lnTo>
                    <a:lnTo>
                      <a:pt x="234" y="456"/>
                    </a:lnTo>
                    <a:lnTo>
                      <a:pt x="234" y="486"/>
                    </a:lnTo>
                    <a:lnTo>
                      <a:pt x="228" y="492"/>
                    </a:lnTo>
                    <a:lnTo>
                      <a:pt x="216" y="498"/>
                    </a:lnTo>
                    <a:lnTo>
                      <a:pt x="210" y="510"/>
                    </a:lnTo>
                    <a:lnTo>
                      <a:pt x="210" y="522"/>
                    </a:lnTo>
                    <a:lnTo>
                      <a:pt x="192" y="540"/>
                    </a:lnTo>
                    <a:lnTo>
                      <a:pt x="186" y="540"/>
                    </a:lnTo>
                    <a:lnTo>
                      <a:pt x="180" y="534"/>
                    </a:lnTo>
                    <a:lnTo>
                      <a:pt x="174" y="522"/>
                    </a:lnTo>
                    <a:lnTo>
                      <a:pt x="174" y="516"/>
                    </a:lnTo>
                    <a:lnTo>
                      <a:pt x="168" y="504"/>
                    </a:lnTo>
                    <a:lnTo>
                      <a:pt x="156" y="492"/>
                    </a:lnTo>
                    <a:lnTo>
                      <a:pt x="150" y="480"/>
                    </a:lnTo>
                    <a:lnTo>
                      <a:pt x="138" y="480"/>
                    </a:lnTo>
                    <a:lnTo>
                      <a:pt x="144" y="486"/>
                    </a:lnTo>
                    <a:lnTo>
                      <a:pt x="144" y="498"/>
                    </a:lnTo>
                    <a:lnTo>
                      <a:pt x="138" y="504"/>
                    </a:lnTo>
                    <a:lnTo>
                      <a:pt x="132" y="504"/>
                    </a:lnTo>
                    <a:lnTo>
                      <a:pt x="120" y="498"/>
                    </a:lnTo>
                    <a:lnTo>
                      <a:pt x="114" y="492"/>
                    </a:lnTo>
                    <a:lnTo>
                      <a:pt x="108" y="492"/>
                    </a:lnTo>
                    <a:lnTo>
                      <a:pt x="102" y="498"/>
                    </a:lnTo>
                    <a:lnTo>
                      <a:pt x="90" y="522"/>
                    </a:lnTo>
                    <a:lnTo>
                      <a:pt x="84" y="528"/>
                    </a:lnTo>
                    <a:lnTo>
                      <a:pt x="84" y="534"/>
                    </a:lnTo>
                    <a:lnTo>
                      <a:pt x="18" y="588"/>
                    </a:lnTo>
                    <a:lnTo>
                      <a:pt x="18" y="642"/>
                    </a:lnTo>
                    <a:lnTo>
                      <a:pt x="12" y="654"/>
                    </a:lnTo>
                    <a:lnTo>
                      <a:pt x="12" y="666"/>
                    </a:lnTo>
                    <a:lnTo>
                      <a:pt x="6" y="672"/>
                    </a:lnTo>
                    <a:lnTo>
                      <a:pt x="6" y="678"/>
                    </a:lnTo>
                    <a:lnTo>
                      <a:pt x="0" y="690"/>
                    </a:lnTo>
                    <a:lnTo>
                      <a:pt x="24" y="684"/>
                    </a:lnTo>
                    <a:lnTo>
                      <a:pt x="24" y="708"/>
                    </a:lnTo>
                    <a:lnTo>
                      <a:pt x="36" y="732"/>
                    </a:lnTo>
                    <a:lnTo>
                      <a:pt x="60" y="744"/>
                    </a:lnTo>
                    <a:lnTo>
                      <a:pt x="66" y="750"/>
                    </a:lnTo>
                    <a:lnTo>
                      <a:pt x="84" y="726"/>
                    </a:lnTo>
                    <a:lnTo>
                      <a:pt x="66" y="756"/>
                    </a:lnTo>
                    <a:lnTo>
                      <a:pt x="84" y="786"/>
                    </a:lnTo>
                    <a:lnTo>
                      <a:pt x="102" y="792"/>
                    </a:lnTo>
                    <a:lnTo>
                      <a:pt x="102" y="840"/>
                    </a:lnTo>
                    <a:lnTo>
                      <a:pt x="90" y="840"/>
                    </a:lnTo>
                    <a:lnTo>
                      <a:pt x="90" y="870"/>
                    </a:lnTo>
                    <a:lnTo>
                      <a:pt x="102" y="882"/>
                    </a:lnTo>
                    <a:lnTo>
                      <a:pt x="198" y="882"/>
                    </a:lnTo>
                    <a:lnTo>
                      <a:pt x="216" y="864"/>
                    </a:lnTo>
                    <a:lnTo>
                      <a:pt x="228" y="882"/>
                    </a:lnTo>
                    <a:lnTo>
                      <a:pt x="258" y="882"/>
                    </a:lnTo>
                    <a:lnTo>
                      <a:pt x="270" y="870"/>
                    </a:lnTo>
                    <a:lnTo>
                      <a:pt x="276" y="870"/>
                    </a:lnTo>
                    <a:lnTo>
                      <a:pt x="288" y="876"/>
                    </a:lnTo>
                    <a:lnTo>
                      <a:pt x="294" y="876"/>
                    </a:lnTo>
                    <a:lnTo>
                      <a:pt x="342" y="870"/>
                    </a:lnTo>
                    <a:lnTo>
                      <a:pt x="342" y="888"/>
                    </a:lnTo>
                    <a:lnTo>
                      <a:pt x="372" y="888"/>
                    </a:lnTo>
                    <a:lnTo>
                      <a:pt x="390" y="882"/>
                    </a:lnTo>
                    <a:lnTo>
                      <a:pt x="438" y="882"/>
                    </a:lnTo>
                    <a:lnTo>
                      <a:pt x="450" y="888"/>
                    </a:lnTo>
                    <a:lnTo>
                      <a:pt x="456" y="894"/>
                    </a:lnTo>
                    <a:lnTo>
                      <a:pt x="468" y="894"/>
                    </a:lnTo>
                    <a:lnTo>
                      <a:pt x="474" y="900"/>
                    </a:lnTo>
                    <a:lnTo>
                      <a:pt x="510" y="900"/>
                    </a:lnTo>
                    <a:lnTo>
                      <a:pt x="534" y="924"/>
                    </a:lnTo>
                    <a:lnTo>
                      <a:pt x="540" y="882"/>
                    </a:lnTo>
                    <a:lnTo>
                      <a:pt x="546" y="876"/>
                    </a:lnTo>
                    <a:lnTo>
                      <a:pt x="534" y="864"/>
                    </a:lnTo>
                    <a:lnTo>
                      <a:pt x="534" y="834"/>
                    </a:lnTo>
                    <a:lnTo>
                      <a:pt x="528" y="816"/>
                    </a:lnTo>
                    <a:lnTo>
                      <a:pt x="516" y="810"/>
                    </a:lnTo>
                    <a:lnTo>
                      <a:pt x="510" y="798"/>
                    </a:lnTo>
                    <a:lnTo>
                      <a:pt x="498" y="792"/>
                    </a:lnTo>
                    <a:lnTo>
                      <a:pt x="486" y="780"/>
                    </a:lnTo>
                    <a:lnTo>
                      <a:pt x="474" y="756"/>
                    </a:lnTo>
                    <a:lnTo>
                      <a:pt x="468" y="750"/>
                    </a:lnTo>
                    <a:lnTo>
                      <a:pt x="468" y="708"/>
                    </a:lnTo>
                    <a:lnTo>
                      <a:pt x="462" y="708"/>
                    </a:lnTo>
                    <a:lnTo>
                      <a:pt x="444" y="690"/>
                    </a:lnTo>
                    <a:lnTo>
                      <a:pt x="438" y="690"/>
                    </a:lnTo>
                    <a:lnTo>
                      <a:pt x="438" y="642"/>
                    </a:lnTo>
                    <a:lnTo>
                      <a:pt x="420" y="630"/>
                    </a:lnTo>
                    <a:lnTo>
                      <a:pt x="432" y="618"/>
                    </a:lnTo>
                    <a:lnTo>
                      <a:pt x="432" y="582"/>
                    </a:lnTo>
                    <a:lnTo>
                      <a:pt x="426" y="582"/>
                    </a:lnTo>
                    <a:lnTo>
                      <a:pt x="414" y="576"/>
                    </a:lnTo>
                    <a:lnTo>
                      <a:pt x="414" y="570"/>
                    </a:lnTo>
                    <a:lnTo>
                      <a:pt x="426" y="558"/>
                    </a:lnTo>
                    <a:lnTo>
                      <a:pt x="438" y="552"/>
                    </a:lnTo>
                    <a:lnTo>
                      <a:pt x="444" y="546"/>
                    </a:lnTo>
                    <a:lnTo>
                      <a:pt x="450" y="546"/>
                    </a:lnTo>
                    <a:lnTo>
                      <a:pt x="456" y="510"/>
                    </a:lnTo>
                    <a:lnTo>
                      <a:pt x="462" y="510"/>
                    </a:lnTo>
                    <a:lnTo>
                      <a:pt x="468" y="498"/>
                    </a:lnTo>
                    <a:lnTo>
                      <a:pt x="468" y="480"/>
                    </a:lnTo>
                    <a:lnTo>
                      <a:pt x="474" y="474"/>
                    </a:lnTo>
                    <a:lnTo>
                      <a:pt x="480" y="462"/>
                    </a:lnTo>
                    <a:lnTo>
                      <a:pt x="492" y="450"/>
                    </a:lnTo>
                    <a:lnTo>
                      <a:pt x="498" y="450"/>
                    </a:lnTo>
                    <a:lnTo>
                      <a:pt x="498" y="438"/>
                    </a:lnTo>
                    <a:lnTo>
                      <a:pt x="492" y="420"/>
                    </a:lnTo>
                    <a:lnTo>
                      <a:pt x="486" y="408"/>
                    </a:lnTo>
                    <a:lnTo>
                      <a:pt x="486" y="390"/>
                    </a:lnTo>
                    <a:lnTo>
                      <a:pt x="474" y="366"/>
                    </a:lnTo>
                    <a:lnTo>
                      <a:pt x="462" y="354"/>
                    </a:lnTo>
                    <a:lnTo>
                      <a:pt x="450" y="348"/>
                    </a:lnTo>
                    <a:lnTo>
                      <a:pt x="432" y="336"/>
                    </a:lnTo>
                    <a:lnTo>
                      <a:pt x="420" y="324"/>
                    </a:lnTo>
                    <a:lnTo>
                      <a:pt x="414" y="312"/>
                    </a:lnTo>
                    <a:lnTo>
                      <a:pt x="402" y="300"/>
                    </a:lnTo>
                    <a:lnTo>
                      <a:pt x="390" y="276"/>
                    </a:lnTo>
                    <a:lnTo>
                      <a:pt x="390" y="264"/>
                    </a:lnTo>
                    <a:lnTo>
                      <a:pt x="396" y="258"/>
                    </a:lnTo>
                    <a:lnTo>
                      <a:pt x="408" y="252"/>
                    </a:lnTo>
                    <a:lnTo>
                      <a:pt x="504" y="252"/>
                    </a:lnTo>
                    <a:lnTo>
                      <a:pt x="486" y="234"/>
                    </a:lnTo>
                    <a:lnTo>
                      <a:pt x="480" y="222"/>
                    </a:lnTo>
                    <a:lnTo>
                      <a:pt x="468" y="216"/>
                    </a:lnTo>
                    <a:lnTo>
                      <a:pt x="462" y="204"/>
                    </a:lnTo>
                    <a:lnTo>
                      <a:pt x="462" y="186"/>
                    </a:lnTo>
                    <a:lnTo>
                      <a:pt x="456" y="168"/>
                    </a:lnTo>
                    <a:lnTo>
                      <a:pt x="456" y="132"/>
                    </a:lnTo>
                    <a:lnTo>
                      <a:pt x="462" y="132"/>
                    </a:lnTo>
                    <a:lnTo>
                      <a:pt x="462" y="96"/>
                    </a:lnTo>
                    <a:lnTo>
                      <a:pt x="456" y="84"/>
                    </a:lnTo>
                    <a:lnTo>
                      <a:pt x="444" y="78"/>
                    </a:lnTo>
                    <a:lnTo>
                      <a:pt x="450" y="42"/>
                    </a:lnTo>
                    <a:lnTo>
                      <a:pt x="444" y="42"/>
                    </a:lnTo>
                    <a:lnTo>
                      <a:pt x="438" y="36"/>
                    </a:lnTo>
                    <a:lnTo>
                      <a:pt x="426" y="36"/>
                    </a:lnTo>
                    <a:lnTo>
                      <a:pt x="420" y="30"/>
                    </a:lnTo>
                    <a:close/>
                  </a:path>
                </a:pathLst>
              </a:custGeom>
              <a:solidFill>
                <a:srgbClr val="9D90A0">
                  <a:lumMod val="40000"/>
                  <a:lumOff val="60000"/>
                </a:srgbClr>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160" name="Burundi" descr="© INSCALE GmbH, 05.05.2010&#10;http://www.presentationload.com/">
                <a:extLst>
                  <a:ext uri="{FF2B5EF4-FFF2-40B4-BE49-F238E27FC236}">
                    <a16:creationId xmlns:a16="http://schemas.microsoft.com/office/drawing/2014/main" id="{96357062-3C9B-4F3F-A73F-0AD2220A2350}"/>
                  </a:ext>
                </a:extLst>
              </p:cNvPr>
              <p:cNvSpPr>
                <a:spLocks/>
              </p:cNvSpPr>
              <p:nvPr/>
            </p:nvSpPr>
            <p:spPr bwMode="gray">
              <a:xfrm>
                <a:off x="5030536" y="4638937"/>
                <a:ext cx="53037" cy="74506"/>
              </a:xfrm>
              <a:custGeom>
                <a:avLst/>
                <a:gdLst>
                  <a:gd name="T0" fmla="*/ 2147483647 w 132"/>
                  <a:gd name="T1" fmla="*/ 2147483647 h 168"/>
                  <a:gd name="T2" fmla="*/ 2147483647 w 132"/>
                  <a:gd name="T3" fmla="*/ 2147483647 h 168"/>
                  <a:gd name="T4" fmla="*/ 2147483647 w 132"/>
                  <a:gd name="T5" fmla="*/ 2147483647 h 168"/>
                  <a:gd name="T6" fmla="*/ 2147483647 w 132"/>
                  <a:gd name="T7" fmla="*/ 2147483647 h 168"/>
                  <a:gd name="T8" fmla="*/ 2147483647 w 132"/>
                  <a:gd name="T9" fmla="*/ 2147483647 h 168"/>
                  <a:gd name="T10" fmla="*/ 2147483647 w 132"/>
                  <a:gd name="T11" fmla="*/ 2147483647 h 168"/>
                  <a:gd name="T12" fmla="*/ 2147483647 w 132"/>
                  <a:gd name="T13" fmla="*/ 2147483647 h 168"/>
                  <a:gd name="T14" fmla="*/ 2147483647 w 132"/>
                  <a:gd name="T15" fmla="*/ 2147483647 h 168"/>
                  <a:gd name="T16" fmla="*/ 2147483647 w 132"/>
                  <a:gd name="T17" fmla="*/ 2147483647 h 168"/>
                  <a:gd name="T18" fmla="*/ 2147483647 w 132"/>
                  <a:gd name="T19" fmla="*/ 2147483647 h 168"/>
                  <a:gd name="T20" fmla="*/ 2147483647 w 132"/>
                  <a:gd name="T21" fmla="*/ 2147483647 h 168"/>
                  <a:gd name="T22" fmla="*/ 2147483647 w 132"/>
                  <a:gd name="T23" fmla="*/ 2147483647 h 168"/>
                  <a:gd name="T24" fmla="*/ 2147483647 w 132"/>
                  <a:gd name="T25" fmla="*/ 2147483647 h 168"/>
                  <a:gd name="T26" fmla="*/ 2147483647 w 132"/>
                  <a:gd name="T27" fmla="*/ 2147483647 h 168"/>
                  <a:gd name="T28" fmla="*/ 2147483647 w 132"/>
                  <a:gd name="T29" fmla="*/ 2147483647 h 168"/>
                  <a:gd name="T30" fmla="*/ 2147483647 w 132"/>
                  <a:gd name="T31" fmla="*/ 2147483647 h 168"/>
                  <a:gd name="T32" fmla="*/ 2147483647 w 132"/>
                  <a:gd name="T33" fmla="*/ 2147483647 h 168"/>
                  <a:gd name="T34" fmla="*/ 2147483647 w 132"/>
                  <a:gd name="T35" fmla="*/ 2147483647 h 168"/>
                  <a:gd name="T36" fmla="*/ 2147483647 w 132"/>
                  <a:gd name="T37" fmla="*/ 2147483647 h 168"/>
                  <a:gd name="T38" fmla="*/ 2147483647 w 132"/>
                  <a:gd name="T39" fmla="*/ 2147483647 h 168"/>
                  <a:gd name="T40" fmla="*/ 2147483647 w 132"/>
                  <a:gd name="T41" fmla="*/ 2147483647 h 168"/>
                  <a:gd name="T42" fmla="*/ 2147483647 w 132"/>
                  <a:gd name="T43" fmla="*/ 2147483647 h 168"/>
                  <a:gd name="T44" fmla="*/ 2147483647 w 132"/>
                  <a:gd name="T45" fmla="*/ 2147483647 h 168"/>
                  <a:gd name="T46" fmla="*/ 2147483647 w 132"/>
                  <a:gd name="T47" fmla="*/ 0 h 168"/>
                  <a:gd name="T48" fmla="*/ 2147483647 w 132"/>
                  <a:gd name="T49" fmla="*/ 0 h 168"/>
                  <a:gd name="T50" fmla="*/ 2147483647 w 132"/>
                  <a:gd name="T51" fmla="*/ 0 h 168"/>
                  <a:gd name="T52" fmla="*/ 2147483647 w 132"/>
                  <a:gd name="T53" fmla="*/ 2147483647 h 168"/>
                  <a:gd name="T54" fmla="*/ 2147483647 w 132"/>
                  <a:gd name="T55" fmla="*/ 2147483647 h 168"/>
                  <a:gd name="T56" fmla="*/ 2147483647 w 132"/>
                  <a:gd name="T57" fmla="*/ 2147483647 h 168"/>
                  <a:gd name="T58" fmla="*/ 2147483647 w 132"/>
                  <a:gd name="T59" fmla="*/ 2147483647 h 168"/>
                  <a:gd name="T60" fmla="*/ 2147483647 w 132"/>
                  <a:gd name="T61" fmla="*/ 2147483647 h 168"/>
                  <a:gd name="T62" fmla="*/ 2147483647 w 132"/>
                  <a:gd name="T63" fmla="*/ 2147483647 h 168"/>
                  <a:gd name="T64" fmla="*/ 0 w 132"/>
                  <a:gd name="T65" fmla="*/ 2147483647 h 168"/>
                  <a:gd name="T66" fmla="*/ 2147483647 w 132"/>
                  <a:gd name="T67" fmla="*/ 2147483647 h 168"/>
                  <a:gd name="T68" fmla="*/ 2147483647 w 132"/>
                  <a:gd name="T69" fmla="*/ 2147483647 h 168"/>
                  <a:gd name="T70" fmla="*/ 2147483647 w 132"/>
                  <a:gd name="T71" fmla="*/ 2147483647 h 168"/>
                  <a:gd name="T72" fmla="*/ 2147483647 w 132"/>
                  <a:gd name="T73" fmla="*/ 2147483647 h 168"/>
                  <a:gd name="T74" fmla="*/ 2147483647 w 132"/>
                  <a:gd name="T75" fmla="*/ 2147483647 h 16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32"/>
                  <a:gd name="T115" fmla="*/ 0 h 168"/>
                  <a:gd name="T116" fmla="*/ 132 w 132"/>
                  <a:gd name="T117" fmla="*/ 168 h 168"/>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32" h="168">
                    <a:moveTo>
                      <a:pt x="36" y="72"/>
                    </a:moveTo>
                    <a:lnTo>
                      <a:pt x="36" y="96"/>
                    </a:lnTo>
                    <a:lnTo>
                      <a:pt x="30" y="102"/>
                    </a:lnTo>
                    <a:lnTo>
                      <a:pt x="30" y="138"/>
                    </a:lnTo>
                    <a:lnTo>
                      <a:pt x="36" y="156"/>
                    </a:lnTo>
                    <a:lnTo>
                      <a:pt x="42" y="168"/>
                    </a:lnTo>
                    <a:lnTo>
                      <a:pt x="54" y="168"/>
                    </a:lnTo>
                    <a:lnTo>
                      <a:pt x="60" y="162"/>
                    </a:lnTo>
                    <a:lnTo>
                      <a:pt x="72" y="156"/>
                    </a:lnTo>
                    <a:lnTo>
                      <a:pt x="84" y="144"/>
                    </a:lnTo>
                    <a:lnTo>
                      <a:pt x="90" y="132"/>
                    </a:lnTo>
                    <a:lnTo>
                      <a:pt x="90" y="114"/>
                    </a:lnTo>
                    <a:lnTo>
                      <a:pt x="96" y="102"/>
                    </a:lnTo>
                    <a:lnTo>
                      <a:pt x="114" y="84"/>
                    </a:lnTo>
                    <a:lnTo>
                      <a:pt x="126" y="84"/>
                    </a:lnTo>
                    <a:lnTo>
                      <a:pt x="120" y="72"/>
                    </a:lnTo>
                    <a:lnTo>
                      <a:pt x="132" y="66"/>
                    </a:lnTo>
                    <a:lnTo>
                      <a:pt x="132" y="48"/>
                    </a:lnTo>
                    <a:lnTo>
                      <a:pt x="114" y="48"/>
                    </a:lnTo>
                    <a:lnTo>
                      <a:pt x="108" y="42"/>
                    </a:lnTo>
                    <a:lnTo>
                      <a:pt x="102" y="42"/>
                    </a:lnTo>
                    <a:lnTo>
                      <a:pt x="102" y="24"/>
                    </a:lnTo>
                    <a:lnTo>
                      <a:pt x="108" y="12"/>
                    </a:lnTo>
                    <a:lnTo>
                      <a:pt x="108" y="0"/>
                    </a:lnTo>
                    <a:lnTo>
                      <a:pt x="120" y="0"/>
                    </a:lnTo>
                    <a:lnTo>
                      <a:pt x="66" y="0"/>
                    </a:lnTo>
                    <a:lnTo>
                      <a:pt x="60" y="24"/>
                    </a:lnTo>
                    <a:lnTo>
                      <a:pt x="48" y="30"/>
                    </a:lnTo>
                    <a:lnTo>
                      <a:pt x="42" y="36"/>
                    </a:lnTo>
                    <a:lnTo>
                      <a:pt x="30" y="36"/>
                    </a:lnTo>
                    <a:lnTo>
                      <a:pt x="24" y="30"/>
                    </a:lnTo>
                    <a:lnTo>
                      <a:pt x="18" y="18"/>
                    </a:lnTo>
                    <a:lnTo>
                      <a:pt x="0" y="18"/>
                    </a:lnTo>
                    <a:lnTo>
                      <a:pt x="12" y="48"/>
                    </a:lnTo>
                    <a:lnTo>
                      <a:pt x="18" y="54"/>
                    </a:lnTo>
                    <a:lnTo>
                      <a:pt x="30" y="60"/>
                    </a:lnTo>
                    <a:lnTo>
                      <a:pt x="36" y="66"/>
                    </a:lnTo>
                    <a:lnTo>
                      <a:pt x="36" y="72"/>
                    </a:lnTo>
                    <a:close/>
                  </a:path>
                </a:pathLst>
              </a:custGeom>
              <a:solidFill>
                <a:srgbClr val="9D90A0">
                  <a:lumMod val="40000"/>
                  <a:lumOff val="60000"/>
                </a:srgbClr>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161" name="Burkina Faso" descr="© INSCALE GmbH, 05.05.2010&#10;http://www.presentationload.com/">
                <a:extLst>
                  <a:ext uri="{FF2B5EF4-FFF2-40B4-BE49-F238E27FC236}">
                    <a16:creationId xmlns:a16="http://schemas.microsoft.com/office/drawing/2014/main" id="{0B54CD64-0980-4A2A-BE55-29A6D8189A5A}"/>
                  </a:ext>
                </a:extLst>
              </p:cNvPr>
              <p:cNvSpPr>
                <a:spLocks/>
              </p:cNvSpPr>
              <p:nvPr/>
            </p:nvSpPr>
            <p:spPr bwMode="gray">
              <a:xfrm>
                <a:off x="4058711" y="4020363"/>
                <a:ext cx="226187" cy="197528"/>
              </a:xfrm>
              <a:custGeom>
                <a:avLst/>
                <a:gdLst>
                  <a:gd name="T0" fmla="*/ 2147483647 w 570"/>
                  <a:gd name="T1" fmla="*/ 2147483647 h 450"/>
                  <a:gd name="T2" fmla="*/ 2147483647 w 570"/>
                  <a:gd name="T3" fmla="*/ 2147483647 h 450"/>
                  <a:gd name="T4" fmla="*/ 2147483647 w 570"/>
                  <a:gd name="T5" fmla="*/ 2147483647 h 450"/>
                  <a:gd name="T6" fmla="*/ 2147483647 w 570"/>
                  <a:gd name="T7" fmla="*/ 2147483647 h 450"/>
                  <a:gd name="T8" fmla="*/ 2147483647 w 570"/>
                  <a:gd name="T9" fmla="*/ 2147483647 h 450"/>
                  <a:gd name="T10" fmla="*/ 2147483647 w 570"/>
                  <a:gd name="T11" fmla="*/ 2147483647 h 450"/>
                  <a:gd name="T12" fmla="*/ 2147483647 w 570"/>
                  <a:gd name="T13" fmla="*/ 2147483647 h 450"/>
                  <a:gd name="T14" fmla="*/ 2147483647 w 570"/>
                  <a:gd name="T15" fmla="*/ 2147483647 h 450"/>
                  <a:gd name="T16" fmla="*/ 2147483647 w 570"/>
                  <a:gd name="T17" fmla="*/ 2147483647 h 450"/>
                  <a:gd name="T18" fmla="*/ 2147483647 w 570"/>
                  <a:gd name="T19" fmla="*/ 2147483647 h 450"/>
                  <a:gd name="T20" fmla="*/ 2147483647 w 570"/>
                  <a:gd name="T21" fmla="*/ 2147483647 h 450"/>
                  <a:gd name="T22" fmla="*/ 2147483647 w 570"/>
                  <a:gd name="T23" fmla="*/ 2147483647 h 450"/>
                  <a:gd name="T24" fmla="*/ 2147483647 w 570"/>
                  <a:gd name="T25" fmla="*/ 2147483647 h 450"/>
                  <a:gd name="T26" fmla="*/ 2147483647 w 570"/>
                  <a:gd name="T27" fmla="*/ 2147483647 h 450"/>
                  <a:gd name="T28" fmla="*/ 2147483647 w 570"/>
                  <a:gd name="T29" fmla="*/ 2147483647 h 450"/>
                  <a:gd name="T30" fmla="*/ 2147483647 w 570"/>
                  <a:gd name="T31" fmla="*/ 2147483647 h 450"/>
                  <a:gd name="T32" fmla="*/ 2147483647 w 570"/>
                  <a:gd name="T33" fmla="*/ 2147483647 h 450"/>
                  <a:gd name="T34" fmla="*/ 2147483647 w 570"/>
                  <a:gd name="T35" fmla="*/ 2147483647 h 450"/>
                  <a:gd name="T36" fmla="*/ 2147483647 w 570"/>
                  <a:gd name="T37" fmla="*/ 2147483647 h 450"/>
                  <a:gd name="T38" fmla="*/ 2147483647 w 570"/>
                  <a:gd name="T39" fmla="*/ 2147483647 h 450"/>
                  <a:gd name="T40" fmla="*/ 2147483647 w 570"/>
                  <a:gd name="T41" fmla="*/ 2147483647 h 450"/>
                  <a:gd name="T42" fmla="*/ 2147483647 w 570"/>
                  <a:gd name="T43" fmla="*/ 2147483647 h 450"/>
                  <a:gd name="T44" fmla="*/ 2147483647 w 570"/>
                  <a:gd name="T45" fmla="*/ 2147483647 h 450"/>
                  <a:gd name="T46" fmla="*/ 2147483647 w 570"/>
                  <a:gd name="T47" fmla="*/ 2147483647 h 450"/>
                  <a:gd name="T48" fmla="*/ 2147483647 w 570"/>
                  <a:gd name="T49" fmla="*/ 2147483647 h 450"/>
                  <a:gd name="T50" fmla="*/ 2147483647 w 570"/>
                  <a:gd name="T51" fmla="*/ 2147483647 h 450"/>
                  <a:gd name="T52" fmla="*/ 2147483647 w 570"/>
                  <a:gd name="T53" fmla="*/ 2147483647 h 450"/>
                  <a:gd name="T54" fmla="*/ 2147483647 w 570"/>
                  <a:gd name="T55" fmla="*/ 2147483647 h 450"/>
                  <a:gd name="T56" fmla="*/ 2147483647 w 570"/>
                  <a:gd name="T57" fmla="*/ 2147483647 h 450"/>
                  <a:gd name="T58" fmla="*/ 2147483647 w 570"/>
                  <a:gd name="T59" fmla="*/ 2147483647 h 450"/>
                  <a:gd name="T60" fmla="*/ 2147483647 w 570"/>
                  <a:gd name="T61" fmla="*/ 2147483647 h 450"/>
                  <a:gd name="T62" fmla="*/ 2147483647 w 570"/>
                  <a:gd name="T63" fmla="*/ 2147483647 h 450"/>
                  <a:gd name="T64" fmla="*/ 2147483647 w 570"/>
                  <a:gd name="T65" fmla="*/ 2147483647 h 450"/>
                  <a:gd name="T66" fmla="*/ 2147483647 w 570"/>
                  <a:gd name="T67" fmla="*/ 0 h 450"/>
                  <a:gd name="T68" fmla="*/ 2147483647 w 570"/>
                  <a:gd name="T69" fmla="*/ 2147483647 h 450"/>
                  <a:gd name="T70" fmla="*/ 2147483647 w 570"/>
                  <a:gd name="T71" fmla="*/ 2147483647 h 450"/>
                  <a:gd name="T72" fmla="*/ 2147483647 w 570"/>
                  <a:gd name="T73" fmla="*/ 2147483647 h 450"/>
                  <a:gd name="T74" fmla="*/ 2147483647 w 570"/>
                  <a:gd name="T75" fmla="*/ 2147483647 h 450"/>
                  <a:gd name="T76" fmla="*/ 2147483647 w 570"/>
                  <a:gd name="T77" fmla="*/ 2147483647 h 450"/>
                  <a:gd name="T78" fmla="*/ 2147483647 w 570"/>
                  <a:gd name="T79" fmla="*/ 2147483647 h 450"/>
                  <a:gd name="T80" fmla="*/ 2147483647 w 570"/>
                  <a:gd name="T81" fmla="*/ 2147483647 h 450"/>
                  <a:gd name="T82" fmla="*/ 2147483647 w 570"/>
                  <a:gd name="T83" fmla="*/ 2147483647 h 450"/>
                  <a:gd name="T84" fmla="*/ 2147483647 w 570"/>
                  <a:gd name="T85" fmla="*/ 2147483647 h 450"/>
                  <a:gd name="T86" fmla="*/ 2147483647 w 570"/>
                  <a:gd name="T87" fmla="*/ 2147483647 h 450"/>
                  <a:gd name="T88" fmla="*/ 2147483647 w 570"/>
                  <a:gd name="T89" fmla="*/ 2147483647 h 450"/>
                  <a:gd name="T90" fmla="*/ 2147483647 w 570"/>
                  <a:gd name="T91" fmla="*/ 2147483647 h 450"/>
                  <a:gd name="T92" fmla="*/ 2147483647 w 570"/>
                  <a:gd name="T93" fmla="*/ 2147483647 h 450"/>
                  <a:gd name="T94" fmla="*/ 2147483647 w 570"/>
                  <a:gd name="T95" fmla="*/ 2147483647 h 450"/>
                  <a:gd name="T96" fmla="*/ 2147483647 w 570"/>
                  <a:gd name="T97" fmla="*/ 2147483647 h 450"/>
                  <a:gd name="T98" fmla="*/ 2147483647 w 570"/>
                  <a:gd name="T99" fmla="*/ 2147483647 h 450"/>
                  <a:gd name="T100" fmla="*/ 2147483647 w 570"/>
                  <a:gd name="T101" fmla="*/ 2147483647 h 450"/>
                  <a:gd name="T102" fmla="*/ 2147483647 w 570"/>
                  <a:gd name="T103" fmla="*/ 2147483647 h 45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70"/>
                  <a:gd name="T157" fmla="*/ 0 h 450"/>
                  <a:gd name="T158" fmla="*/ 570 w 570"/>
                  <a:gd name="T159" fmla="*/ 450 h 45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70" h="450">
                    <a:moveTo>
                      <a:pt x="0" y="312"/>
                    </a:moveTo>
                    <a:lnTo>
                      <a:pt x="6" y="366"/>
                    </a:lnTo>
                    <a:lnTo>
                      <a:pt x="6" y="390"/>
                    </a:lnTo>
                    <a:lnTo>
                      <a:pt x="30" y="384"/>
                    </a:lnTo>
                    <a:lnTo>
                      <a:pt x="30" y="390"/>
                    </a:lnTo>
                    <a:lnTo>
                      <a:pt x="36" y="396"/>
                    </a:lnTo>
                    <a:lnTo>
                      <a:pt x="36" y="408"/>
                    </a:lnTo>
                    <a:lnTo>
                      <a:pt x="42" y="420"/>
                    </a:lnTo>
                    <a:lnTo>
                      <a:pt x="54" y="426"/>
                    </a:lnTo>
                    <a:lnTo>
                      <a:pt x="60" y="432"/>
                    </a:lnTo>
                    <a:lnTo>
                      <a:pt x="72" y="432"/>
                    </a:lnTo>
                    <a:lnTo>
                      <a:pt x="78" y="438"/>
                    </a:lnTo>
                    <a:lnTo>
                      <a:pt x="90" y="438"/>
                    </a:lnTo>
                    <a:lnTo>
                      <a:pt x="96" y="432"/>
                    </a:lnTo>
                    <a:lnTo>
                      <a:pt x="96" y="426"/>
                    </a:lnTo>
                    <a:lnTo>
                      <a:pt x="120" y="414"/>
                    </a:lnTo>
                    <a:lnTo>
                      <a:pt x="150" y="414"/>
                    </a:lnTo>
                    <a:lnTo>
                      <a:pt x="168" y="420"/>
                    </a:lnTo>
                    <a:lnTo>
                      <a:pt x="186" y="438"/>
                    </a:lnTo>
                    <a:lnTo>
                      <a:pt x="186" y="450"/>
                    </a:lnTo>
                    <a:lnTo>
                      <a:pt x="204" y="444"/>
                    </a:lnTo>
                    <a:lnTo>
                      <a:pt x="198" y="450"/>
                    </a:lnTo>
                    <a:lnTo>
                      <a:pt x="198" y="396"/>
                    </a:lnTo>
                    <a:lnTo>
                      <a:pt x="192" y="366"/>
                    </a:lnTo>
                    <a:lnTo>
                      <a:pt x="186" y="366"/>
                    </a:lnTo>
                    <a:lnTo>
                      <a:pt x="186" y="348"/>
                    </a:lnTo>
                    <a:lnTo>
                      <a:pt x="192" y="336"/>
                    </a:lnTo>
                    <a:lnTo>
                      <a:pt x="198" y="330"/>
                    </a:lnTo>
                    <a:lnTo>
                      <a:pt x="354" y="330"/>
                    </a:lnTo>
                    <a:lnTo>
                      <a:pt x="378" y="318"/>
                    </a:lnTo>
                    <a:lnTo>
                      <a:pt x="396" y="324"/>
                    </a:lnTo>
                    <a:lnTo>
                      <a:pt x="414" y="324"/>
                    </a:lnTo>
                    <a:lnTo>
                      <a:pt x="438" y="330"/>
                    </a:lnTo>
                    <a:lnTo>
                      <a:pt x="456" y="330"/>
                    </a:lnTo>
                    <a:lnTo>
                      <a:pt x="462" y="318"/>
                    </a:lnTo>
                    <a:lnTo>
                      <a:pt x="474" y="318"/>
                    </a:lnTo>
                    <a:lnTo>
                      <a:pt x="480" y="306"/>
                    </a:lnTo>
                    <a:lnTo>
                      <a:pt x="498" y="288"/>
                    </a:lnTo>
                    <a:lnTo>
                      <a:pt x="528" y="288"/>
                    </a:lnTo>
                    <a:lnTo>
                      <a:pt x="534" y="294"/>
                    </a:lnTo>
                    <a:lnTo>
                      <a:pt x="534" y="282"/>
                    </a:lnTo>
                    <a:lnTo>
                      <a:pt x="540" y="282"/>
                    </a:lnTo>
                    <a:lnTo>
                      <a:pt x="546" y="276"/>
                    </a:lnTo>
                    <a:lnTo>
                      <a:pt x="558" y="276"/>
                    </a:lnTo>
                    <a:lnTo>
                      <a:pt x="564" y="258"/>
                    </a:lnTo>
                    <a:lnTo>
                      <a:pt x="570" y="252"/>
                    </a:lnTo>
                    <a:lnTo>
                      <a:pt x="564" y="252"/>
                    </a:lnTo>
                    <a:lnTo>
                      <a:pt x="540" y="216"/>
                    </a:lnTo>
                    <a:lnTo>
                      <a:pt x="564" y="210"/>
                    </a:lnTo>
                    <a:lnTo>
                      <a:pt x="558" y="198"/>
                    </a:lnTo>
                    <a:lnTo>
                      <a:pt x="546" y="186"/>
                    </a:lnTo>
                    <a:lnTo>
                      <a:pt x="534" y="186"/>
                    </a:lnTo>
                    <a:lnTo>
                      <a:pt x="522" y="198"/>
                    </a:lnTo>
                    <a:lnTo>
                      <a:pt x="504" y="198"/>
                    </a:lnTo>
                    <a:lnTo>
                      <a:pt x="498" y="186"/>
                    </a:lnTo>
                    <a:lnTo>
                      <a:pt x="486" y="180"/>
                    </a:lnTo>
                    <a:lnTo>
                      <a:pt x="462" y="156"/>
                    </a:lnTo>
                    <a:lnTo>
                      <a:pt x="462" y="150"/>
                    </a:lnTo>
                    <a:lnTo>
                      <a:pt x="480" y="132"/>
                    </a:lnTo>
                    <a:lnTo>
                      <a:pt x="468" y="132"/>
                    </a:lnTo>
                    <a:lnTo>
                      <a:pt x="468" y="114"/>
                    </a:lnTo>
                    <a:lnTo>
                      <a:pt x="444" y="114"/>
                    </a:lnTo>
                    <a:lnTo>
                      <a:pt x="432" y="108"/>
                    </a:lnTo>
                    <a:lnTo>
                      <a:pt x="420" y="84"/>
                    </a:lnTo>
                    <a:lnTo>
                      <a:pt x="420" y="60"/>
                    </a:lnTo>
                    <a:lnTo>
                      <a:pt x="414" y="48"/>
                    </a:lnTo>
                    <a:lnTo>
                      <a:pt x="414" y="12"/>
                    </a:lnTo>
                    <a:lnTo>
                      <a:pt x="390" y="0"/>
                    </a:lnTo>
                    <a:lnTo>
                      <a:pt x="342" y="0"/>
                    </a:lnTo>
                    <a:lnTo>
                      <a:pt x="324" y="18"/>
                    </a:lnTo>
                    <a:lnTo>
                      <a:pt x="300" y="18"/>
                    </a:lnTo>
                    <a:lnTo>
                      <a:pt x="282" y="42"/>
                    </a:lnTo>
                    <a:lnTo>
                      <a:pt x="258" y="42"/>
                    </a:lnTo>
                    <a:lnTo>
                      <a:pt x="258" y="60"/>
                    </a:lnTo>
                    <a:lnTo>
                      <a:pt x="252" y="66"/>
                    </a:lnTo>
                    <a:lnTo>
                      <a:pt x="252" y="72"/>
                    </a:lnTo>
                    <a:lnTo>
                      <a:pt x="240" y="72"/>
                    </a:lnTo>
                    <a:lnTo>
                      <a:pt x="228" y="60"/>
                    </a:lnTo>
                    <a:lnTo>
                      <a:pt x="222" y="60"/>
                    </a:lnTo>
                    <a:lnTo>
                      <a:pt x="216" y="66"/>
                    </a:lnTo>
                    <a:lnTo>
                      <a:pt x="210" y="78"/>
                    </a:lnTo>
                    <a:lnTo>
                      <a:pt x="198" y="84"/>
                    </a:lnTo>
                    <a:lnTo>
                      <a:pt x="192" y="96"/>
                    </a:lnTo>
                    <a:lnTo>
                      <a:pt x="186" y="102"/>
                    </a:lnTo>
                    <a:lnTo>
                      <a:pt x="186" y="108"/>
                    </a:lnTo>
                    <a:lnTo>
                      <a:pt x="168" y="108"/>
                    </a:lnTo>
                    <a:lnTo>
                      <a:pt x="168" y="144"/>
                    </a:lnTo>
                    <a:lnTo>
                      <a:pt x="144" y="150"/>
                    </a:lnTo>
                    <a:lnTo>
                      <a:pt x="114" y="120"/>
                    </a:lnTo>
                    <a:lnTo>
                      <a:pt x="96" y="150"/>
                    </a:lnTo>
                    <a:lnTo>
                      <a:pt x="102" y="156"/>
                    </a:lnTo>
                    <a:lnTo>
                      <a:pt x="102" y="186"/>
                    </a:lnTo>
                    <a:lnTo>
                      <a:pt x="84" y="186"/>
                    </a:lnTo>
                    <a:lnTo>
                      <a:pt x="84" y="216"/>
                    </a:lnTo>
                    <a:lnTo>
                      <a:pt x="78" y="222"/>
                    </a:lnTo>
                    <a:lnTo>
                      <a:pt x="72" y="222"/>
                    </a:lnTo>
                    <a:lnTo>
                      <a:pt x="78" y="228"/>
                    </a:lnTo>
                    <a:lnTo>
                      <a:pt x="78" y="240"/>
                    </a:lnTo>
                    <a:lnTo>
                      <a:pt x="42" y="240"/>
                    </a:lnTo>
                    <a:lnTo>
                      <a:pt x="36" y="246"/>
                    </a:lnTo>
                    <a:lnTo>
                      <a:pt x="30" y="246"/>
                    </a:lnTo>
                    <a:lnTo>
                      <a:pt x="12" y="258"/>
                    </a:lnTo>
                    <a:lnTo>
                      <a:pt x="36" y="288"/>
                    </a:lnTo>
                    <a:lnTo>
                      <a:pt x="24" y="312"/>
                    </a:lnTo>
                    <a:lnTo>
                      <a:pt x="0" y="312"/>
                    </a:lnTo>
                    <a:close/>
                  </a:path>
                </a:pathLst>
              </a:custGeom>
              <a:solidFill>
                <a:srgbClr val="9D90A0">
                  <a:lumMod val="40000"/>
                  <a:lumOff val="60000"/>
                </a:srgbClr>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162" name="Botswana" descr="© INSCALE GmbH, 05.05.2010&#10;http://www.presentationload.com/">
                <a:extLst>
                  <a:ext uri="{FF2B5EF4-FFF2-40B4-BE49-F238E27FC236}">
                    <a16:creationId xmlns:a16="http://schemas.microsoft.com/office/drawing/2014/main" id="{E322584A-73E1-4D51-8E70-7E8D54782EC9}"/>
                  </a:ext>
                </a:extLst>
              </p:cNvPr>
              <p:cNvSpPr>
                <a:spLocks/>
              </p:cNvSpPr>
              <p:nvPr/>
            </p:nvSpPr>
            <p:spPr bwMode="gray">
              <a:xfrm>
                <a:off x="4768471" y="5181272"/>
                <a:ext cx="257385" cy="322282"/>
              </a:xfrm>
              <a:custGeom>
                <a:avLst/>
                <a:gdLst>
                  <a:gd name="T0" fmla="*/ 2147483647 w 648"/>
                  <a:gd name="T1" fmla="*/ 2147483647 h 732"/>
                  <a:gd name="T2" fmla="*/ 2147483647 w 648"/>
                  <a:gd name="T3" fmla="*/ 2147483647 h 732"/>
                  <a:gd name="T4" fmla="*/ 2147483647 w 648"/>
                  <a:gd name="T5" fmla="*/ 2147483647 h 732"/>
                  <a:gd name="T6" fmla="*/ 2147483647 w 648"/>
                  <a:gd name="T7" fmla="*/ 2147483647 h 732"/>
                  <a:gd name="T8" fmla="*/ 2147483647 w 648"/>
                  <a:gd name="T9" fmla="*/ 2147483647 h 732"/>
                  <a:gd name="T10" fmla="*/ 2147483647 w 648"/>
                  <a:gd name="T11" fmla="*/ 2147483647 h 732"/>
                  <a:gd name="T12" fmla="*/ 2147483647 w 648"/>
                  <a:gd name="T13" fmla="*/ 2147483647 h 732"/>
                  <a:gd name="T14" fmla="*/ 2147483647 w 648"/>
                  <a:gd name="T15" fmla="*/ 2147483647 h 732"/>
                  <a:gd name="T16" fmla="*/ 2147483647 w 648"/>
                  <a:gd name="T17" fmla="*/ 2147483647 h 732"/>
                  <a:gd name="T18" fmla="*/ 2147483647 w 648"/>
                  <a:gd name="T19" fmla="*/ 2147483647 h 732"/>
                  <a:gd name="T20" fmla="*/ 2147483647 w 648"/>
                  <a:gd name="T21" fmla="*/ 2147483647 h 732"/>
                  <a:gd name="T22" fmla="*/ 2147483647 w 648"/>
                  <a:gd name="T23" fmla="*/ 2147483647 h 732"/>
                  <a:gd name="T24" fmla="*/ 2147483647 w 648"/>
                  <a:gd name="T25" fmla="*/ 2147483647 h 732"/>
                  <a:gd name="T26" fmla="*/ 2147483647 w 648"/>
                  <a:gd name="T27" fmla="*/ 2147483647 h 732"/>
                  <a:gd name="T28" fmla="*/ 2147483647 w 648"/>
                  <a:gd name="T29" fmla="*/ 2147483647 h 732"/>
                  <a:gd name="T30" fmla="*/ 2147483647 w 648"/>
                  <a:gd name="T31" fmla="*/ 2147483647 h 732"/>
                  <a:gd name="T32" fmla="*/ 2147483647 w 648"/>
                  <a:gd name="T33" fmla="*/ 2147483647 h 732"/>
                  <a:gd name="T34" fmla="*/ 2147483647 w 648"/>
                  <a:gd name="T35" fmla="*/ 2147483647 h 732"/>
                  <a:gd name="T36" fmla="*/ 2147483647 w 648"/>
                  <a:gd name="T37" fmla="*/ 2147483647 h 732"/>
                  <a:gd name="T38" fmla="*/ 2147483647 w 648"/>
                  <a:gd name="T39" fmla="*/ 2147483647 h 732"/>
                  <a:gd name="T40" fmla="*/ 2147483647 w 648"/>
                  <a:gd name="T41" fmla="*/ 2147483647 h 732"/>
                  <a:gd name="T42" fmla="*/ 2147483647 w 648"/>
                  <a:gd name="T43" fmla="*/ 2147483647 h 732"/>
                  <a:gd name="T44" fmla="*/ 2147483647 w 648"/>
                  <a:gd name="T45" fmla="*/ 2147483647 h 732"/>
                  <a:gd name="T46" fmla="*/ 2147483647 w 648"/>
                  <a:gd name="T47" fmla="*/ 2147483647 h 732"/>
                  <a:gd name="T48" fmla="*/ 2147483647 w 648"/>
                  <a:gd name="T49" fmla="*/ 2147483647 h 732"/>
                  <a:gd name="T50" fmla="*/ 2147483647 w 648"/>
                  <a:gd name="T51" fmla="*/ 2147483647 h 732"/>
                  <a:gd name="T52" fmla="*/ 2147483647 w 648"/>
                  <a:gd name="T53" fmla="*/ 2147483647 h 732"/>
                  <a:gd name="T54" fmla="*/ 2147483647 w 648"/>
                  <a:gd name="T55" fmla="*/ 2147483647 h 732"/>
                  <a:gd name="T56" fmla="*/ 2147483647 w 648"/>
                  <a:gd name="T57" fmla="*/ 2147483647 h 732"/>
                  <a:gd name="T58" fmla="*/ 2147483647 w 648"/>
                  <a:gd name="T59" fmla="*/ 2147483647 h 732"/>
                  <a:gd name="T60" fmla="*/ 2147483647 w 648"/>
                  <a:gd name="T61" fmla="*/ 2147483647 h 732"/>
                  <a:gd name="T62" fmla="*/ 2147483647 w 648"/>
                  <a:gd name="T63" fmla="*/ 2147483647 h 732"/>
                  <a:gd name="T64" fmla="*/ 2147483647 w 648"/>
                  <a:gd name="T65" fmla="*/ 2147483647 h 732"/>
                  <a:gd name="T66" fmla="*/ 2147483647 w 648"/>
                  <a:gd name="T67" fmla="*/ 2147483647 h 732"/>
                  <a:gd name="T68" fmla="*/ 2147483647 w 648"/>
                  <a:gd name="T69" fmla="*/ 2147483647 h 732"/>
                  <a:gd name="T70" fmla="*/ 2147483647 w 648"/>
                  <a:gd name="T71" fmla="*/ 2147483647 h 732"/>
                  <a:gd name="T72" fmla="*/ 2147483647 w 648"/>
                  <a:gd name="T73" fmla="*/ 2147483647 h 732"/>
                  <a:gd name="T74" fmla="*/ 2147483647 w 648"/>
                  <a:gd name="T75" fmla="*/ 2147483647 h 732"/>
                  <a:gd name="T76" fmla="*/ 2147483647 w 648"/>
                  <a:gd name="T77" fmla="*/ 2147483647 h 732"/>
                  <a:gd name="T78" fmla="*/ 2147483647 w 648"/>
                  <a:gd name="T79" fmla="*/ 2147483647 h 732"/>
                  <a:gd name="T80" fmla="*/ 2147483647 w 648"/>
                  <a:gd name="T81" fmla="*/ 2147483647 h 732"/>
                  <a:gd name="T82" fmla="*/ 2147483647 w 648"/>
                  <a:gd name="T83" fmla="*/ 2147483647 h 732"/>
                  <a:gd name="T84" fmla="*/ 2147483647 w 648"/>
                  <a:gd name="T85" fmla="*/ 2147483647 h 732"/>
                  <a:gd name="T86" fmla="*/ 2147483647 w 648"/>
                  <a:gd name="T87" fmla="*/ 2147483647 h 732"/>
                  <a:gd name="T88" fmla="*/ 2147483647 w 648"/>
                  <a:gd name="T89" fmla="*/ 2147483647 h 732"/>
                  <a:gd name="T90" fmla="*/ 2147483647 w 648"/>
                  <a:gd name="T91" fmla="*/ 2147483647 h 732"/>
                  <a:gd name="T92" fmla="*/ 2147483647 w 648"/>
                  <a:gd name="T93" fmla="*/ 2147483647 h 732"/>
                  <a:gd name="T94" fmla="*/ 2147483647 w 648"/>
                  <a:gd name="T95" fmla="*/ 0 h 732"/>
                  <a:gd name="T96" fmla="*/ 2147483647 w 648"/>
                  <a:gd name="T97" fmla="*/ 2147483647 h 732"/>
                  <a:gd name="T98" fmla="*/ 2147483647 w 648"/>
                  <a:gd name="T99" fmla="*/ 2147483647 h 732"/>
                  <a:gd name="T100" fmla="*/ 2147483647 w 648"/>
                  <a:gd name="T101" fmla="*/ 2147483647 h 732"/>
                  <a:gd name="T102" fmla="*/ 2147483647 w 648"/>
                  <a:gd name="T103" fmla="*/ 2147483647 h 732"/>
                  <a:gd name="T104" fmla="*/ 2147483647 w 648"/>
                  <a:gd name="T105" fmla="*/ 2147483647 h 732"/>
                  <a:gd name="T106" fmla="*/ 2147483647 w 648"/>
                  <a:gd name="T107" fmla="*/ 2147483647 h 732"/>
                  <a:gd name="T108" fmla="*/ 2147483647 w 648"/>
                  <a:gd name="T109" fmla="*/ 2147483647 h 732"/>
                  <a:gd name="T110" fmla="*/ 2147483647 w 648"/>
                  <a:gd name="T111" fmla="*/ 2147483647 h 732"/>
                  <a:gd name="T112" fmla="*/ 2147483647 w 648"/>
                  <a:gd name="T113" fmla="*/ 2147483647 h 732"/>
                  <a:gd name="T114" fmla="*/ 0 w 648"/>
                  <a:gd name="T115" fmla="*/ 2147483647 h 73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48"/>
                  <a:gd name="T175" fmla="*/ 0 h 732"/>
                  <a:gd name="T176" fmla="*/ 648 w 648"/>
                  <a:gd name="T177" fmla="*/ 732 h 73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48" h="732">
                    <a:moveTo>
                      <a:pt x="0" y="570"/>
                    </a:moveTo>
                    <a:lnTo>
                      <a:pt x="12" y="576"/>
                    </a:lnTo>
                    <a:lnTo>
                      <a:pt x="18" y="582"/>
                    </a:lnTo>
                    <a:lnTo>
                      <a:pt x="30" y="588"/>
                    </a:lnTo>
                    <a:lnTo>
                      <a:pt x="36" y="594"/>
                    </a:lnTo>
                    <a:lnTo>
                      <a:pt x="42" y="612"/>
                    </a:lnTo>
                    <a:lnTo>
                      <a:pt x="48" y="624"/>
                    </a:lnTo>
                    <a:lnTo>
                      <a:pt x="48" y="642"/>
                    </a:lnTo>
                    <a:lnTo>
                      <a:pt x="54" y="648"/>
                    </a:lnTo>
                    <a:lnTo>
                      <a:pt x="54" y="672"/>
                    </a:lnTo>
                    <a:lnTo>
                      <a:pt x="48" y="684"/>
                    </a:lnTo>
                    <a:lnTo>
                      <a:pt x="48" y="690"/>
                    </a:lnTo>
                    <a:lnTo>
                      <a:pt x="42" y="702"/>
                    </a:lnTo>
                    <a:lnTo>
                      <a:pt x="42" y="732"/>
                    </a:lnTo>
                    <a:lnTo>
                      <a:pt x="120" y="732"/>
                    </a:lnTo>
                    <a:lnTo>
                      <a:pt x="120" y="714"/>
                    </a:lnTo>
                    <a:lnTo>
                      <a:pt x="144" y="714"/>
                    </a:lnTo>
                    <a:lnTo>
                      <a:pt x="144" y="708"/>
                    </a:lnTo>
                    <a:lnTo>
                      <a:pt x="150" y="702"/>
                    </a:lnTo>
                    <a:lnTo>
                      <a:pt x="156" y="690"/>
                    </a:lnTo>
                    <a:lnTo>
                      <a:pt x="162" y="684"/>
                    </a:lnTo>
                    <a:lnTo>
                      <a:pt x="168" y="684"/>
                    </a:lnTo>
                    <a:lnTo>
                      <a:pt x="174" y="678"/>
                    </a:lnTo>
                    <a:lnTo>
                      <a:pt x="186" y="678"/>
                    </a:lnTo>
                    <a:lnTo>
                      <a:pt x="186" y="654"/>
                    </a:lnTo>
                    <a:lnTo>
                      <a:pt x="192" y="642"/>
                    </a:lnTo>
                    <a:lnTo>
                      <a:pt x="192" y="630"/>
                    </a:lnTo>
                    <a:lnTo>
                      <a:pt x="198" y="618"/>
                    </a:lnTo>
                    <a:lnTo>
                      <a:pt x="204" y="612"/>
                    </a:lnTo>
                    <a:lnTo>
                      <a:pt x="216" y="606"/>
                    </a:lnTo>
                    <a:lnTo>
                      <a:pt x="228" y="606"/>
                    </a:lnTo>
                    <a:lnTo>
                      <a:pt x="240" y="612"/>
                    </a:lnTo>
                    <a:lnTo>
                      <a:pt x="246" y="618"/>
                    </a:lnTo>
                    <a:lnTo>
                      <a:pt x="258" y="624"/>
                    </a:lnTo>
                    <a:lnTo>
                      <a:pt x="270" y="636"/>
                    </a:lnTo>
                    <a:lnTo>
                      <a:pt x="300" y="636"/>
                    </a:lnTo>
                    <a:lnTo>
                      <a:pt x="306" y="642"/>
                    </a:lnTo>
                    <a:lnTo>
                      <a:pt x="318" y="648"/>
                    </a:lnTo>
                    <a:lnTo>
                      <a:pt x="324" y="654"/>
                    </a:lnTo>
                    <a:lnTo>
                      <a:pt x="336" y="654"/>
                    </a:lnTo>
                    <a:lnTo>
                      <a:pt x="348" y="648"/>
                    </a:lnTo>
                    <a:lnTo>
                      <a:pt x="354" y="642"/>
                    </a:lnTo>
                    <a:lnTo>
                      <a:pt x="360" y="648"/>
                    </a:lnTo>
                    <a:lnTo>
                      <a:pt x="372" y="648"/>
                    </a:lnTo>
                    <a:lnTo>
                      <a:pt x="384" y="642"/>
                    </a:lnTo>
                    <a:lnTo>
                      <a:pt x="390" y="636"/>
                    </a:lnTo>
                    <a:lnTo>
                      <a:pt x="396" y="624"/>
                    </a:lnTo>
                    <a:lnTo>
                      <a:pt x="402" y="606"/>
                    </a:lnTo>
                    <a:lnTo>
                      <a:pt x="408" y="594"/>
                    </a:lnTo>
                    <a:lnTo>
                      <a:pt x="408" y="582"/>
                    </a:lnTo>
                    <a:lnTo>
                      <a:pt x="426" y="564"/>
                    </a:lnTo>
                    <a:lnTo>
                      <a:pt x="444" y="558"/>
                    </a:lnTo>
                    <a:lnTo>
                      <a:pt x="456" y="552"/>
                    </a:lnTo>
                    <a:lnTo>
                      <a:pt x="462" y="546"/>
                    </a:lnTo>
                    <a:lnTo>
                      <a:pt x="468" y="534"/>
                    </a:lnTo>
                    <a:lnTo>
                      <a:pt x="480" y="528"/>
                    </a:lnTo>
                    <a:lnTo>
                      <a:pt x="480" y="492"/>
                    </a:lnTo>
                    <a:lnTo>
                      <a:pt x="492" y="468"/>
                    </a:lnTo>
                    <a:lnTo>
                      <a:pt x="504" y="462"/>
                    </a:lnTo>
                    <a:lnTo>
                      <a:pt x="510" y="462"/>
                    </a:lnTo>
                    <a:lnTo>
                      <a:pt x="522" y="456"/>
                    </a:lnTo>
                    <a:lnTo>
                      <a:pt x="564" y="414"/>
                    </a:lnTo>
                    <a:lnTo>
                      <a:pt x="576" y="390"/>
                    </a:lnTo>
                    <a:lnTo>
                      <a:pt x="582" y="384"/>
                    </a:lnTo>
                    <a:lnTo>
                      <a:pt x="594" y="384"/>
                    </a:lnTo>
                    <a:lnTo>
                      <a:pt x="606" y="378"/>
                    </a:lnTo>
                    <a:lnTo>
                      <a:pt x="618" y="378"/>
                    </a:lnTo>
                    <a:lnTo>
                      <a:pt x="630" y="354"/>
                    </a:lnTo>
                    <a:lnTo>
                      <a:pt x="648" y="354"/>
                    </a:lnTo>
                    <a:lnTo>
                      <a:pt x="648" y="348"/>
                    </a:lnTo>
                    <a:lnTo>
                      <a:pt x="642" y="336"/>
                    </a:lnTo>
                    <a:lnTo>
                      <a:pt x="624" y="318"/>
                    </a:lnTo>
                    <a:lnTo>
                      <a:pt x="606" y="312"/>
                    </a:lnTo>
                    <a:lnTo>
                      <a:pt x="594" y="312"/>
                    </a:lnTo>
                    <a:lnTo>
                      <a:pt x="576" y="306"/>
                    </a:lnTo>
                    <a:lnTo>
                      <a:pt x="564" y="306"/>
                    </a:lnTo>
                    <a:lnTo>
                      <a:pt x="564" y="276"/>
                    </a:lnTo>
                    <a:lnTo>
                      <a:pt x="546" y="276"/>
                    </a:lnTo>
                    <a:lnTo>
                      <a:pt x="546" y="246"/>
                    </a:lnTo>
                    <a:lnTo>
                      <a:pt x="552" y="240"/>
                    </a:lnTo>
                    <a:lnTo>
                      <a:pt x="546" y="216"/>
                    </a:lnTo>
                    <a:lnTo>
                      <a:pt x="516" y="216"/>
                    </a:lnTo>
                    <a:lnTo>
                      <a:pt x="516" y="186"/>
                    </a:lnTo>
                    <a:lnTo>
                      <a:pt x="510" y="180"/>
                    </a:lnTo>
                    <a:lnTo>
                      <a:pt x="480" y="180"/>
                    </a:lnTo>
                    <a:lnTo>
                      <a:pt x="462" y="162"/>
                    </a:lnTo>
                    <a:lnTo>
                      <a:pt x="450" y="156"/>
                    </a:lnTo>
                    <a:lnTo>
                      <a:pt x="432" y="120"/>
                    </a:lnTo>
                    <a:lnTo>
                      <a:pt x="432" y="96"/>
                    </a:lnTo>
                    <a:lnTo>
                      <a:pt x="426" y="90"/>
                    </a:lnTo>
                    <a:lnTo>
                      <a:pt x="414" y="66"/>
                    </a:lnTo>
                    <a:lnTo>
                      <a:pt x="408" y="60"/>
                    </a:lnTo>
                    <a:lnTo>
                      <a:pt x="396" y="60"/>
                    </a:lnTo>
                    <a:lnTo>
                      <a:pt x="396" y="30"/>
                    </a:lnTo>
                    <a:lnTo>
                      <a:pt x="384" y="18"/>
                    </a:lnTo>
                    <a:lnTo>
                      <a:pt x="378" y="0"/>
                    </a:lnTo>
                    <a:lnTo>
                      <a:pt x="342" y="6"/>
                    </a:lnTo>
                    <a:lnTo>
                      <a:pt x="330" y="18"/>
                    </a:lnTo>
                    <a:lnTo>
                      <a:pt x="306" y="18"/>
                    </a:lnTo>
                    <a:lnTo>
                      <a:pt x="264" y="60"/>
                    </a:lnTo>
                    <a:lnTo>
                      <a:pt x="258" y="60"/>
                    </a:lnTo>
                    <a:lnTo>
                      <a:pt x="258" y="42"/>
                    </a:lnTo>
                    <a:lnTo>
                      <a:pt x="252" y="42"/>
                    </a:lnTo>
                    <a:lnTo>
                      <a:pt x="252" y="24"/>
                    </a:lnTo>
                    <a:lnTo>
                      <a:pt x="246" y="18"/>
                    </a:lnTo>
                    <a:lnTo>
                      <a:pt x="228" y="18"/>
                    </a:lnTo>
                    <a:lnTo>
                      <a:pt x="216" y="24"/>
                    </a:lnTo>
                    <a:lnTo>
                      <a:pt x="168" y="36"/>
                    </a:lnTo>
                    <a:lnTo>
                      <a:pt x="132" y="36"/>
                    </a:lnTo>
                    <a:lnTo>
                      <a:pt x="114" y="42"/>
                    </a:lnTo>
                    <a:lnTo>
                      <a:pt x="78" y="42"/>
                    </a:lnTo>
                    <a:lnTo>
                      <a:pt x="78" y="216"/>
                    </a:lnTo>
                    <a:lnTo>
                      <a:pt x="72" y="222"/>
                    </a:lnTo>
                    <a:lnTo>
                      <a:pt x="78" y="348"/>
                    </a:lnTo>
                    <a:lnTo>
                      <a:pt x="6" y="348"/>
                    </a:lnTo>
                    <a:lnTo>
                      <a:pt x="0" y="570"/>
                    </a:lnTo>
                    <a:close/>
                  </a:path>
                </a:pathLst>
              </a:custGeom>
              <a:solidFill>
                <a:srgbClr val="9D90A0">
                  <a:lumMod val="40000"/>
                  <a:lumOff val="60000"/>
                </a:srgbClr>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163" name="Benin" descr="© INSCALE GmbH, 05.05.2010&#10;http://www.presentationload.com/">
                <a:extLst>
                  <a:ext uri="{FF2B5EF4-FFF2-40B4-BE49-F238E27FC236}">
                    <a16:creationId xmlns:a16="http://schemas.microsoft.com/office/drawing/2014/main" id="{856E5A59-8BF5-4761-94C5-0DC4F49ADEE4}"/>
                  </a:ext>
                </a:extLst>
              </p:cNvPr>
              <p:cNvSpPr>
                <a:spLocks/>
              </p:cNvSpPr>
              <p:nvPr/>
            </p:nvSpPr>
            <p:spPr bwMode="gray">
              <a:xfrm>
                <a:off x="4236541" y="4115662"/>
                <a:ext cx="88915" cy="218320"/>
              </a:xfrm>
              <a:custGeom>
                <a:avLst/>
                <a:gdLst>
                  <a:gd name="T0" fmla="*/ 2147483647 w 222"/>
                  <a:gd name="T1" fmla="*/ 2147483647 h 498"/>
                  <a:gd name="T2" fmla="*/ 2147483647 w 222"/>
                  <a:gd name="T3" fmla="*/ 2147483647 h 498"/>
                  <a:gd name="T4" fmla="*/ 2147483647 w 222"/>
                  <a:gd name="T5" fmla="*/ 2147483647 h 498"/>
                  <a:gd name="T6" fmla="*/ 2147483647 w 222"/>
                  <a:gd name="T7" fmla="*/ 2147483647 h 498"/>
                  <a:gd name="T8" fmla="*/ 2147483647 w 222"/>
                  <a:gd name="T9" fmla="*/ 2147483647 h 498"/>
                  <a:gd name="T10" fmla="*/ 2147483647 w 222"/>
                  <a:gd name="T11" fmla="*/ 2147483647 h 498"/>
                  <a:gd name="T12" fmla="*/ 2147483647 w 222"/>
                  <a:gd name="T13" fmla="*/ 2147483647 h 498"/>
                  <a:gd name="T14" fmla="*/ 2147483647 w 222"/>
                  <a:gd name="T15" fmla="*/ 2147483647 h 498"/>
                  <a:gd name="T16" fmla="*/ 2147483647 w 222"/>
                  <a:gd name="T17" fmla="*/ 2147483647 h 498"/>
                  <a:gd name="T18" fmla="*/ 2147483647 w 222"/>
                  <a:gd name="T19" fmla="*/ 2147483647 h 498"/>
                  <a:gd name="T20" fmla="*/ 2147483647 w 222"/>
                  <a:gd name="T21" fmla="*/ 2147483647 h 498"/>
                  <a:gd name="T22" fmla="*/ 2147483647 w 222"/>
                  <a:gd name="T23" fmla="*/ 2147483647 h 498"/>
                  <a:gd name="T24" fmla="*/ 2147483647 w 222"/>
                  <a:gd name="T25" fmla="*/ 2147483647 h 498"/>
                  <a:gd name="T26" fmla="*/ 2147483647 w 222"/>
                  <a:gd name="T27" fmla="*/ 2147483647 h 498"/>
                  <a:gd name="T28" fmla="*/ 2147483647 w 222"/>
                  <a:gd name="T29" fmla="*/ 2147483647 h 498"/>
                  <a:gd name="T30" fmla="*/ 2147483647 w 222"/>
                  <a:gd name="T31" fmla="*/ 2147483647 h 498"/>
                  <a:gd name="T32" fmla="*/ 2147483647 w 222"/>
                  <a:gd name="T33" fmla="*/ 2147483647 h 498"/>
                  <a:gd name="T34" fmla="*/ 2147483647 w 222"/>
                  <a:gd name="T35" fmla="*/ 2147483647 h 498"/>
                  <a:gd name="T36" fmla="*/ 2147483647 w 222"/>
                  <a:gd name="T37" fmla="*/ 2147483647 h 498"/>
                  <a:gd name="T38" fmla="*/ 2147483647 w 222"/>
                  <a:gd name="T39" fmla="*/ 2147483647 h 498"/>
                  <a:gd name="T40" fmla="*/ 2147483647 w 222"/>
                  <a:gd name="T41" fmla="*/ 2147483647 h 498"/>
                  <a:gd name="T42" fmla="*/ 2147483647 w 222"/>
                  <a:gd name="T43" fmla="*/ 2147483647 h 498"/>
                  <a:gd name="T44" fmla="*/ 2147483647 w 222"/>
                  <a:gd name="T45" fmla="*/ 2147483647 h 498"/>
                  <a:gd name="T46" fmla="*/ 0 w 222"/>
                  <a:gd name="T47" fmla="*/ 2147483647 h 498"/>
                  <a:gd name="T48" fmla="*/ 2147483647 w 222"/>
                  <a:gd name="T49" fmla="*/ 2147483647 h 498"/>
                  <a:gd name="T50" fmla="*/ 2147483647 w 222"/>
                  <a:gd name="T51" fmla="*/ 2147483647 h 498"/>
                  <a:gd name="T52" fmla="*/ 2147483647 w 222"/>
                  <a:gd name="T53" fmla="*/ 2147483647 h 498"/>
                  <a:gd name="T54" fmla="*/ 2147483647 w 222"/>
                  <a:gd name="T55" fmla="*/ 2147483647 h 498"/>
                  <a:gd name="T56" fmla="*/ 2147483647 w 222"/>
                  <a:gd name="T57" fmla="*/ 2147483647 h 498"/>
                  <a:gd name="T58" fmla="*/ 2147483647 w 222"/>
                  <a:gd name="T59" fmla="*/ 2147483647 h 498"/>
                  <a:gd name="T60" fmla="*/ 2147483647 w 222"/>
                  <a:gd name="T61" fmla="*/ 2147483647 h 498"/>
                  <a:gd name="T62" fmla="*/ 2147483647 w 222"/>
                  <a:gd name="T63" fmla="*/ 2147483647 h 498"/>
                  <a:gd name="T64" fmla="*/ 2147483647 w 222"/>
                  <a:gd name="T65" fmla="*/ 2147483647 h 498"/>
                  <a:gd name="T66" fmla="*/ 2147483647 w 222"/>
                  <a:gd name="T67" fmla="*/ 2147483647 h 498"/>
                  <a:gd name="T68" fmla="*/ 2147483647 w 222"/>
                  <a:gd name="T69" fmla="*/ 2147483647 h 49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22"/>
                  <a:gd name="T106" fmla="*/ 0 h 498"/>
                  <a:gd name="T107" fmla="*/ 222 w 222"/>
                  <a:gd name="T108" fmla="*/ 498 h 49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22" h="498">
                    <a:moveTo>
                      <a:pt x="138" y="372"/>
                    </a:moveTo>
                    <a:lnTo>
                      <a:pt x="144" y="342"/>
                    </a:lnTo>
                    <a:lnTo>
                      <a:pt x="138" y="306"/>
                    </a:lnTo>
                    <a:lnTo>
                      <a:pt x="144" y="276"/>
                    </a:lnTo>
                    <a:lnTo>
                      <a:pt x="162" y="276"/>
                    </a:lnTo>
                    <a:lnTo>
                      <a:pt x="174" y="252"/>
                    </a:lnTo>
                    <a:lnTo>
                      <a:pt x="174" y="222"/>
                    </a:lnTo>
                    <a:lnTo>
                      <a:pt x="180" y="216"/>
                    </a:lnTo>
                    <a:lnTo>
                      <a:pt x="186" y="204"/>
                    </a:lnTo>
                    <a:lnTo>
                      <a:pt x="198" y="198"/>
                    </a:lnTo>
                    <a:lnTo>
                      <a:pt x="198" y="156"/>
                    </a:lnTo>
                    <a:lnTo>
                      <a:pt x="210" y="150"/>
                    </a:lnTo>
                    <a:lnTo>
                      <a:pt x="216" y="150"/>
                    </a:lnTo>
                    <a:lnTo>
                      <a:pt x="222" y="144"/>
                    </a:lnTo>
                    <a:lnTo>
                      <a:pt x="222" y="132"/>
                    </a:lnTo>
                    <a:lnTo>
                      <a:pt x="216" y="126"/>
                    </a:lnTo>
                    <a:lnTo>
                      <a:pt x="216" y="114"/>
                    </a:lnTo>
                    <a:lnTo>
                      <a:pt x="210" y="102"/>
                    </a:lnTo>
                    <a:lnTo>
                      <a:pt x="204" y="96"/>
                    </a:lnTo>
                    <a:lnTo>
                      <a:pt x="192" y="72"/>
                    </a:lnTo>
                    <a:lnTo>
                      <a:pt x="198" y="66"/>
                    </a:lnTo>
                    <a:lnTo>
                      <a:pt x="198" y="60"/>
                    </a:lnTo>
                    <a:lnTo>
                      <a:pt x="204" y="48"/>
                    </a:lnTo>
                    <a:lnTo>
                      <a:pt x="198" y="42"/>
                    </a:lnTo>
                    <a:lnTo>
                      <a:pt x="186" y="36"/>
                    </a:lnTo>
                    <a:lnTo>
                      <a:pt x="180" y="36"/>
                    </a:lnTo>
                    <a:lnTo>
                      <a:pt x="174" y="30"/>
                    </a:lnTo>
                    <a:lnTo>
                      <a:pt x="168" y="30"/>
                    </a:lnTo>
                    <a:lnTo>
                      <a:pt x="162" y="24"/>
                    </a:lnTo>
                    <a:lnTo>
                      <a:pt x="156" y="12"/>
                    </a:lnTo>
                    <a:lnTo>
                      <a:pt x="144" y="0"/>
                    </a:lnTo>
                    <a:lnTo>
                      <a:pt x="114" y="12"/>
                    </a:lnTo>
                    <a:lnTo>
                      <a:pt x="114" y="36"/>
                    </a:lnTo>
                    <a:lnTo>
                      <a:pt x="120" y="36"/>
                    </a:lnTo>
                    <a:lnTo>
                      <a:pt x="114" y="42"/>
                    </a:lnTo>
                    <a:lnTo>
                      <a:pt x="108" y="60"/>
                    </a:lnTo>
                    <a:lnTo>
                      <a:pt x="96" y="60"/>
                    </a:lnTo>
                    <a:lnTo>
                      <a:pt x="90" y="66"/>
                    </a:lnTo>
                    <a:lnTo>
                      <a:pt x="84" y="66"/>
                    </a:lnTo>
                    <a:lnTo>
                      <a:pt x="84" y="78"/>
                    </a:lnTo>
                    <a:lnTo>
                      <a:pt x="78" y="72"/>
                    </a:lnTo>
                    <a:lnTo>
                      <a:pt x="48" y="72"/>
                    </a:lnTo>
                    <a:lnTo>
                      <a:pt x="30" y="90"/>
                    </a:lnTo>
                    <a:lnTo>
                      <a:pt x="24" y="102"/>
                    </a:lnTo>
                    <a:lnTo>
                      <a:pt x="12" y="102"/>
                    </a:lnTo>
                    <a:lnTo>
                      <a:pt x="6" y="114"/>
                    </a:lnTo>
                    <a:lnTo>
                      <a:pt x="0" y="132"/>
                    </a:lnTo>
                    <a:lnTo>
                      <a:pt x="0" y="162"/>
                    </a:lnTo>
                    <a:lnTo>
                      <a:pt x="12" y="168"/>
                    </a:lnTo>
                    <a:lnTo>
                      <a:pt x="42" y="198"/>
                    </a:lnTo>
                    <a:lnTo>
                      <a:pt x="42" y="240"/>
                    </a:lnTo>
                    <a:lnTo>
                      <a:pt x="54" y="252"/>
                    </a:lnTo>
                    <a:lnTo>
                      <a:pt x="60" y="264"/>
                    </a:lnTo>
                    <a:lnTo>
                      <a:pt x="60" y="294"/>
                    </a:lnTo>
                    <a:lnTo>
                      <a:pt x="66" y="306"/>
                    </a:lnTo>
                    <a:lnTo>
                      <a:pt x="54" y="318"/>
                    </a:lnTo>
                    <a:lnTo>
                      <a:pt x="54" y="378"/>
                    </a:lnTo>
                    <a:lnTo>
                      <a:pt x="66" y="390"/>
                    </a:lnTo>
                    <a:lnTo>
                      <a:pt x="54" y="396"/>
                    </a:lnTo>
                    <a:lnTo>
                      <a:pt x="60" y="462"/>
                    </a:lnTo>
                    <a:lnTo>
                      <a:pt x="60" y="468"/>
                    </a:lnTo>
                    <a:lnTo>
                      <a:pt x="72" y="480"/>
                    </a:lnTo>
                    <a:lnTo>
                      <a:pt x="72" y="492"/>
                    </a:lnTo>
                    <a:lnTo>
                      <a:pt x="84" y="492"/>
                    </a:lnTo>
                    <a:lnTo>
                      <a:pt x="96" y="498"/>
                    </a:lnTo>
                    <a:lnTo>
                      <a:pt x="108" y="498"/>
                    </a:lnTo>
                    <a:lnTo>
                      <a:pt x="120" y="474"/>
                    </a:lnTo>
                    <a:lnTo>
                      <a:pt x="126" y="480"/>
                    </a:lnTo>
                    <a:lnTo>
                      <a:pt x="138" y="486"/>
                    </a:lnTo>
                    <a:lnTo>
                      <a:pt x="138" y="372"/>
                    </a:lnTo>
                    <a:close/>
                  </a:path>
                </a:pathLst>
              </a:custGeom>
              <a:solidFill>
                <a:srgbClr val="9D90A0">
                  <a:lumMod val="40000"/>
                  <a:lumOff val="60000"/>
                </a:srgbClr>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164" name="Bahrain" descr="© INSCALE GmbH, 05.05.2010&#10;http://www.presentationload.com/">
                <a:extLst>
                  <a:ext uri="{FF2B5EF4-FFF2-40B4-BE49-F238E27FC236}">
                    <a16:creationId xmlns:a16="http://schemas.microsoft.com/office/drawing/2014/main" id="{146FFD02-B1E2-4846-8D05-E976F5D65A21}"/>
                  </a:ext>
                </a:extLst>
              </p:cNvPr>
              <p:cNvSpPr>
                <a:spLocks/>
              </p:cNvSpPr>
              <p:nvPr/>
            </p:nvSpPr>
            <p:spPr bwMode="gray">
              <a:xfrm>
                <a:off x="5609263" y="3614912"/>
                <a:ext cx="10919" cy="24258"/>
              </a:xfrm>
              <a:custGeom>
                <a:avLst/>
                <a:gdLst>
                  <a:gd name="T0" fmla="*/ 2147483647 w 15"/>
                  <a:gd name="T1" fmla="*/ 0 h 28"/>
                  <a:gd name="T2" fmla="*/ 2147483647 w 15"/>
                  <a:gd name="T3" fmla="*/ 2147483647 h 28"/>
                  <a:gd name="T4" fmla="*/ 2147483647 w 15"/>
                  <a:gd name="T5" fmla="*/ 2147483647 h 28"/>
                  <a:gd name="T6" fmla="*/ 2033064304 w 15"/>
                  <a:gd name="T7" fmla="*/ 2147483647 h 28"/>
                  <a:gd name="T8" fmla="*/ 813445092 w 15"/>
                  <a:gd name="T9" fmla="*/ 2147483647 h 28"/>
                  <a:gd name="T10" fmla="*/ 2147483647 w 15"/>
                  <a:gd name="T11" fmla="*/ 0 h 28"/>
                  <a:gd name="T12" fmla="*/ 0 60000 65536"/>
                  <a:gd name="T13" fmla="*/ 0 60000 65536"/>
                  <a:gd name="T14" fmla="*/ 0 60000 65536"/>
                  <a:gd name="T15" fmla="*/ 0 60000 65536"/>
                  <a:gd name="T16" fmla="*/ 0 60000 65536"/>
                  <a:gd name="T17" fmla="*/ 0 60000 65536"/>
                  <a:gd name="T18" fmla="*/ 0 w 15"/>
                  <a:gd name="T19" fmla="*/ 0 h 28"/>
                  <a:gd name="T20" fmla="*/ 15 w 15"/>
                  <a:gd name="T21" fmla="*/ 28 h 28"/>
                </a:gdLst>
                <a:ahLst/>
                <a:cxnLst>
                  <a:cxn ang="T12">
                    <a:pos x="T0" y="T1"/>
                  </a:cxn>
                  <a:cxn ang="T13">
                    <a:pos x="T2" y="T3"/>
                  </a:cxn>
                  <a:cxn ang="T14">
                    <a:pos x="T4" y="T5"/>
                  </a:cxn>
                  <a:cxn ang="T15">
                    <a:pos x="T6" y="T7"/>
                  </a:cxn>
                  <a:cxn ang="T16">
                    <a:pos x="T8" y="T9"/>
                  </a:cxn>
                  <a:cxn ang="T17">
                    <a:pos x="T10" y="T11"/>
                  </a:cxn>
                </a:cxnLst>
                <a:rect l="T18" t="T19" r="T20" b="T21"/>
                <a:pathLst>
                  <a:path w="15" h="28">
                    <a:moveTo>
                      <a:pt x="9" y="0"/>
                    </a:moveTo>
                    <a:cubicBezTo>
                      <a:pt x="14" y="0"/>
                      <a:pt x="15" y="10"/>
                      <a:pt x="14" y="14"/>
                    </a:cubicBezTo>
                    <a:cubicBezTo>
                      <a:pt x="13" y="18"/>
                      <a:pt x="15" y="28"/>
                      <a:pt x="9" y="28"/>
                    </a:cubicBezTo>
                    <a:cubicBezTo>
                      <a:pt x="4" y="27"/>
                      <a:pt x="5" y="21"/>
                      <a:pt x="5" y="18"/>
                    </a:cubicBezTo>
                    <a:cubicBezTo>
                      <a:pt x="5" y="14"/>
                      <a:pt x="0" y="14"/>
                      <a:pt x="2" y="8"/>
                    </a:cubicBezTo>
                    <a:close/>
                  </a:path>
                </a:pathLst>
              </a:custGeom>
              <a:solidFill>
                <a:srgbClr val="9D90A0">
                  <a:lumMod val="40000"/>
                  <a:lumOff val="60000"/>
                </a:srgbClr>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165" name="Angola" descr="© INSCALE GmbH, 05.05.2010&#10;http://www.presentationload.com/">
                <a:extLst>
                  <a:ext uri="{FF2B5EF4-FFF2-40B4-BE49-F238E27FC236}">
                    <a16:creationId xmlns:a16="http://schemas.microsoft.com/office/drawing/2014/main" id="{1236A355-0CA9-448F-A134-D3801B179888}"/>
                  </a:ext>
                </a:extLst>
              </p:cNvPr>
              <p:cNvSpPr>
                <a:spLocks noEditPoints="1"/>
              </p:cNvSpPr>
              <p:nvPr/>
            </p:nvSpPr>
            <p:spPr bwMode="gray">
              <a:xfrm>
                <a:off x="4542284" y="4704780"/>
                <a:ext cx="350980" cy="485156"/>
              </a:xfrm>
              <a:custGeom>
                <a:avLst/>
                <a:gdLst>
                  <a:gd name="T0" fmla="*/ 2147483647 w 888"/>
                  <a:gd name="T1" fmla="*/ 2147483647 h 1104"/>
                  <a:gd name="T2" fmla="*/ 2147483647 w 888"/>
                  <a:gd name="T3" fmla="*/ 2147483647 h 1104"/>
                  <a:gd name="T4" fmla="*/ 2147483647 w 888"/>
                  <a:gd name="T5" fmla="*/ 2147483647 h 1104"/>
                  <a:gd name="T6" fmla="*/ 2147483647 w 888"/>
                  <a:gd name="T7" fmla="*/ 0 h 1104"/>
                  <a:gd name="T8" fmla="*/ 2147483647 w 888"/>
                  <a:gd name="T9" fmla="*/ 2147483647 h 1104"/>
                  <a:gd name="T10" fmla="*/ 2147483647 w 888"/>
                  <a:gd name="T11" fmla="*/ 2147483647 h 1104"/>
                  <a:gd name="T12" fmla="*/ 2147483647 w 888"/>
                  <a:gd name="T13" fmla="*/ 2147483647 h 1104"/>
                  <a:gd name="T14" fmla="*/ 2147483647 w 888"/>
                  <a:gd name="T15" fmla="*/ 2147483647 h 1104"/>
                  <a:gd name="T16" fmla="*/ 2147483647 w 888"/>
                  <a:gd name="T17" fmla="*/ 2147483647 h 1104"/>
                  <a:gd name="T18" fmla="*/ 2147483647 w 888"/>
                  <a:gd name="T19" fmla="*/ 2147483647 h 1104"/>
                  <a:gd name="T20" fmla="*/ 2147483647 w 888"/>
                  <a:gd name="T21" fmla="*/ 2147483647 h 1104"/>
                  <a:gd name="T22" fmla="*/ 2147483647 w 888"/>
                  <a:gd name="T23" fmla="*/ 2147483647 h 1104"/>
                  <a:gd name="T24" fmla="*/ 2147483647 w 888"/>
                  <a:gd name="T25" fmla="*/ 2147483647 h 1104"/>
                  <a:gd name="T26" fmla="*/ 2147483647 w 888"/>
                  <a:gd name="T27" fmla="*/ 2147483647 h 1104"/>
                  <a:gd name="T28" fmla="*/ 2147483647 w 888"/>
                  <a:gd name="T29" fmla="*/ 2147483647 h 1104"/>
                  <a:gd name="T30" fmla="*/ 2147483647 w 888"/>
                  <a:gd name="T31" fmla="*/ 2147483647 h 1104"/>
                  <a:gd name="T32" fmla="*/ 2147483647 w 888"/>
                  <a:gd name="T33" fmla="*/ 2147483647 h 1104"/>
                  <a:gd name="T34" fmla="*/ 2147483647 w 888"/>
                  <a:gd name="T35" fmla="*/ 2147483647 h 1104"/>
                  <a:gd name="T36" fmla="*/ 2147483647 w 888"/>
                  <a:gd name="T37" fmla="*/ 2147483647 h 1104"/>
                  <a:gd name="T38" fmla="*/ 2147483647 w 888"/>
                  <a:gd name="T39" fmla="*/ 2147483647 h 1104"/>
                  <a:gd name="T40" fmla="*/ 2147483647 w 888"/>
                  <a:gd name="T41" fmla="*/ 2147483647 h 1104"/>
                  <a:gd name="T42" fmla="*/ 2147483647 w 888"/>
                  <a:gd name="T43" fmla="*/ 2147483647 h 1104"/>
                  <a:gd name="T44" fmla="*/ 2147483647 w 888"/>
                  <a:gd name="T45" fmla="*/ 2147483647 h 1104"/>
                  <a:gd name="T46" fmla="*/ 2147483647 w 888"/>
                  <a:gd name="T47" fmla="*/ 2147483647 h 1104"/>
                  <a:gd name="T48" fmla="*/ 2147483647 w 888"/>
                  <a:gd name="T49" fmla="*/ 2147483647 h 1104"/>
                  <a:gd name="T50" fmla="*/ 2147483647 w 888"/>
                  <a:gd name="T51" fmla="*/ 2147483647 h 1104"/>
                  <a:gd name="T52" fmla="*/ 2147483647 w 888"/>
                  <a:gd name="T53" fmla="*/ 2147483647 h 1104"/>
                  <a:gd name="T54" fmla="*/ 2147483647 w 888"/>
                  <a:gd name="T55" fmla="*/ 2147483647 h 1104"/>
                  <a:gd name="T56" fmla="*/ 2147483647 w 888"/>
                  <a:gd name="T57" fmla="*/ 2147483647 h 1104"/>
                  <a:gd name="T58" fmla="*/ 2147483647 w 888"/>
                  <a:gd name="T59" fmla="*/ 2147483647 h 1104"/>
                  <a:gd name="T60" fmla="*/ 2147483647 w 888"/>
                  <a:gd name="T61" fmla="*/ 2147483647 h 1104"/>
                  <a:gd name="T62" fmla="*/ 2147483647 w 888"/>
                  <a:gd name="T63" fmla="*/ 2147483647 h 1104"/>
                  <a:gd name="T64" fmla="*/ 2147483647 w 888"/>
                  <a:gd name="T65" fmla="*/ 2147483647 h 1104"/>
                  <a:gd name="T66" fmla="*/ 2147483647 w 888"/>
                  <a:gd name="T67" fmla="*/ 2147483647 h 1104"/>
                  <a:gd name="T68" fmla="*/ 2147483647 w 888"/>
                  <a:gd name="T69" fmla="*/ 2147483647 h 1104"/>
                  <a:gd name="T70" fmla="*/ 2147483647 w 888"/>
                  <a:gd name="T71" fmla="*/ 2147483647 h 1104"/>
                  <a:gd name="T72" fmla="*/ 2147483647 w 888"/>
                  <a:gd name="T73" fmla="*/ 2147483647 h 1104"/>
                  <a:gd name="T74" fmla="*/ 0 w 888"/>
                  <a:gd name="T75" fmla="*/ 2147483647 h 1104"/>
                  <a:gd name="T76" fmla="*/ 2147483647 w 888"/>
                  <a:gd name="T77" fmla="*/ 2147483647 h 1104"/>
                  <a:gd name="T78" fmla="*/ 2147483647 w 888"/>
                  <a:gd name="T79" fmla="*/ 2147483647 h 1104"/>
                  <a:gd name="T80" fmla="*/ 2147483647 w 888"/>
                  <a:gd name="T81" fmla="*/ 2147483647 h 1104"/>
                  <a:gd name="T82" fmla="*/ 2147483647 w 888"/>
                  <a:gd name="T83" fmla="*/ 2147483647 h 1104"/>
                  <a:gd name="T84" fmla="*/ 2147483647 w 888"/>
                  <a:gd name="T85" fmla="*/ 2147483647 h 1104"/>
                  <a:gd name="T86" fmla="*/ 2147483647 w 888"/>
                  <a:gd name="T87" fmla="*/ 2147483647 h 1104"/>
                  <a:gd name="T88" fmla="*/ 2147483647 w 888"/>
                  <a:gd name="T89" fmla="*/ 2147483647 h 1104"/>
                  <a:gd name="T90" fmla="*/ 2147483647 w 888"/>
                  <a:gd name="T91" fmla="*/ 2147483647 h 1104"/>
                  <a:gd name="T92" fmla="*/ 2147483647 w 888"/>
                  <a:gd name="T93" fmla="*/ 2147483647 h 1104"/>
                  <a:gd name="T94" fmla="*/ 2147483647 w 888"/>
                  <a:gd name="T95" fmla="*/ 2147483647 h 110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888"/>
                  <a:gd name="T145" fmla="*/ 0 h 1104"/>
                  <a:gd name="T146" fmla="*/ 888 w 888"/>
                  <a:gd name="T147" fmla="*/ 1104 h 1104"/>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888" h="1104">
                    <a:moveTo>
                      <a:pt x="42" y="114"/>
                    </a:moveTo>
                    <a:lnTo>
                      <a:pt x="42" y="120"/>
                    </a:lnTo>
                    <a:lnTo>
                      <a:pt x="48" y="120"/>
                    </a:lnTo>
                    <a:lnTo>
                      <a:pt x="54" y="114"/>
                    </a:lnTo>
                    <a:lnTo>
                      <a:pt x="66" y="108"/>
                    </a:lnTo>
                    <a:lnTo>
                      <a:pt x="72" y="102"/>
                    </a:lnTo>
                    <a:lnTo>
                      <a:pt x="72" y="96"/>
                    </a:lnTo>
                    <a:lnTo>
                      <a:pt x="66" y="84"/>
                    </a:lnTo>
                    <a:lnTo>
                      <a:pt x="66" y="78"/>
                    </a:lnTo>
                    <a:lnTo>
                      <a:pt x="60" y="66"/>
                    </a:lnTo>
                    <a:lnTo>
                      <a:pt x="96" y="36"/>
                    </a:lnTo>
                    <a:lnTo>
                      <a:pt x="102" y="24"/>
                    </a:lnTo>
                    <a:lnTo>
                      <a:pt x="102" y="18"/>
                    </a:lnTo>
                    <a:lnTo>
                      <a:pt x="96" y="12"/>
                    </a:lnTo>
                    <a:lnTo>
                      <a:pt x="96" y="6"/>
                    </a:lnTo>
                    <a:lnTo>
                      <a:pt x="90" y="0"/>
                    </a:lnTo>
                    <a:lnTo>
                      <a:pt x="84" y="6"/>
                    </a:lnTo>
                    <a:lnTo>
                      <a:pt x="72" y="12"/>
                    </a:lnTo>
                    <a:lnTo>
                      <a:pt x="66" y="18"/>
                    </a:lnTo>
                    <a:lnTo>
                      <a:pt x="54" y="24"/>
                    </a:lnTo>
                    <a:lnTo>
                      <a:pt x="54" y="42"/>
                    </a:lnTo>
                    <a:lnTo>
                      <a:pt x="36" y="42"/>
                    </a:lnTo>
                    <a:lnTo>
                      <a:pt x="36" y="60"/>
                    </a:lnTo>
                    <a:lnTo>
                      <a:pt x="42" y="114"/>
                    </a:lnTo>
                    <a:close/>
                    <a:moveTo>
                      <a:pt x="876" y="546"/>
                    </a:moveTo>
                    <a:lnTo>
                      <a:pt x="852" y="546"/>
                    </a:lnTo>
                    <a:lnTo>
                      <a:pt x="840" y="534"/>
                    </a:lnTo>
                    <a:lnTo>
                      <a:pt x="828" y="534"/>
                    </a:lnTo>
                    <a:lnTo>
                      <a:pt x="828" y="546"/>
                    </a:lnTo>
                    <a:lnTo>
                      <a:pt x="804" y="552"/>
                    </a:lnTo>
                    <a:lnTo>
                      <a:pt x="774" y="546"/>
                    </a:lnTo>
                    <a:lnTo>
                      <a:pt x="768" y="564"/>
                    </a:lnTo>
                    <a:lnTo>
                      <a:pt x="762" y="558"/>
                    </a:lnTo>
                    <a:lnTo>
                      <a:pt x="756" y="558"/>
                    </a:lnTo>
                    <a:lnTo>
                      <a:pt x="750" y="552"/>
                    </a:lnTo>
                    <a:lnTo>
                      <a:pt x="750" y="528"/>
                    </a:lnTo>
                    <a:lnTo>
                      <a:pt x="756" y="522"/>
                    </a:lnTo>
                    <a:lnTo>
                      <a:pt x="756" y="510"/>
                    </a:lnTo>
                    <a:lnTo>
                      <a:pt x="762" y="498"/>
                    </a:lnTo>
                    <a:lnTo>
                      <a:pt x="762" y="480"/>
                    </a:lnTo>
                    <a:lnTo>
                      <a:pt x="756" y="474"/>
                    </a:lnTo>
                    <a:lnTo>
                      <a:pt x="744" y="450"/>
                    </a:lnTo>
                    <a:lnTo>
                      <a:pt x="732" y="432"/>
                    </a:lnTo>
                    <a:lnTo>
                      <a:pt x="726" y="414"/>
                    </a:lnTo>
                    <a:lnTo>
                      <a:pt x="726" y="402"/>
                    </a:lnTo>
                    <a:lnTo>
                      <a:pt x="732" y="396"/>
                    </a:lnTo>
                    <a:lnTo>
                      <a:pt x="732" y="384"/>
                    </a:lnTo>
                    <a:lnTo>
                      <a:pt x="726" y="360"/>
                    </a:lnTo>
                    <a:lnTo>
                      <a:pt x="732" y="354"/>
                    </a:lnTo>
                    <a:lnTo>
                      <a:pt x="738" y="342"/>
                    </a:lnTo>
                    <a:lnTo>
                      <a:pt x="738" y="330"/>
                    </a:lnTo>
                    <a:lnTo>
                      <a:pt x="732" y="318"/>
                    </a:lnTo>
                    <a:lnTo>
                      <a:pt x="720" y="306"/>
                    </a:lnTo>
                    <a:lnTo>
                      <a:pt x="714" y="288"/>
                    </a:lnTo>
                    <a:lnTo>
                      <a:pt x="726" y="270"/>
                    </a:lnTo>
                    <a:lnTo>
                      <a:pt x="726" y="246"/>
                    </a:lnTo>
                    <a:lnTo>
                      <a:pt x="636" y="246"/>
                    </a:lnTo>
                    <a:lnTo>
                      <a:pt x="636" y="222"/>
                    </a:lnTo>
                    <a:lnTo>
                      <a:pt x="624" y="216"/>
                    </a:lnTo>
                    <a:lnTo>
                      <a:pt x="612" y="216"/>
                    </a:lnTo>
                    <a:lnTo>
                      <a:pt x="612" y="222"/>
                    </a:lnTo>
                    <a:lnTo>
                      <a:pt x="564" y="222"/>
                    </a:lnTo>
                    <a:lnTo>
                      <a:pt x="558" y="228"/>
                    </a:lnTo>
                    <a:lnTo>
                      <a:pt x="558" y="234"/>
                    </a:lnTo>
                    <a:lnTo>
                      <a:pt x="564" y="240"/>
                    </a:lnTo>
                    <a:lnTo>
                      <a:pt x="570" y="252"/>
                    </a:lnTo>
                    <a:lnTo>
                      <a:pt x="570" y="264"/>
                    </a:lnTo>
                    <a:lnTo>
                      <a:pt x="558" y="264"/>
                    </a:lnTo>
                    <a:lnTo>
                      <a:pt x="558" y="270"/>
                    </a:lnTo>
                    <a:lnTo>
                      <a:pt x="552" y="276"/>
                    </a:lnTo>
                    <a:lnTo>
                      <a:pt x="552" y="294"/>
                    </a:lnTo>
                    <a:lnTo>
                      <a:pt x="510" y="300"/>
                    </a:lnTo>
                    <a:lnTo>
                      <a:pt x="504" y="294"/>
                    </a:lnTo>
                    <a:lnTo>
                      <a:pt x="492" y="300"/>
                    </a:lnTo>
                    <a:lnTo>
                      <a:pt x="468" y="300"/>
                    </a:lnTo>
                    <a:lnTo>
                      <a:pt x="462" y="312"/>
                    </a:lnTo>
                    <a:lnTo>
                      <a:pt x="450" y="306"/>
                    </a:lnTo>
                    <a:lnTo>
                      <a:pt x="420" y="306"/>
                    </a:lnTo>
                    <a:lnTo>
                      <a:pt x="408" y="282"/>
                    </a:lnTo>
                    <a:lnTo>
                      <a:pt x="402" y="276"/>
                    </a:lnTo>
                    <a:lnTo>
                      <a:pt x="402" y="264"/>
                    </a:lnTo>
                    <a:lnTo>
                      <a:pt x="390" y="252"/>
                    </a:lnTo>
                    <a:lnTo>
                      <a:pt x="384" y="252"/>
                    </a:lnTo>
                    <a:lnTo>
                      <a:pt x="378" y="246"/>
                    </a:lnTo>
                    <a:lnTo>
                      <a:pt x="378" y="240"/>
                    </a:lnTo>
                    <a:lnTo>
                      <a:pt x="384" y="234"/>
                    </a:lnTo>
                    <a:lnTo>
                      <a:pt x="384" y="210"/>
                    </a:lnTo>
                    <a:lnTo>
                      <a:pt x="366" y="192"/>
                    </a:lnTo>
                    <a:lnTo>
                      <a:pt x="366" y="150"/>
                    </a:lnTo>
                    <a:lnTo>
                      <a:pt x="354" y="138"/>
                    </a:lnTo>
                    <a:lnTo>
                      <a:pt x="348" y="126"/>
                    </a:lnTo>
                    <a:lnTo>
                      <a:pt x="342" y="120"/>
                    </a:lnTo>
                    <a:lnTo>
                      <a:pt x="324" y="120"/>
                    </a:lnTo>
                    <a:lnTo>
                      <a:pt x="318" y="126"/>
                    </a:lnTo>
                    <a:lnTo>
                      <a:pt x="294" y="126"/>
                    </a:lnTo>
                    <a:lnTo>
                      <a:pt x="276" y="132"/>
                    </a:lnTo>
                    <a:lnTo>
                      <a:pt x="246" y="132"/>
                    </a:lnTo>
                    <a:lnTo>
                      <a:pt x="234" y="126"/>
                    </a:lnTo>
                    <a:lnTo>
                      <a:pt x="222" y="126"/>
                    </a:lnTo>
                    <a:lnTo>
                      <a:pt x="210" y="132"/>
                    </a:lnTo>
                    <a:lnTo>
                      <a:pt x="180" y="132"/>
                    </a:lnTo>
                    <a:lnTo>
                      <a:pt x="168" y="126"/>
                    </a:lnTo>
                    <a:lnTo>
                      <a:pt x="144" y="132"/>
                    </a:lnTo>
                    <a:lnTo>
                      <a:pt x="132" y="126"/>
                    </a:lnTo>
                    <a:lnTo>
                      <a:pt x="126" y="132"/>
                    </a:lnTo>
                    <a:lnTo>
                      <a:pt x="102" y="126"/>
                    </a:lnTo>
                    <a:lnTo>
                      <a:pt x="54" y="150"/>
                    </a:lnTo>
                    <a:lnTo>
                      <a:pt x="48" y="156"/>
                    </a:lnTo>
                    <a:lnTo>
                      <a:pt x="54" y="168"/>
                    </a:lnTo>
                    <a:lnTo>
                      <a:pt x="60" y="174"/>
                    </a:lnTo>
                    <a:lnTo>
                      <a:pt x="66" y="186"/>
                    </a:lnTo>
                    <a:lnTo>
                      <a:pt x="90" y="210"/>
                    </a:lnTo>
                    <a:lnTo>
                      <a:pt x="84" y="234"/>
                    </a:lnTo>
                    <a:lnTo>
                      <a:pt x="90" y="246"/>
                    </a:lnTo>
                    <a:lnTo>
                      <a:pt x="108" y="270"/>
                    </a:lnTo>
                    <a:lnTo>
                      <a:pt x="120" y="300"/>
                    </a:lnTo>
                    <a:lnTo>
                      <a:pt x="126" y="330"/>
                    </a:lnTo>
                    <a:lnTo>
                      <a:pt x="120" y="354"/>
                    </a:lnTo>
                    <a:lnTo>
                      <a:pt x="108" y="378"/>
                    </a:lnTo>
                    <a:lnTo>
                      <a:pt x="102" y="384"/>
                    </a:lnTo>
                    <a:lnTo>
                      <a:pt x="102" y="408"/>
                    </a:lnTo>
                    <a:lnTo>
                      <a:pt x="114" y="408"/>
                    </a:lnTo>
                    <a:lnTo>
                      <a:pt x="114" y="438"/>
                    </a:lnTo>
                    <a:lnTo>
                      <a:pt x="126" y="474"/>
                    </a:lnTo>
                    <a:lnTo>
                      <a:pt x="150" y="510"/>
                    </a:lnTo>
                    <a:lnTo>
                      <a:pt x="162" y="552"/>
                    </a:lnTo>
                    <a:lnTo>
                      <a:pt x="162" y="582"/>
                    </a:lnTo>
                    <a:lnTo>
                      <a:pt x="156" y="594"/>
                    </a:lnTo>
                    <a:lnTo>
                      <a:pt x="150" y="612"/>
                    </a:lnTo>
                    <a:lnTo>
                      <a:pt x="144" y="618"/>
                    </a:lnTo>
                    <a:lnTo>
                      <a:pt x="138" y="630"/>
                    </a:lnTo>
                    <a:lnTo>
                      <a:pt x="144" y="642"/>
                    </a:lnTo>
                    <a:lnTo>
                      <a:pt x="144" y="660"/>
                    </a:lnTo>
                    <a:lnTo>
                      <a:pt x="138" y="666"/>
                    </a:lnTo>
                    <a:lnTo>
                      <a:pt x="126" y="672"/>
                    </a:lnTo>
                    <a:lnTo>
                      <a:pt x="108" y="672"/>
                    </a:lnTo>
                    <a:lnTo>
                      <a:pt x="96" y="690"/>
                    </a:lnTo>
                    <a:lnTo>
                      <a:pt x="102" y="714"/>
                    </a:lnTo>
                    <a:lnTo>
                      <a:pt x="78" y="714"/>
                    </a:lnTo>
                    <a:lnTo>
                      <a:pt x="66" y="720"/>
                    </a:lnTo>
                    <a:lnTo>
                      <a:pt x="66" y="750"/>
                    </a:lnTo>
                    <a:lnTo>
                      <a:pt x="60" y="762"/>
                    </a:lnTo>
                    <a:lnTo>
                      <a:pt x="60" y="774"/>
                    </a:lnTo>
                    <a:lnTo>
                      <a:pt x="48" y="786"/>
                    </a:lnTo>
                    <a:lnTo>
                      <a:pt x="48" y="858"/>
                    </a:lnTo>
                    <a:lnTo>
                      <a:pt x="36" y="864"/>
                    </a:lnTo>
                    <a:lnTo>
                      <a:pt x="30" y="870"/>
                    </a:lnTo>
                    <a:lnTo>
                      <a:pt x="30" y="912"/>
                    </a:lnTo>
                    <a:lnTo>
                      <a:pt x="6" y="930"/>
                    </a:lnTo>
                    <a:lnTo>
                      <a:pt x="6" y="966"/>
                    </a:lnTo>
                    <a:lnTo>
                      <a:pt x="18" y="984"/>
                    </a:lnTo>
                    <a:lnTo>
                      <a:pt x="0" y="1002"/>
                    </a:lnTo>
                    <a:lnTo>
                      <a:pt x="0" y="1044"/>
                    </a:lnTo>
                    <a:lnTo>
                      <a:pt x="18" y="1044"/>
                    </a:lnTo>
                    <a:lnTo>
                      <a:pt x="36" y="1038"/>
                    </a:lnTo>
                    <a:lnTo>
                      <a:pt x="42" y="1044"/>
                    </a:lnTo>
                    <a:lnTo>
                      <a:pt x="72" y="1044"/>
                    </a:lnTo>
                    <a:lnTo>
                      <a:pt x="90" y="1026"/>
                    </a:lnTo>
                    <a:lnTo>
                      <a:pt x="90" y="1020"/>
                    </a:lnTo>
                    <a:lnTo>
                      <a:pt x="120" y="1020"/>
                    </a:lnTo>
                    <a:lnTo>
                      <a:pt x="126" y="1026"/>
                    </a:lnTo>
                    <a:lnTo>
                      <a:pt x="132" y="1038"/>
                    </a:lnTo>
                    <a:lnTo>
                      <a:pt x="156" y="1050"/>
                    </a:lnTo>
                    <a:lnTo>
                      <a:pt x="168" y="1050"/>
                    </a:lnTo>
                    <a:lnTo>
                      <a:pt x="174" y="1056"/>
                    </a:lnTo>
                    <a:lnTo>
                      <a:pt x="480" y="1056"/>
                    </a:lnTo>
                    <a:lnTo>
                      <a:pt x="480" y="1062"/>
                    </a:lnTo>
                    <a:lnTo>
                      <a:pt x="504" y="1086"/>
                    </a:lnTo>
                    <a:lnTo>
                      <a:pt x="540" y="1086"/>
                    </a:lnTo>
                    <a:lnTo>
                      <a:pt x="546" y="1098"/>
                    </a:lnTo>
                    <a:lnTo>
                      <a:pt x="618" y="1092"/>
                    </a:lnTo>
                    <a:lnTo>
                      <a:pt x="624" y="1104"/>
                    </a:lnTo>
                    <a:lnTo>
                      <a:pt x="696" y="1104"/>
                    </a:lnTo>
                    <a:lnTo>
                      <a:pt x="732" y="1098"/>
                    </a:lnTo>
                    <a:lnTo>
                      <a:pt x="780" y="1092"/>
                    </a:lnTo>
                    <a:lnTo>
                      <a:pt x="816" y="1080"/>
                    </a:lnTo>
                    <a:lnTo>
                      <a:pt x="828" y="1074"/>
                    </a:lnTo>
                    <a:lnTo>
                      <a:pt x="738" y="984"/>
                    </a:lnTo>
                    <a:lnTo>
                      <a:pt x="738" y="966"/>
                    </a:lnTo>
                    <a:lnTo>
                      <a:pt x="732" y="954"/>
                    </a:lnTo>
                    <a:lnTo>
                      <a:pt x="732" y="702"/>
                    </a:lnTo>
                    <a:lnTo>
                      <a:pt x="858" y="708"/>
                    </a:lnTo>
                    <a:lnTo>
                      <a:pt x="864" y="708"/>
                    </a:lnTo>
                    <a:lnTo>
                      <a:pt x="876" y="696"/>
                    </a:lnTo>
                    <a:lnTo>
                      <a:pt x="876" y="672"/>
                    </a:lnTo>
                    <a:lnTo>
                      <a:pt x="870" y="666"/>
                    </a:lnTo>
                    <a:lnTo>
                      <a:pt x="870" y="660"/>
                    </a:lnTo>
                    <a:lnTo>
                      <a:pt x="888" y="654"/>
                    </a:lnTo>
                    <a:lnTo>
                      <a:pt x="876" y="642"/>
                    </a:lnTo>
                    <a:lnTo>
                      <a:pt x="876" y="588"/>
                    </a:lnTo>
                    <a:lnTo>
                      <a:pt x="882" y="588"/>
                    </a:lnTo>
                    <a:lnTo>
                      <a:pt x="888" y="582"/>
                    </a:lnTo>
                    <a:lnTo>
                      <a:pt x="888" y="564"/>
                    </a:lnTo>
                    <a:lnTo>
                      <a:pt x="876" y="552"/>
                    </a:lnTo>
                    <a:lnTo>
                      <a:pt x="876" y="546"/>
                    </a:lnTo>
                    <a:close/>
                  </a:path>
                </a:pathLst>
              </a:custGeom>
              <a:solidFill>
                <a:srgbClr val="9D90A0">
                  <a:lumMod val="40000"/>
                  <a:lumOff val="60000"/>
                </a:srgbClr>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166" name="Algeria" descr="© INSCALE GmbH, 05.05.2010&#10;http://www.presentationload.com/">
                <a:extLst>
                  <a:ext uri="{FF2B5EF4-FFF2-40B4-BE49-F238E27FC236}">
                    <a16:creationId xmlns:a16="http://schemas.microsoft.com/office/drawing/2014/main" id="{56922448-9D9A-40F0-8CEB-CD1EFD66DFD8}"/>
                  </a:ext>
                </a:extLst>
              </p:cNvPr>
              <p:cNvSpPr>
                <a:spLocks/>
              </p:cNvSpPr>
              <p:nvPr/>
            </p:nvSpPr>
            <p:spPr bwMode="gray">
              <a:xfrm>
                <a:off x="3966677" y="3237183"/>
                <a:ext cx="584967" cy="642832"/>
              </a:xfrm>
              <a:custGeom>
                <a:avLst/>
                <a:gdLst>
                  <a:gd name="T0" fmla="*/ 2147483647 w 1476"/>
                  <a:gd name="T1" fmla="*/ 2147483647 h 1464"/>
                  <a:gd name="T2" fmla="*/ 2147483647 w 1476"/>
                  <a:gd name="T3" fmla="*/ 2147483647 h 1464"/>
                  <a:gd name="T4" fmla="*/ 2147483647 w 1476"/>
                  <a:gd name="T5" fmla="*/ 2147483647 h 1464"/>
                  <a:gd name="T6" fmla="*/ 2147483647 w 1476"/>
                  <a:gd name="T7" fmla="*/ 2147483647 h 1464"/>
                  <a:gd name="T8" fmla="*/ 2147483647 w 1476"/>
                  <a:gd name="T9" fmla="*/ 2147483647 h 1464"/>
                  <a:gd name="T10" fmla="*/ 2147483647 w 1476"/>
                  <a:gd name="T11" fmla="*/ 2147483647 h 1464"/>
                  <a:gd name="T12" fmla="*/ 2147483647 w 1476"/>
                  <a:gd name="T13" fmla="*/ 2147483647 h 1464"/>
                  <a:gd name="T14" fmla="*/ 2147483647 w 1476"/>
                  <a:gd name="T15" fmla="*/ 2147483647 h 1464"/>
                  <a:gd name="T16" fmla="*/ 2147483647 w 1476"/>
                  <a:gd name="T17" fmla="*/ 2147483647 h 1464"/>
                  <a:gd name="T18" fmla="*/ 2147483647 w 1476"/>
                  <a:gd name="T19" fmla="*/ 2147483647 h 1464"/>
                  <a:gd name="T20" fmla="*/ 2147483647 w 1476"/>
                  <a:gd name="T21" fmla="*/ 2147483647 h 1464"/>
                  <a:gd name="T22" fmla="*/ 2147483647 w 1476"/>
                  <a:gd name="T23" fmla="*/ 2147483647 h 1464"/>
                  <a:gd name="T24" fmla="*/ 2147483647 w 1476"/>
                  <a:gd name="T25" fmla="*/ 2147483647 h 1464"/>
                  <a:gd name="T26" fmla="*/ 2147483647 w 1476"/>
                  <a:gd name="T27" fmla="*/ 2147483647 h 1464"/>
                  <a:gd name="T28" fmla="*/ 2147483647 w 1476"/>
                  <a:gd name="T29" fmla="*/ 2147483647 h 1464"/>
                  <a:gd name="T30" fmla="*/ 2147483647 w 1476"/>
                  <a:gd name="T31" fmla="*/ 2147483647 h 1464"/>
                  <a:gd name="T32" fmla="*/ 2147483647 w 1476"/>
                  <a:gd name="T33" fmla="*/ 2147483647 h 1464"/>
                  <a:gd name="T34" fmla="*/ 2147483647 w 1476"/>
                  <a:gd name="T35" fmla="*/ 2147483647 h 1464"/>
                  <a:gd name="T36" fmla="*/ 2147483647 w 1476"/>
                  <a:gd name="T37" fmla="*/ 2147483647 h 1464"/>
                  <a:gd name="T38" fmla="*/ 2147483647 w 1476"/>
                  <a:gd name="T39" fmla="*/ 2147483647 h 1464"/>
                  <a:gd name="T40" fmla="*/ 2147483647 w 1476"/>
                  <a:gd name="T41" fmla="*/ 2147483647 h 1464"/>
                  <a:gd name="T42" fmla="*/ 2147483647 w 1476"/>
                  <a:gd name="T43" fmla="*/ 2147483647 h 1464"/>
                  <a:gd name="T44" fmla="*/ 2147483647 w 1476"/>
                  <a:gd name="T45" fmla="*/ 2147483647 h 1464"/>
                  <a:gd name="T46" fmla="*/ 2147483647 w 1476"/>
                  <a:gd name="T47" fmla="*/ 2147483647 h 1464"/>
                  <a:gd name="T48" fmla="*/ 2147483647 w 1476"/>
                  <a:gd name="T49" fmla="*/ 2147483647 h 1464"/>
                  <a:gd name="T50" fmla="*/ 2147483647 w 1476"/>
                  <a:gd name="T51" fmla="*/ 2147483647 h 1464"/>
                  <a:gd name="T52" fmla="*/ 2147483647 w 1476"/>
                  <a:gd name="T53" fmla="*/ 2147483647 h 1464"/>
                  <a:gd name="T54" fmla="*/ 2147483647 w 1476"/>
                  <a:gd name="T55" fmla="*/ 2147483647 h 1464"/>
                  <a:gd name="T56" fmla="*/ 2147483647 w 1476"/>
                  <a:gd name="T57" fmla="*/ 2147483647 h 1464"/>
                  <a:gd name="T58" fmla="*/ 2147483647 w 1476"/>
                  <a:gd name="T59" fmla="*/ 2147483647 h 1464"/>
                  <a:gd name="T60" fmla="*/ 2147483647 w 1476"/>
                  <a:gd name="T61" fmla="*/ 2147483647 h 1464"/>
                  <a:gd name="T62" fmla="*/ 2147483647 w 1476"/>
                  <a:gd name="T63" fmla="*/ 2147483647 h 1464"/>
                  <a:gd name="T64" fmla="*/ 2147483647 w 1476"/>
                  <a:gd name="T65" fmla="*/ 2147483647 h 1464"/>
                  <a:gd name="T66" fmla="*/ 2147483647 w 1476"/>
                  <a:gd name="T67" fmla="*/ 2147483647 h 1464"/>
                  <a:gd name="T68" fmla="*/ 2147483647 w 1476"/>
                  <a:gd name="T69" fmla="*/ 2147483647 h 1464"/>
                  <a:gd name="T70" fmla="*/ 2147483647 w 1476"/>
                  <a:gd name="T71" fmla="*/ 2147483647 h 1464"/>
                  <a:gd name="T72" fmla="*/ 2147483647 w 1476"/>
                  <a:gd name="T73" fmla="*/ 2147483647 h 1464"/>
                  <a:gd name="T74" fmla="*/ 2147483647 w 1476"/>
                  <a:gd name="T75" fmla="*/ 2147483647 h 1464"/>
                  <a:gd name="T76" fmla="*/ 2147483647 w 1476"/>
                  <a:gd name="T77" fmla="*/ 2147483647 h 1464"/>
                  <a:gd name="T78" fmla="*/ 2147483647 w 1476"/>
                  <a:gd name="T79" fmla="*/ 2147483647 h 1464"/>
                  <a:gd name="T80" fmla="*/ 2147483647 w 1476"/>
                  <a:gd name="T81" fmla="*/ 2147483647 h 1464"/>
                  <a:gd name="T82" fmla="*/ 2147483647 w 1476"/>
                  <a:gd name="T83" fmla="*/ 2147483647 h 1464"/>
                  <a:gd name="T84" fmla="*/ 2147483647 w 1476"/>
                  <a:gd name="T85" fmla="*/ 2147483647 h 1464"/>
                  <a:gd name="T86" fmla="*/ 2147483647 w 1476"/>
                  <a:gd name="T87" fmla="*/ 2147483647 h 1464"/>
                  <a:gd name="T88" fmla="*/ 2147483647 w 1476"/>
                  <a:gd name="T89" fmla="*/ 2147483647 h 1464"/>
                  <a:gd name="T90" fmla="*/ 2147483647 w 1476"/>
                  <a:gd name="T91" fmla="*/ 2147483647 h 1464"/>
                  <a:gd name="T92" fmla="*/ 2147483647 w 1476"/>
                  <a:gd name="T93" fmla="*/ 2147483647 h 1464"/>
                  <a:gd name="T94" fmla="*/ 2147483647 w 1476"/>
                  <a:gd name="T95" fmla="*/ 2147483647 h 1464"/>
                  <a:gd name="T96" fmla="*/ 2147483647 w 1476"/>
                  <a:gd name="T97" fmla="*/ 2147483647 h 1464"/>
                  <a:gd name="T98" fmla="*/ 2147483647 w 1476"/>
                  <a:gd name="T99" fmla="*/ 2147483647 h 1464"/>
                  <a:gd name="T100" fmla="*/ 2147483647 w 1476"/>
                  <a:gd name="T101" fmla="*/ 2147483647 h 1464"/>
                  <a:gd name="T102" fmla="*/ 2147483647 w 1476"/>
                  <a:gd name="T103" fmla="*/ 2147483647 h 1464"/>
                  <a:gd name="T104" fmla="*/ 2147483647 w 1476"/>
                  <a:gd name="T105" fmla="*/ 2147483647 h 146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476"/>
                  <a:gd name="T160" fmla="*/ 0 h 1464"/>
                  <a:gd name="T161" fmla="*/ 1476 w 1476"/>
                  <a:gd name="T162" fmla="*/ 1464 h 146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476" h="1464">
                    <a:moveTo>
                      <a:pt x="360" y="534"/>
                    </a:moveTo>
                    <a:lnTo>
                      <a:pt x="318" y="534"/>
                    </a:lnTo>
                    <a:lnTo>
                      <a:pt x="312" y="546"/>
                    </a:lnTo>
                    <a:lnTo>
                      <a:pt x="306" y="552"/>
                    </a:lnTo>
                    <a:lnTo>
                      <a:pt x="294" y="576"/>
                    </a:lnTo>
                    <a:lnTo>
                      <a:pt x="282" y="588"/>
                    </a:lnTo>
                    <a:lnTo>
                      <a:pt x="258" y="588"/>
                    </a:lnTo>
                    <a:lnTo>
                      <a:pt x="246" y="582"/>
                    </a:lnTo>
                    <a:lnTo>
                      <a:pt x="234" y="582"/>
                    </a:lnTo>
                    <a:lnTo>
                      <a:pt x="228" y="594"/>
                    </a:lnTo>
                    <a:lnTo>
                      <a:pt x="204" y="600"/>
                    </a:lnTo>
                    <a:lnTo>
                      <a:pt x="204" y="606"/>
                    </a:lnTo>
                    <a:lnTo>
                      <a:pt x="198" y="618"/>
                    </a:lnTo>
                    <a:lnTo>
                      <a:pt x="186" y="618"/>
                    </a:lnTo>
                    <a:lnTo>
                      <a:pt x="180" y="612"/>
                    </a:lnTo>
                    <a:lnTo>
                      <a:pt x="168" y="606"/>
                    </a:lnTo>
                    <a:lnTo>
                      <a:pt x="138" y="624"/>
                    </a:lnTo>
                    <a:lnTo>
                      <a:pt x="120" y="624"/>
                    </a:lnTo>
                    <a:lnTo>
                      <a:pt x="120" y="630"/>
                    </a:lnTo>
                    <a:lnTo>
                      <a:pt x="90" y="660"/>
                    </a:lnTo>
                    <a:lnTo>
                      <a:pt x="78" y="666"/>
                    </a:lnTo>
                    <a:lnTo>
                      <a:pt x="72" y="672"/>
                    </a:lnTo>
                    <a:lnTo>
                      <a:pt x="60" y="678"/>
                    </a:lnTo>
                    <a:lnTo>
                      <a:pt x="54" y="708"/>
                    </a:lnTo>
                    <a:lnTo>
                      <a:pt x="54" y="768"/>
                    </a:lnTo>
                    <a:lnTo>
                      <a:pt x="0" y="768"/>
                    </a:lnTo>
                    <a:lnTo>
                      <a:pt x="54" y="768"/>
                    </a:lnTo>
                    <a:lnTo>
                      <a:pt x="54" y="804"/>
                    </a:lnTo>
                    <a:lnTo>
                      <a:pt x="312" y="984"/>
                    </a:lnTo>
                    <a:lnTo>
                      <a:pt x="720" y="1296"/>
                    </a:lnTo>
                    <a:lnTo>
                      <a:pt x="720" y="1320"/>
                    </a:lnTo>
                    <a:lnTo>
                      <a:pt x="744" y="1320"/>
                    </a:lnTo>
                    <a:lnTo>
                      <a:pt x="750" y="1326"/>
                    </a:lnTo>
                    <a:lnTo>
                      <a:pt x="750" y="1344"/>
                    </a:lnTo>
                    <a:lnTo>
                      <a:pt x="762" y="1356"/>
                    </a:lnTo>
                    <a:lnTo>
                      <a:pt x="798" y="1356"/>
                    </a:lnTo>
                    <a:lnTo>
                      <a:pt x="804" y="1386"/>
                    </a:lnTo>
                    <a:lnTo>
                      <a:pt x="810" y="1386"/>
                    </a:lnTo>
                    <a:lnTo>
                      <a:pt x="816" y="1380"/>
                    </a:lnTo>
                    <a:lnTo>
                      <a:pt x="846" y="1380"/>
                    </a:lnTo>
                    <a:lnTo>
                      <a:pt x="858" y="1386"/>
                    </a:lnTo>
                    <a:lnTo>
                      <a:pt x="870" y="1410"/>
                    </a:lnTo>
                    <a:lnTo>
                      <a:pt x="870" y="1428"/>
                    </a:lnTo>
                    <a:lnTo>
                      <a:pt x="852" y="1446"/>
                    </a:lnTo>
                    <a:lnTo>
                      <a:pt x="852" y="1452"/>
                    </a:lnTo>
                    <a:lnTo>
                      <a:pt x="858" y="1458"/>
                    </a:lnTo>
                    <a:lnTo>
                      <a:pt x="870" y="1464"/>
                    </a:lnTo>
                    <a:lnTo>
                      <a:pt x="900" y="1464"/>
                    </a:lnTo>
                    <a:lnTo>
                      <a:pt x="906" y="1458"/>
                    </a:lnTo>
                    <a:lnTo>
                      <a:pt x="924" y="1458"/>
                    </a:lnTo>
                    <a:lnTo>
                      <a:pt x="954" y="1452"/>
                    </a:lnTo>
                    <a:lnTo>
                      <a:pt x="984" y="1440"/>
                    </a:lnTo>
                    <a:lnTo>
                      <a:pt x="1020" y="1434"/>
                    </a:lnTo>
                    <a:lnTo>
                      <a:pt x="1038" y="1434"/>
                    </a:lnTo>
                    <a:lnTo>
                      <a:pt x="1062" y="1416"/>
                    </a:lnTo>
                    <a:lnTo>
                      <a:pt x="1098" y="1386"/>
                    </a:lnTo>
                    <a:lnTo>
                      <a:pt x="1128" y="1350"/>
                    </a:lnTo>
                    <a:lnTo>
                      <a:pt x="1158" y="1326"/>
                    </a:lnTo>
                    <a:lnTo>
                      <a:pt x="1182" y="1314"/>
                    </a:lnTo>
                    <a:lnTo>
                      <a:pt x="1224" y="1284"/>
                    </a:lnTo>
                    <a:lnTo>
                      <a:pt x="1272" y="1248"/>
                    </a:lnTo>
                    <a:lnTo>
                      <a:pt x="1332" y="1206"/>
                    </a:lnTo>
                    <a:lnTo>
                      <a:pt x="1386" y="1170"/>
                    </a:lnTo>
                    <a:lnTo>
                      <a:pt x="1434" y="1134"/>
                    </a:lnTo>
                    <a:lnTo>
                      <a:pt x="1464" y="1110"/>
                    </a:lnTo>
                    <a:lnTo>
                      <a:pt x="1476" y="1104"/>
                    </a:lnTo>
                    <a:lnTo>
                      <a:pt x="1476" y="1098"/>
                    </a:lnTo>
                    <a:lnTo>
                      <a:pt x="1470" y="1092"/>
                    </a:lnTo>
                    <a:lnTo>
                      <a:pt x="1464" y="1080"/>
                    </a:lnTo>
                    <a:lnTo>
                      <a:pt x="1458" y="1062"/>
                    </a:lnTo>
                    <a:lnTo>
                      <a:pt x="1452" y="1050"/>
                    </a:lnTo>
                    <a:lnTo>
                      <a:pt x="1452" y="1044"/>
                    </a:lnTo>
                    <a:lnTo>
                      <a:pt x="1440" y="1032"/>
                    </a:lnTo>
                    <a:lnTo>
                      <a:pt x="1428" y="1032"/>
                    </a:lnTo>
                    <a:lnTo>
                      <a:pt x="1392" y="1014"/>
                    </a:lnTo>
                    <a:lnTo>
                      <a:pt x="1386" y="1014"/>
                    </a:lnTo>
                    <a:lnTo>
                      <a:pt x="1362" y="1026"/>
                    </a:lnTo>
                    <a:lnTo>
                      <a:pt x="1338" y="1002"/>
                    </a:lnTo>
                    <a:lnTo>
                      <a:pt x="1338" y="960"/>
                    </a:lnTo>
                    <a:lnTo>
                      <a:pt x="1332" y="954"/>
                    </a:lnTo>
                    <a:lnTo>
                      <a:pt x="1326" y="942"/>
                    </a:lnTo>
                    <a:lnTo>
                      <a:pt x="1314" y="930"/>
                    </a:lnTo>
                    <a:lnTo>
                      <a:pt x="1308" y="912"/>
                    </a:lnTo>
                    <a:lnTo>
                      <a:pt x="1296" y="900"/>
                    </a:lnTo>
                    <a:lnTo>
                      <a:pt x="1290" y="888"/>
                    </a:lnTo>
                    <a:lnTo>
                      <a:pt x="1290" y="882"/>
                    </a:lnTo>
                    <a:lnTo>
                      <a:pt x="1296" y="876"/>
                    </a:lnTo>
                    <a:lnTo>
                      <a:pt x="1308" y="876"/>
                    </a:lnTo>
                    <a:lnTo>
                      <a:pt x="1320" y="870"/>
                    </a:lnTo>
                    <a:lnTo>
                      <a:pt x="1326" y="864"/>
                    </a:lnTo>
                    <a:lnTo>
                      <a:pt x="1332" y="852"/>
                    </a:lnTo>
                    <a:lnTo>
                      <a:pt x="1332" y="840"/>
                    </a:lnTo>
                    <a:lnTo>
                      <a:pt x="1326" y="834"/>
                    </a:lnTo>
                    <a:lnTo>
                      <a:pt x="1326" y="828"/>
                    </a:lnTo>
                    <a:lnTo>
                      <a:pt x="1320" y="774"/>
                    </a:lnTo>
                    <a:lnTo>
                      <a:pt x="1332" y="750"/>
                    </a:lnTo>
                    <a:lnTo>
                      <a:pt x="1326" y="732"/>
                    </a:lnTo>
                    <a:lnTo>
                      <a:pt x="1326" y="726"/>
                    </a:lnTo>
                    <a:lnTo>
                      <a:pt x="1332" y="720"/>
                    </a:lnTo>
                    <a:lnTo>
                      <a:pt x="1332" y="690"/>
                    </a:lnTo>
                    <a:lnTo>
                      <a:pt x="1338" y="678"/>
                    </a:lnTo>
                    <a:lnTo>
                      <a:pt x="1338" y="672"/>
                    </a:lnTo>
                    <a:lnTo>
                      <a:pt x="1326" y="648"/>
                    </a:lnTo>
                    <a:lnTo>
                      <a:pt x="1302" y="588"/>
                    </a:lnTo>
                    <a:lnTo>
                      <a:pt x="1290" y="570"/>
                    </a:lnTo>
                    <a:lnTo>
                      <a:pt x="1296" y="564"/>
                    </a:lnTo>
                    <a:lnTo>
                      <a:pt x="1308" y="558"/>
                    </a:lnTo>
                    <a:lnTo>
                      <a:pt x="1296" y="528"/>
                    </a:lnTo>
                    <a:lnTo>
                      <a:pt x="1284" y="480"/>
                    </a:lnTo>
                    <a:lnTo>
                      <a:pt x="1278" y="438"/>
                    </a:lnTo>
                    <a:lnTo>
                      <a:pt x="1272" y="414"/>
                    </a:lnTo>
                    <a:lnTo>
                      <a:pt x="1266" y="408"/>
                    </a:lnTo>
                    <a:lnTo>
                      <a:pt x="1260" y="396"/>
                    </a:lnTo>
                    <a:lnTo>
                      <a:pt x="1236" y="384"/>
                    </a:lnTo>
                    <a:lnTo>
                      <a:pt x="1230" y="378"/>
                    </a:lnTo>
                    <a:lnTo>
                      <a:pt x="1224" y="378"/>
                    </a:lnTo>
                    <a:lnTo>
                      <a:pt x="1224" y="336"/>
                    </a:lnTo>
                    <a:lnTo>
                      <a:pt x="1212" y="324"/>
                    </a:lnTo>
                    <a:lnTo>
                      <a:pt x="1194" y="318"/>
                    </a:lnTo>
                    <a:lnTo>
                      <a:pt x="1182" y="318"/>
                    </a:lnTo>
                    <a:lnTo>
                      <a:pt x="1182" y="288"/>
                    </a:lnTo>
                    <a:lnTo>
                      <a:pt x="1170" y="288"/>
                    </a:lnTo>
                    <a:lnTo>
                      <a:pt x="1170" y="246"/>
                    </a:lnTo>
                    <a:lnTo>
                      <a:pt x="1194" y="222"/>
                    </a:lnTo>
                    <a:lnTo>
                      <a:pt x="1218" y="204"/>
                    </a:lnTo>
                    <a:lnTo>
                      <a:pt x="1218" y="198"/>
                    </a:lnTo>
                    <a:lnTo>
                      <a:pt x="1224" y="192"/>
                    </a:lnTo>
                    <a:lnTo>
                      <a:pt x="1224" y="180"/>
                    </a:lnTo>
                    <a:lnTo>
                      <a:pt x="1230" y="168"/>
                    </a:lnTo>
                    <a:lnTo>
                      <a:pt x="1230" y="126"/>
                    </a:lnTo>
                    <a:lnTo>
                      <a:pt x="1224" y="114"/>
                    </a:lnTo>
                    <a:lnTo>
                      <a:pt x="1224" y="78"/>
                    </a:lnTo>
                    <a:lnTo>
                      <a:pt x="1230" y="66"/>
                    </a:lnTo>
                    <a:lnTo>
                      <a:pt x="1230" y="54"/>
                    </a:lnTo>
                    <a:lnTo>
                      <a:pt x="1212" y="48"/>
                    </a:lnTo>
                    <a:lnTo>
                      <a:pt x="1254" y="30"/>
                    </a:lnTo>
                    <a:lnTo>
                      <a:pt x="1254" y="18"/>
                    </a:lnTo>
                    <a:lnTo>
                      <a:pt x="1242" y="18"/>
                    </a:lnTo>
                    <a:lnTo>
                      <a:pt x="1236" y="12"/>
                    </a:lnTo>
                    <a:lnTo>
                      <a:pt x="1224" y="12"/>
                    </a:lnTo>
                    <a:lnTo>
                      <a:pt x="1206" y="24"/>
                    </a:lnTo>
                    <a:lnTo>
                      <a:pt x="1170" y="6"/>
                    </a:lnTo>
                    <a:lnTo>
                      <a:pt x="1152" y="6"/>
                    </a:lnTo>
                    <a:lnTo>
                      <a:pt x="1152" y="18"/>
                    </a:lnTo>
                    <a:lnTo>
                      <a:pt x="1116" y="18"/>
                    </a:lnTo>
                    <a:lnTo>
                      <a:pt x="1092" y="0"/>
                    </a:lnTo>
                    <a:lnTo>
                      <a:pt x="1086" y="30"/>
                    </a:lnTo>
                    <a:lnTo>
                      <a:pt x="1056" y="18"/>
                    </a:lnTo>
                    <a:lnTo>
                      <a:pt x="1026" y="42"/>
                    </a:lnTo>
                    <a:lnTo>
                      <a:pt x="1002" y="30"/>
                    </a:lnTo>
                    <a:lnTo>
                      <a:pt x="984" y="30"/>
                    </a:lnTo>
                    <a:lnTo>
                      <a:pt x="966" y="24"/>
                    </a:lnTo>
                    <a:lnTo>
                      <a:pt x="948" y="24"/>
                    </a:lnTo>
                    <a:lnTo>
                      <a:pt x="924" y="30"/>
                    </a:lnTo>
                    <a:lnTo>
                      <a:pt x="906" y="30"/>
                    </a:lnTo>
                    <a:lnTo>
                      <a:pt x="900" y="36"/>
                    </a:lnTo>
                    <a:lnTo>
                      <a:pt x="888" y="36"/>
                    </a:lnTo>
                    <a:lnTo>
                      <a:pt x="876" y="42"/>
                    </a:lnTo>
                    <a:lnTo>
                      <a:pt x="816" y="42"/>
                    </a:lnTo>
                    <a:lnTo>
                      <a:pt x="810" y="48"/>
                    </a:lnTo>
                    <a:lnTo>
                      <a:pt x="750" y="48"/>
                    </a:lnTo>
                    <a:lnTo>
                      <a:pt x="744" y="54"/>
                    </a:lnTo>
                    <a:lnTo>
                      <a:pt x="726" y="54"/>
                    </a:lnTo>
                    <a:lnTo>
                      <a:pt x="714" y="60"/>
                    </a:lnTo>
                    <a:lnTo>
                      <a:pt x="696" y="66"/>
                    </a:lnTo>
                    <a:lnTo>
                      <a:pt x="684" y="78"/>
                    </a:lnTo>
                    <a:lnTo>
                      <a:pt x="678" y="90"/>
                    </a:lnTo>
                    <a:lnTo>
                      <a:pt x="666" y="102"/>
                    </a:lnTo>
                    <a:lnTo>
                      <a:pt x="666" y="108"/>
                    </a:lnTo>
                    <a:lnTo>
                      <a:pt x="636" y="108"/>
                    </a:lnTo>
                    <a:lnTo>
                      <a:pt x="624" y="114"/>
                    </a:lnTo>
                    <a:lnTo>
                      <a:pt x="606" y="114"/>
                    </a:lnTo>
                    <a:lnTo>
                      <a:pt x="594" y="120"/>
                    </a:lnTo>
                    <a:lnTo>
                      <a:pt x="588" y="126"/>
                    </a:lnTo>
                    <a:lnTo>
                      <a:pt x="588" y="132"/>
                    </a:lnTo>
                    <a:lnTo>
                      <a:pt x="558" y="162"/>
                    </a:lnTo>
                    <a:lnTo>
                      <a:pt x="546" y="168"/>
                    </a:lnTo>
                    <a:lnTo>
                      <a:pt x="522" y="168"/>
                    </a:lnTo>
                    <a:lnTo>
                      <a:pt x="528" y="174"/>
                    </a:lnTo>
                    <a:lnTo>
                      <a:pt x="534" y="186"/>
                    </a:lnTo>
                    <a:lnTo>
                      <a:pt x="546" y="192"/>
                    </a:lnTo>
                    <a:lnTo>
                      <a:pt x="540" y="198"/>
                    </a:lnTo>
                    <a:lnTo>
                      <a:pt x="540" y="210"/>
                    </a:lnTo>
                    <a:lnTo>
                      <a:pt x="552" y="210"/>
                    </a:lnTo>
                    <a:lnTo>
                      <a:pt x="546" y="276"/>
                    </a:lnTo>
                    <a:lnTo>
                      <a:pt x="558" y="294"/>
                    </a:lnTo>
                    <a:lnTo>
                      <a:pt x="546" y="324"/>
                    </a:lnTo>
                    <a:lnTo>
                      <a:pt x="564" y="324"/>
                    </a:lnTo>
                    <a:lnTo>
                      <a:pt x="564" y="354"/>
                    </a:lnTo>
                    <a:lnTo>
                      <a:pt x="588" y="372"/>
                    </a:lnTo>
                    <a:lnTo>
                      <a:pt x="570" y="390"/>
                    </a:lnTo>
                    <a:lnTo>
                      <a:pt x="570" y="402"/>
                    </a:lnTo>
                    <a:lnTo>
                      <a:pt x="516" y="408"/>
                    </a:lnTo>
                    <a:lnTo>
                      <a:pt x="504" y="402"/>
                    </a:lnTo>
                    <a:lnTo>
                      <a:pt x="486" y="402"/>
                    </a:lnTo>
                    <a:lnTo>
                      <a:pt x="486" y="408"/>
                    </a:lnTo>
                    <a:lnTo>
                      <a:pt x="480" y="414"/>
                    </a:lnTo>
                    <a:lnTo>
                      <a:pt x="474" y="408"/>
                    </a:lnTo>
                    <a:lnTo>
                      <a:pt x="462" y="408"/>
                    </a:lnTo>
                    <a:lnTo>
                      <a:pt x="462" y="414"/>
                    </a:lnTo>
                    <a:lnTo>
                      <a:pt x="456" y="420"/>
                    </a:lnTo>
                    <a:lnTo>
                      <a:pt x="456" y="432"/>
                    </a:lnTo>
                    <a:lnTo>
                      <a:pt x="432" y="432"/>
                    </a:lnTo>
                    <a:lnTo>
                      <a:pt x="420" y="438"/>
                    </a:lnTo>
                    <a:lnTo>
                      <a:pt x="396" y="438"/>
                    </a:lnTo>
                    <a:lnTo>
                      <a:pt x="390" y="444"/>
                    </a:lnTo>
                    <a:lnTo>
                      <a:pt x="390" y="456"/>
                    </a:lnTo>
                    <a:lnTo>
                      <a:pt x="396" y="462"/>
                    </a:lnTo>
                    <a:lnTo>
                      <a:pt x="402" y="474"/>
                    </a:lnTo>
                    <a:lnTo>
                      <a:pt x="414" y="492"/>
                    </a:lnTo>
                    <a:lnTo>
                      <a:pt x="390" y="504"/>
                    </a:lnTo>
                    <a:lnTo>
                      <a:pt x="390" y="510"/>
                    </a:lnTo>
                    <a:lnTo>
                      <a:pt x="378" y="522"/>
                    </a:lnTo>
                    <a:lnTo>
                      <a:pt x="366" y="528"/>
                    </a:lnTo>
                    <a:lnTo>
                      <a:pt x="360" y="534"/>
                    </a:lnTo>
                    <a:close/>
                  </a:path>
                </a:pathLst>
              </a:custGeom>
              <a:solidFill>
                <a:srgbClr val="9D90A0">
                  <a:lumMod val="40000"/>
                  <a:lumOff val="60000"/>
                </a:srgbClr>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167" name="South Africa" descr="© INSCALE GmbH, 05.05.2010&#10;http://www.presentationload.com/">
                <a:extLst>
                  <a:ext uri="{FF2B5EF4-FFF2-40B4-BE49-F238E27FC236}">
                    <a16:creationId xmlns:a16="http://schemas.microsoft.com/office/drawing/2014/main" id="{CE83463E-3A6A-4782-A59A-419A31873E9B}"/>
                  </a:ext>
                </a:extLst>
              </p:cNvPr>
              <p:cNvSpPr>
                <a:spLocks noEditPoints="1"/>
              </p:cNvSpPr>
              <p:nvPr/>
            </p:nvSpPr>
            <p:spPr bwMode="gray">
              <a:xfrm>
                <a:off x="4671757" y="5338948"/>
                <a:ext cx="447695" cy="448769"/>
              </a:xfrm>
              <a:custGeom>
                <a:avLst/>
                <a:gdLst>
                  <a:gd name="T0" fmla="*/ 2147483647 w 1134"/>
                  <a:gd name="T1" fmla="*/ 2147483647 h 1020"/>
                  <a:gd name="T2" fmla="*/ 2147483647 w 1134"/>
                  <a:gd name="T3" fmla="*/ 2147483647 h 1020"/>
                  <a:gd name="T4" fmla="*/ 2147483647 w 1134"/>
                  <a:gd name="T5" fmla="*/ 2147483647 h 1020"/>
                  <a:gd name="T6" fmla="*/ 2147483647 w 1134"/>
                  <a:gd name="T7" fmla="*/ 2147483647 h 1020"/>
                  <a:gd name="T8" fmla="*/ 2147483647 w 1134"/>
                  <a:gd name="T9" fmla="*/ 2147483647 h 1020"/>
                  <a:gd name="T10" fmla="*/ 2147483647 w 1134"/>
                  <a:gd name="T11" fmla="*/ 2147483647 h 1020"/>
                  <a:gd name="T12" fmla="*/ 2147483647 w 1134"/>
                  <a:gd name="T13" fmla="*/ 2147483647 h 1020"/>
                  <a:gd name="T14" fmla="*/ 2147483647 w 1134"/>
                  <a:gd name="T15" fmla="*/ 2147483647 h 1020"/>
                  <a:gd name="T16" fmla="*/ 2147483647 w 1134"/>
                  <a:gd name="T17" fmla="*/ 2147483647 h 1020"/>
                  <a:gd name="T18" fmla="*/ 2147483647 w 1134"/>
                  <a:gd name="T19" fmla="*/ 2147483647 h 1020"/>
                  <a:gd name="T20" fmla="*/ 2147483647 w 1134"/>
                  <a:gd name="T21" fmla="*/ 2147483647 h 1020"/>
                  <a:gd name="T22" fmla="*/ 2147483647 w 1134"/>
                  <a:gd name="T23" fmla="*/ 2147483647 h 1020"/>
                  <a:gd name="T24" fmla="*/ 2147483647 w 1134"/>
                  <a:gd name="T25" fmla="*/ 2147483647 h 1020"/>
                  <a:gd name="T26" fmla="*/ 2147483647 w 1134"/>
                  <a:gd name="T27" fmla="*/ 2147483647 h 1020"/>
                  <a:gd name="T28" fmla="*/ 2147483647 w 1134"/>
                  <a:gd name="T29" fmla="*/ 2147483647 h 1020"/>
                  <a:gd name="T30" fmla="*/ 2147483647 w 1134"/>
                  <a:gd name="T31" fmla="*/ 2147483647 h 1020"/>
                  <a:gd name="T32" fmla="*/ 2147483647 w 1134"/>
                  <a:gd name="T33" fmla="*/ 2147483647 h 1020"/>
                  <a:gd name="T34" fmla="*/ 2147483647 w 1134"/>
                  <a:gd name="T35" fmla="*/ 2147483647 h 1020"/>
                  <a:gd name="T36" fmla="*/ 2147483647 w 1134"/>
                  <a:gd name="T37" fmla="*/ 2147483647 h 1020"/>
                  <a:gd name="T38" fmla="*/ 2147483647 w 1134"/>
                  <a:gd name="T39" fmla="*/ 2147483647 h 1020"/>
                  <a:gd name="T40" fmla="*/ 2147483647 w 1134"/>
                  <a:gd name="T41" fmla="*/ 2147483647 h 1020"/>
                  <a:gd name="T42" fmla="*/ 2147483647 w 1134"/>
                  <a:gd name="T43" fmla="*/ 2147483647 h 1020"/>
                  <a:gd name="T44" fmla="*/ 2147483647 w 1134"/>
                  <a:gd name="T45" fmla="*/ 2147483647 h 1020"/>
                  <a:gd name="T46" fmla="*/ 2147483647 w 1134"/>
                  <a:gd name="T47" fmla="*/ 2147483647 h 1020"/>
                  <a:gd name="T48" fmla="*/ 2147483647 w 1134"/>
                  <a:gd name="T49" fmla="*/ 2147483647 h 1020"/>
                  <a:gd name="T50" fmla="*/ 2147483647 w 1134"/>
                  <a:gd name="T51" fmla="*/ 2147483647 h 1020"/>
                  <a:gd name="T52" fmla="*/ 2147483647 w 1134"/>
                  <a:gd name="T53" fmla="*/ 2147483647 h 1020"/>
                  <a:gd name="T54" fmla="*/ 2147483647 w 1134"/>
                  <a:gd name="T55" fmla="*/ 2147483647 h 1020"/>
                  <a:gd name="T56" fmla="*/ 2147483647 w 1134"/>
                  <a:gd name="T57" fmla="*/ 2147483647 h 1020"/>
                  <a:gd name="T58" fmla="*/ 2147483647 w 1134"/>
                  <a:gd name="T59" fmla="*/ 2147483647 h 1020"/>
                  <a:gd name="T60" fmla="*/ 2147483647 w 1134"/>
                  <a:gd name="T61" fmla="*/ 2147483647 h 1020"/>
                  <a:gd name="T62" fmla="*/ 0 w 1134"/>
                  <a:gd name="T63" fmla="*/ 2147483647 h 1020"/>
                  <a:gd name="T64" fmla="*/ 2147483647 w 1134"/>
                  <a:gd name="T65" fmla="*/ 2147483647 h 1020"/>
                  <a:gd name="T66" fmla="*/ 2147483647 w 1134"/>
                  <a:gd name="T67" fmla="*/ 2147483647 h 1020"/>
                  <a:gd name="T68" fmla="*/ 2147483647 w 1134"/>
                  <a:gd name="T69" fmla="*/ 2147483647 h 1020"/>
                  <a:gd name="T70" fmla="*/ 2147483647 w 1134"/>
                  <a:gd name="T71" fmla="*/ 2147483647 h 1020"/>
                  <a:gd name="T72" fmla="*/ 2147483647 w 1134"/>
                  <a:gd name="T73" fmla="*/ 2147483647 h 1020"/>
                  <a:gd name="T74" fmla="*/ 2147483647 w 1134"/>
                  <a:gd name="T75" fmla="*/ 2147483647 h 1020"/>
                  <a:gd name="T76" fmla="*/ 2147483647 w 1134"/>
                  <a:gd name="T77" fmla="*/ 2147483647 h 1020"/>
                  <a:gd name="T78" fmla="*/ 2147483647 w 1134"/>
                  <a:gd name="T79" fmla="*/ 2147483647 h 1020"/>
                  <a:gd name="T80" fmla="*/ 2147483647 w 1134"/>
                  <a:gd name="T81" fmla="*/ 2147483647 h 1020"/>
                  <a:gd name="T82" fmla="*/ 2147483647 w 1134"/>
                  <a:gd name="T83" fmla="*/ 2147483647 h 1020"/>
                  <a:gd name="T84" fmla="*/ 2147483647 w 1134"/>
                  <a:gd name="T85" fmla="*/ 2147483647 h 1020"/>
                  <a:gd name="T86" fmla="*/ 2147483647 w 1134"/>
                  <a:gd name="T87" fmla="*/ 2147483647 h 1020"/>
                  <a:gd name="T88" fmla="*/ 2147483647 w 1134"/>
                  <a:gd name="T89" fmla="*/ 2147483647 h 1020"/>
                  <a:gd name="T90" fmla="*/ 2147483647 w 1134"/>
                  <a:gd name="T91" fmla="*/ 2147483647 h 1020"/>
                  <a:gd name="T92" fmla="*/ 2147483647 w 1134"/>
                  <a:gd name="T93" fmla="*/ 2147483647 h 1020"/>
                  <a:gd name="T94" fmla="*/ 2147483647 w 1134"/>
                  <a:gd name="T95" fmla="*/ 2147483647 h 1020"/>
                  <a:gd name="T96" fmla="*/ 2147483647 w 1134"/>
                  <a:gd name="T97" fmla="*/ 2147483647 h 1020"/>
                  <a:gd name="T98" fmla="*/ 2147483647 w 1134"/>
                  <a:gd name="T99" fmla="*/ 2147483647 h 1020"/>
                  <a:gd name="T100" fmla="*/ 2147483647 w 1134"/>
                  <a:gd name="T101" fmla="*/ 2147483647 h 1020"/>
                  <a:gd name="T102" fmla="*/ 2147483647 w 1134"/>
                  <a:gd name="T103" fmla="*/ 2147483647 h 1020"/>
                  <a:gd name="T104" fmla="*/ 2147483647 w 1134"/>
                  <a:gd name="T105" fmla="*/ 2147483647 h 1020"/>
                  <a:gd name="T106" fmla="*/ 2147483647 w 1134"/>
                  <a:gd name="T107" fmla="*/ 2147483647 h 1020"/>
                  <a:gd name="T108" fmla="*/ 2147483647 w 1134"/>
                  <a:gd name="T109" fmla="*/ 2147483647 h 1020"/>
                  <a:gd name="T110" fmla="*/ 2147483647 w 1134"/>
                  <a:gd name="T111" fmla="*/ 2147483647 h 1020"/>
                  <a:gd name="T112" fmla="*/ 2147483647 w 1134"/>
                  <a:gd name="T113" fmla="*/ 2147483647 h 1020"/>
                  <a:gd name="T114" fmla="*/ 2147483647 w 1134"/>
                  <a:gd name="T115" fmla="*/ 2147483647 h 1020"/>
                  <a:gd name="T116" fmla="*/ 2147483647 w 1134"/>
                  <a:gd name="T117" fmla="*/ 2147483647 h 1020"/>
                  <a:gd name="T118" fmla="*/ 2147483647 w 1134"/>
                  <a:gd name="T119" fmla="*/ 2147483647 h 1020"/>
                  <a:gd name="T120" fmla="*/ 2147483647 w 1134"/>
                  <a:gd name="T121" fmla="*/ 2147483647 h 1020"/>
                  <a:gd name="T122" fmla="*/ 2147483647 w 1134"/>
                  <a:gd name="T123" fmla="*/ 2147483647 h 1020"/>
                  <a:gd name="T124" fmla="*/ 2147483647 w 1134"/>
                  <a:gd name="T125" fmla="*/ 2147483647 h 102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134"/>
                  <a:gd name="T190" fmla="*/ 0 h 1020"/>
                  <a:gd name="T191" fmla="*/ 1134 w 1134"/>
                  <a:gd name="T192" fmla="*/ 1020 h 1020"/>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134" h="1020">
                    <a:moveTo>
                      <a:pt x="1116" y="372"/>
                    </a:moveTo>
                    <a:lnTo>
                      <a:pt x="1098" y="372"/>
                    </a:lnTo>
                    <a:lnTo>
                      <a:pt x="1092" y="378"/>
                    </a:lnTo>
                    <a:lnTo>
                      <a:pt x="1086" y="378"/>
                    </a:lnTo>
                    <a:lnTo>
                      <a:pt x="1074" y="420"/>
                    </a:lnTo>
                    <a:lnTo>
                      <a:pt x="1062" y="420"/>
                    </a:lnTo>
                    <a:lnTo>
                      <a:pt x="1050" y="414"/>
                    </a:lnTo>
                    <a:lnTo>
                      <a:pt x="1032" y="414"/>
                    </a:lnTo>
                    <a:lnTo>
                      <a:pt x="1020" y="402"/>
                    </a:lnTo>
                    <a:lnTo>
                      <a:pt x="1008" y="396"/>
                    </a:lnTo>
                    <a:lnTo>
                      <a:pt x="996" y="372"/>
                    </a:lnTo>
                    <a:lnTo>
                      <a:pt x="996" y="348"/>
                    </a:lnTo>
                    <a:lnTo>
                      <a:pt x="1002" y="336"/>
                    </a:lnTo>
                    <a:lnTo>
                      <a:pt x="1014" y="324"/>
                    </a:lnTo>
                    <a:lnTo>
                      <a:pt x="1014" y="312"/>
                    </a:lnTo>
                    <a:lnTo>
                      <a:pt x="1020" y="300"/>
                    </a:lnTo>
                    <a:lnTo>
                      <a:pt x="1032" y="288"/>
                    </a:lnTo>
                    <a:lnTo>
                      <a:pt x="1038" y="288"/>
                    </a:lnTo>
                    <a:lnTo>
                      <a:pt x="1050" y="294"/>
                    </a:lnTo>
                    <a:lnTo>
                      <a:pt x="1062" y="306"/>
                    </a:lnTo>
                    <a:lnTo>
                      <a:pt x="1086" y="270"/>
                    </a:lnTo>
                    <a:lnTo>
                      <a:pt x="1086" y="180"/>
                    </a:lnTo>
                    <a:lnTo>
                      <a:pt x="1056" y="120"/>
                    </a:lnTo>
                    <a:lnTo>
                      <a:pt x="1056" y="102"/>
                    </a:lnTo>
                    <a:lnTo>
                      <a:pt x="1050" y="90"/>
                    </a:lnTo>
                    <a:lnTo>
                      <a:pt x="1050" y="72"/>
                    </a:lnTo>
                    <a:lnTo>
                      <a:pt x="1044" y="54"/>
                    </a:lnTo>
                    <a:lnTo>
                      <a:pt x="1044" y="24"/>
                    </a:lnTo>
                    <a:lnTo>
                      <a:pt x="1026" y="12"/>
                    </a:lnTo>
                    <a:lnTo>
                      <a:pt x="966" y="12"/>
                    </a:lnTo>
                    <a:lnTo>
                      <a:pt x="954" y="6"/>
                    </a:lnTo>
                    <a:lnTo>
                      <a:pt x="948" y="6"/>
                    </a:lnTo>
                    <a:lnTo>
                      <a:pt x="936" y="0"/>
                    </a:lnTo>
                    <a:lnTo>
                      <a:pt x="876" y="0"/>
                    </a:lnTo>
                    <a:lnTo>
                      <a:pt x="864" y="24"/>
                    </a:lnTo>
                    <a:lnTo>
                      <a:pt x="852" y="24"/>
                    </a:lnTo>
                    <a:lnTo>
                      <a:pt x="840" y="30"/>
                    </a:lnTo>
                    <a:lnTo>
                      <a:pt x="828" y="30"/>
                    </a:lnTo>
                    <a:lnTo>
                      <a:pt x="822" y="36"/>
                    </a:lnTo>
                    <a:lnTo>
                      <a:pt x="810" y="60"/>
                    </a:lnTo>
                    <a:lnTo>
                      <a:pt x="768" y="102"/>
                    </a:lnTo>
                    <a:lnTo>
                      <a:pt x="756" y="108"/>
                    </a:lnTo>
                    <a:lnTo>
                      <a:pt x="750" y="108"/>
                    </a:lnTo>
                    <a:lnTo>
                      <a:pt x="738" y="114"/>
                    </a:lnTo>
                    <a:lnTo>
                      <a:pt x="726" y="138"/>
                    </a:lnTo>
                    <a:lnTo>
                      <a:pt x="726" y="174"/>
                    </a:lnTo>
                    <a:lnTo>
                      <a:pt x="714" y="180"/>
                    </a:lnTo>
                    <a:lnTo>
                      <a:pt x="708" y="192"/>
                    </a:lnTo>
                    <a:lnTo>
                      <a:pt x="702" y="198"/>
                    </a:lnTo>
                    <a:lnTo>
                      <a:pt x="690" y="204"/>
                    </a:lnTo>
                    <a:lnTo>
                      <a:pt x="672" y="210"/>
                    </a:lnTo>
                    <a:lnTo>
                      <a:pt x="654" y="228"/>
                    </a:lnTo>
                    <a:lnTo>
                      <a:pt x="654" y="240"/>
                    </a:lnTo>
                    <a:lnTo>
                      <a:pt x="648" y="252"/>
                    </a:lnTo>
                    <a:lnTo>
                      <a:pt x="642" y="270"/>
                    </a:lnTo>
                    <a:lnTo>
                      <a:pt x="636" y="282"/>
                    </a:lnTo>
                    <a:lnTo>
                      <a:pt x="630" y="288"/>
                    </a:lnTo>
                    <a:lnTo>
                      <a:pt x="618" y="294"/>
                    </a:lnTo>
                    <a:lnTo>
                      <a:pt x="606" y="294"/>
                    </a:lnTo>
                    <a:lnTo>
                      <a:pt x="600" y="288"/>
                    </a:lnTo>
                    <a:lnTo>
                      <a:pt x="594" y="294"/>
                    </a:lnTo>
                    <a:lnTo>
                      <a:pt x="582" y="300"/>
                    </a:lnTo>
                    <a:lnTo>
                      <a:pt x="570" y="300"/>
                    </a:lnTo>
                    <a:lnTo>
                      <a:pt x="564" y="294"/>
                    </a:lnTo>
                    <a:lnTo>
                      <a:pt x="552" y="288"/>
                    </a:lnTo>
                    <a:lnTo>
                      <a:pt x="546" y="282"/>
                    </a:lnTo>
                    <a:lnTo>
                      <a:pt x="516" y="282"/>
                    </a:lnTo>
                    <a:lnTo>
                      <a:pt x="504" y="270"/>
                    </a:lnTo>
                    <a:lnTo>
                      <a:pt x="492" y="264"/>
                    </a:lnTo>
                    <a:lnTo>
                      <a:pt x="486" y="258"/>
                    </a:lnTo>
                    <a:lnTo>
                      <a:pt x="474" y="252"/>
                    </a:lnTo>
                    <a:lnTo>
                      <a:pt x="462" y="252"/>
                    </a:lnTo>
                    <a:lnTo>
                      <a:pt x="450" y="258"/>
                    </a:lnTo>
                    <a:lnTo>
                      <a:pt x="444" y="264"/>
                    </a:lnTo>
                    <a:lnTo>
                      <a:pt x="438" y="276"/>
                    </a:lnTo>
                    <a:lnTo>
                      <a:pt x="438" y="288"/>
                    </a:lnTo>
                    <a:lnTo>
                      <a:pt x="432" y="300"/>
                    </a:lnTo>
                    <a:lnTo>
                      <a:pt x="432" y="324"/>
                    </a:lnTo>
                    <a:lnTo>
                      <a:pt x="420" y="324"/>
                    </a:lnTo>
                    <a:lnTo>
                      <a:pt x="414" y="330"/>
                    </a:lnTo>
                    <a:lnTo>
                      <a:pt x="408" y="330"/>
                    </a:lnTo>
                    <a:lnTo>
                      <a:pt x="402" y="336"/>
                    </a:lnTo>
                    <a:lnTo>
                      <a:pt x="396" y="348"/>
                    </a:lnTo>
                    <a:lnTo>
                      <a:pt x="390" y="354"/>
                    </a:lnTo>
                    <a:lnTo>
                      <a:pt x="390" y="360"/>
                    </a:lnTo>
                    <a:lnTo>
                      <a:pt x="366" y="360"/>
                    </a:lnTo>
                    <a:lnTo>
                      <a:pt x="366" y="378"/>
                    </a:lnTo>
                    <a:lnTo>
                      <a:pt x="288" y="378"/>
                    </a:lnTo>
                    <a:lnTo>
                      <a:pt x="288" y="348"/>
                    </a:lnTo>
                    <a:lnTo>
                      <a:pt x="294" y="336"/>
                    </a:lnTo>
                    <a:lnTo>
                      <a:pt x="294" y="330"/>
                    </a:lnTo>
                    <a:lnTo>
                      <a:pt x="300" y="318"/>
                    </a:lnTo>
                    <a:lnTo>
                      <a:pt x="300" y="294"/>
                    </a:lnTo>
                    <a:lnTo>
                      <a:pt x="294" y="288"/>
                    </a:lnTo>
                    <a:lnTo>
                      <a:pt x="294" y="270"/>
                    </a:lnTo>
                    <a:lnTo>
                      <a:pt x="288" y="258"/>
                    </a:lnTo>
                    <a:lnTo>
                      <a:pt x="282" y="240"/>
                    </a:lnTo>
                    <a:lnTo>
                      <a:pt x="276" y="234"/>
                    </a:lnTo>
                    <a:lnTo>
                      <a:pt x="264" y="228"/>
                    </a:lnTo>
                    <a:lnTo>
                      <a:pt x="258" y="222"/>
                    </a:lnTo>
                    <a:lnTo>
                      <a:pt x="246" y="216"/>
                    </a:lnTo>
                    <a:lnTo>
                      <a:pt x="240" y="510"/>
                    </a:lnTo>
                    <a:lnTo>
                      <a:pt x="222" y="510"/>
                    </a:lnTo>
                    <a:lnTo>
                      <a:pt x="210" y="516"/>
                    </a:lnTo>
                    <a:lnTo>
                      <a:pt x="204" y="522"/>
                    </a:lnTo>
                    <a:lnTo>
                      <a:pt x="204" y="528"/>
                    </a:lnTo>
                    <a:lnTo>
                      <a:pt x="192" y="528"/>
                    </a:lnTo>
                    <a:lnTo>
                      <a:pt x="192" y="552"/>
                    </a:lnTo>
                    <a:lnTo>
                      <a:pt x="168" y="552"/>
                    </a:lnTo>
                    <a:lnTo>
                      <a:pt x="156" y="540"/>
                    </a:lnTo>
                    <a:lnTo>
                      <a:pt x="144" y="540"/>
                    </a:lnTo>
                    <a:lnTo>
                      <a:pt x="132" y="552"/>
                    </a:lnTo>
                    <a:lnTo>
                      <a:pt x="108" y="552"/>
                    </a:lnTo>
                    <a:lnTo>
                      <a:pt x="102" y="546"/>
                    </a:lnTo>
                    <a:lnTo>
                      <a:pt x="102" y="540"/>
                    </a:lnTo>
                    <a:lnTo>
                      <a:pt x="96" y="534"/>
                    </a:lnTo>
                    <a:lnTo>
                      <a:pt x="72" y="534"/>
                    </a:lnTo>
                    <a:lnTo>
                      <a:pt x="66" y="528"/>
                    </a:lnTo>
                    <a:lnTo>
                      <a:pt x="60" y="516"/>
                    </a:lnTo>
                    <a:lnTo>
                      <a:pt x="60" y="492"/>
                    </a:lnTo>
                    <a:lnTo>
                      <a:pt x="42" y="474"/>
                    </a:lnTo>
                    <a:lnTo>
                      <a:pt x="36" y="474"/>
                    </a:lnTo>
                    <a:lnTo>
                      <a:pt x="30" y="480"/>
                    </a:lnTo>
                    <a:lnTo>
                      <a:pt x="30" y="486"/>
                    </a:lnTo>
                    <a:lnTo>
                      <a:pt x="24" y="498"/>
                    </a:lnTo>
                    <a:lnTo>
                      <a:pt x="18" y="504"/>
                    </a:lnTo>
                    <a:lnTo>
                      <a:pt x="18" y="510"/>
                    </a:lnTo>
                    <a:lnTo>
                      <a:pt x="0" y="522"/>
                    </a:lnTo>
                    <a:lnTo>
                      <a:pt x="0" y="516"/>
                    </a:lnTo>
                    <a:lnTo>
                      <a:pt x="0" y="528"/>
                    </a:lnTo>
                    <a:lnTo>
                      <a:pt x="6" y="540"/>
                    </a:lnTo>
                    <a:lnTo>
                      <a:pt x="6" y="552"/>
                    </a:lnTo>
                    <a:lnTo>
                      <a:pt x="36" y="582"/>
                    </a:lnTo>
                    <a:lnTo>
                      <a:pt x="42" y="600"/>
                    </a:lnTo>
                    <a:lnTo>
                      <a:pt x="42" y="648"/>
                    </a:lnTo>
                    <a:lnTo>
                      <a:pt x="48" y="672"/>
                    </a:lnTo>
                    <a:lnTo>
                      <a:pt x="54" y="690"/>
                    </a:lnTo>
                    <a:lnTo>
                      <a:pt x="72" y="714"/>
                    </a:lnTo>
                    <a:lnTo>
                      <a:pt x="96" y="738"/>
                    </a:lnTo>
                    <a:lnTo>
                      <a:pt x="114" y="762"/>
                    </a:lnTo>
                    <a:lnTo>
                      <a:pt x="120" y="786"/>
                    </a:lnTo>
                    <a:lnTo>
                      <a:pt x="120" y="834"/>
                    </a:lnTo>
                    <a:lnTo>
                      <a:pt x="114" y="846"/>
                    </a:lnTo>
                    <a:lnTo>
                      <a:pt x="114" y="852"/>
                    </a:lnTo>
                    <a:lnTo>
                      <a:pt x="90" y="852"/>
                    </a:lnTo>
                    <a:lnTo>
                      <a:pt x="90" y="876"/>
                    </a:lnTo>
                    <a:lnTo>
                      <a:pt x="96" y="888"/>
                    </a:lnTo>
                    <a:lnTo>
                      <a:pt x="108" y="906"/>
                    </a:lnTo>
                    <a:lnTo>
                      <a:pt x="114" y="918"/>
                    </a:lnTo>
                    <a:lnTo>
                      <a:pt x="114" y="960"/>
                    </a:lnTo>
                    <a:lnTo>
                      <a:pt x="120" y="972"/>
                    </a:lnTo>
                    <a:lnTo>
                      <a:pt x="120" y="978"/>
                    </a:lnTo>
                    <a:lnTo>
                      <a:pt x="126" y="978"/>
                    </a:lnTo>
                    <a:lnTo>
                      <a:pt x="126" y="972"/>
                    </a:lnTo>
                    <a:lnTo>
                      <a:pt x="132" y="966"/>
                    </a:lnTo>
                    <a:lnTo>
                      <a:pt x="144" y="966"/>
                    </a:lnTo>
                    <a:lnTo>
                      <a:pt x="150" y="972"/>
                    </a:lnTo>
                    <a:lnTo>
                      <a:pt x="180" y="984"/>
                    </a:lnTo>
                    <a:lnTo>
                      <a:pt x="180" y="996"/>
                    </a:lnTo>
                    <a:lnTo>
                      <a:pt x="204" y="1020"/>
                    </a:lnTo>
                    <a:lnTo>
                      <a:pt x="216" y="1020"/>
                    </a:lnTo>
                    <a:lnTo>
                      <a:pt x="240" y="1008"/>
                    </a:lnTo>
                    <a:lnTo>
                      <a:pt x="246" y="996"/>
                    </a:lnTo>
                    <a:lnTo>
                      <a:pt x="252" y="990"/>
                    </a:lnTo>
                    <a:lnTo>
                      <a:pt x="264" y="984"/>
                    </a:lnTo>
                    <a:lnTo>
                      <a:pt x="294" y="984"/>
                    </a:lnTo>
                    <a:lnTo>
                      <a:pt x="306" y="990"/>
                    </a:lnTo>
                    <a:lnTo>
                      <a:pt x="354" y="990"/>
                    </a:lnTo>
                    <a:lnTo>
                      <a:pt x="354" y="984"/>
                    </a:lnTo>
                    <a:lnTo>
                      <a:pt x="360" y="978"/>
                    </a:lnTo>
                    <a:lnTo>
                      <a:pt x="360" y="966"/>
                    </a:lnTo>
                    <a:lnTo>
                      <a:pt x="366" y="960"/>
                    </a:lnTo>
                    <a:lnTo>
                      <a:pt x="378" y="954"/>
                    </a:lnTo>
                    <a:lnTo>
                      <a:pt x="408" y="954"/>
                    </a:lnTo>
                    <a:lnTo>
                      <a:pt x="420" y="960"/>
                    </a:lnTo>
                    <a:lnTo>
                      <a:pt x="432" y="960"/>
                    </a:lnTo>
                    <a:lnTo>
                      <a:pt x="438" y="966"/>
                    </a:lnTo>
                    <a:lnTo>
                      <a:pt x="444" y="960"/>
                    </a:lnTo>
                    <a:lnTo>
                      <a:pt x="456" y="960"/>
                    </a:lnTo>
                    <a:lnTo>
                      <a:pt x="468" y="954"/>
                    </a:lnTo>
                    <a:lnTo>
                      <a:pt x="504" y="954"/>
                    </a:lnTo>
                    <a:lnTo>
                      <a:pt x="522" y="960"/>
                    </a:lnTo>
                    <a:lnTo>
                      <a:pt x="534" y="966"/>
                    </a:lnTo>
                    <a:lnTo>
                      <a:pt x="552" y="966"/>
                    </a:lnTo>
                    <a:lnTo>
                      <a:pt x="558" y="960"/>
                    </a:lnTo>
                    <a:lnTo>
                      <a:pt x="570" y="954"/>
                    </a:lnTo>
                    <a:lnTo>
                      <a:pt x="606" y="954"/>
                    </a:lnTo>
                    <a:lnTo>
                      <a:pt x="618" y="948"/>
                    </a:lnTo>
                    <a:lnTo>
                      <a:pt x="624" y="942"/>
                    </a:lnTo>
                    <a:lnTo>
                      <a:pt x="636" y="936"/>
                    </a:lnTo>
                    <a:lnTo>
                      <a:pt x="684" y="936"/>
                    </a:lnTo>
                    <a:lnTo>
                      <a:pt x="708" y="924"/>
                    </a:lnTo>
                    <a:lnTo>
                      <a:pt x="720" y="912"/>
                    </a:lnTo>
                    <a:lnTo>
                      <a:pt x="738" y="900"/>
                    </a:lnTo>
                    <a:lnTo>
                      <a:pt x="774" y="864"/>
                    </a:lnTo>
                    <a:lnTo>
                      <a:pt x="786" y="858"/>
                    </a:lnTo>
                    <a:lnTo>
                      <a:pt x="804" y="846"/>
                    </a:lnTo>
                    <a:lnTo>
                      <a:pt x="900" y="750"/>
                    </a:lnTo>
                    <a:lnTo>
                      <a:pt x="918" y="750"/>
                    </a:lnTo>
                    <a:lnTo>
                      <a:pt x="924" y="744"/>
                    </a:lnTo>
                    <a:lnTo>
                      <a:pt x="960" y="696"/>
                    </a:lnTo>
                    <a:lnTo>
                      <a:pt x="972" y="672"/>
                    </a:lnTo>
                    <a:lnTo>
                      <a:pt x="984" y="654"/>
                    </a:lnTo>
                    <a:lnTo>
                      <a:pt x="990" y="642"/>
                    </a:lnTo>
                    <a:lnTo>
                      <a:pt x="1002" y="606"/>
                    </a:lnTo>
                    <a:lnTo>
                      <a:pt x="1014" y="588"/>
                    </a:lnTo>
                    <a:lnTo>
                      <a:pt x="1020" y="576"/>
                    </a:lnTo>
                    <a:lnTo>
                      <a:pt x="1026" y="570"/>
                    </a:lnTo>
                    <a:lnTo>
                      <a:pt x="1038" y="564"/>
                    </a:lnTo>
                    <a:lnTo>
                      <a:pt x="1050" y="552"/>
                    </a:lnTo>
                    <a:lnTo>
                      <a:pt x="1068" y="546"/>
                    </a:lnTo>
                    <a:lnTo>
                      <a:pt x="1086" y="534"/>
                    </a:lnTo>
                    <a:lnTo>
                      <a:pt x="1098" y="510"/>
                    </a:lnTo>
                    <a:lnTo>
                      <a:pt x="1098" y="498"/>
                    </a:lnTo>
                    <a:lnTo>
                      <a:pt x="1104" y="486"/>
                    </a:lnTo>
                    <a:lnTo>
                      <a:pt x="1110" y="468"/>
                    </a:lnTo>
                    <a:lnTo>
                      <a:pt x="1116" y="456"/>
                    </a:lnTo>
                    <a:lnTo>
                      <a:pt x="1122" y="450"/>
                    </a:lnTo>
                    <a:lnTo>
                      <a:pt x="1122" y="438"/>
                    </a:lnTo>
                    <a:lnTo>
                      <a:pt x="1128" y="432"/>
                    </a:lnTo>
                    <a:lnTo>
                      <a:pt x="1128" y="414"/>
                    </a:lnTo>
                    <a:lnTo>
                      <a:pt x="1134" y="396"/>
                    </a:lnTo>
                    <a:lnTo>
                      <a:pt x="1128" y="384"/>
                    </a:lnTo>
                    <a:lnTo>
                      <a:pt x="1116" y="372"/>
                    </a:lnTo>
                    <a:close/>
                    <a:moveTo>
                      <a:pt x="870" y="624"/>
                    </a:moveTo>
                    <a:lnTo>
                      <a:pt x="858" y="630"/>
                    </a:lnTo>
                    <a:lnTo>
                      <a:pt x="852" y="636"/>
                    </a:lnTo>
                    <a:lnTo>
                      <a:pt x="840" y="642"/>
                    </a:lnTo>
                    <a:lnTo>
                      <a:pt x="822" y="642"/>
                    </a:lnTo>
                    <a:lnTo>
                      <a:pt x="810" y="648"/>
                    </a:lnTo>
                    <a:lnTo>
                      <a:pt x="804" y="654"/>
                    </a:lnTo>
                    <a:lnTo>
                      <a:pt x="798" y="666"/>
                    </a:lnTo>
                    <a:lnTo>
                      <a:pt x="792" y="672"/>
                    </a:lnTo>
                    <a:lnTo>
                      <a:pt x="792" y="684"/>
                    </a:lnTo>
                    <a:lnTo>
                      <a:pt x="774" y="684"/>
                    </a:lnTo>
                    <a:lnTo>
                      <a:pt x="744" y="654"/>
                    </a:lnTo>
                    <a:lnTo>
                      <a:pt x="744" y="636"/>
                    </a:lnTo>
                    <a:lnTo>
                      <a:pt x="720" y="600"/>
                    </a:lnTo>
                    <a:lnTo>
                      <a:pt x="744" y="600"/>
                    </a:lnTo>
                    <a:lnTo>
                      <a:pt x="750" y="582"/>
                    </a:lnTo>
                    <a:lnTo>
                      <a:pt x="768" y="564"/>
                    </a:lnTo>
                    <a:lnTo>
                      <a:pt x="768" y="546"/>
                    </a:lnTo>
                    <a:lnTo>
                      <a:pt x="774" y="540"/>
                    </a:lnTo>
                    <a:lnTo>
                      <a:pt x="798" y="540"/>
                    </a:lnTo>
                    <a:lnTo>
                      <a:pt x="798" y="528"/>
                    </a:lnTo>
                    <a:lnTo>
                      <a:pt x="810" y="522"/>
                    </a:lnTo>
                    <a:lnTo>
                      <a:pt x="846" y="522"/>
                    </a:lnTo>
                    <a:lnTo>
                      <a:pt x="852" y="528"/>
                    </a:lnTo>
                    <a:lnTo>
                      <a:pt x="858" y="540"/>
                    </a:lnTo>
                    <a:lnTo>
                      <a:pt x="864" y="546"/>
                    </a:lnTo>
                    <a:lnTo>
                      <a:pt x="870" y="558"/>
                    </a:lnTo>
                    <a:lnTo>
                      <a:pt x="882" y="564"/>
                    </a:lnTo>
                    <a:lnTo>
                      <a:pt x="888" y="588"/>
                    </a:lnTo>
                    <a:lnTo>
                      <a:pt x="864" y="606"/>
                    </a:lnTo>
                    <a:lnTo>
                      <a:pt x="870" y="624"/>
                    </a:lnTo>
                    <a:close/>
                  </a:path>
                </a:pathLst>
              </a:custGeom>
              <a:solidFill>
                <a:srgbClr val="9D90A0">
                  <a:lumMod val="40000"/>
                  <a:lumOff val="60000"/>
                </a:srgbClr>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168" name="Pakistan" descr="© INSCALE GmbH, 05.05.2010&#10;http://www.presentationload.com/">
                <a:extLst>
                  <a:ext uri="{FF2B5EF4-FFF2-40B4-BE49-F238E27FC236}">
                    <a16:creationId xmlns:a16="http://schemas.microsoft.com/office/drawing/2014/main" id="{0C5418F5-5190-4243-B8C3-CC8BEC2E55A8}"/>
                  </a:ext>
                </a:extLst>
              </p:cNvPr>
              <p:cNvSpPr>
                <a:spLocks/>
              </p:cNvSpPr>
              <p:nvPr/>
            </p:nvSpPr>
            <p:spPr bwMode="gray">
              <a:xfrm>
                <a:off x="5874448" y="3242381"/>
                <a:ext cx="416496" cy="464363"/>
              </a:xfrm>
              <a:custGeom>
                <a:avLst/>
                <a:gdLst>
                  <a:gd name="T0" fmla="*/ 2147483647 w 1050"/>
                  <a:gd name="T1" fmla="*/ 2147483647 h 1056"/>
                  <a:gd name="T2" fmla="*/ 2147483647 w 1050"/>
                  <a:gd name="T3" fmla="*/ 2147483647 h 1056"/>
                  <a:gd name="T4" fmla="*/ 2147483647 w 1050"/>
                  <a:gd name="T5" fmla="*/ 2147483647 h 1056"/>
                  <a:gd name="T6" fmla="*/ 2147483647 w 1050"/>
                  <a:gd name="T7" fmla="*/ 2147483647 h 1056"/>
                  <a:gd name="T8" fmla="*/ 2147483647 w 1050"/>
                  <a:gd name="T9" fmla="*/ 2147483647 h 1056"/>
                  <a:gd name="T10" fmla="*/ 2147483647 w 1050"/>
                  <a:gd name="T11" fmla="*/ 2147483647 h 1056"/>
                  <a:gd name="T12" fmla="*/ 2147483647 w 1050"/>
                  <a:gd name="T13" fmla="*/ 2147483647 h 1056"/>
                  <a:gd name="T14" fmla="*/ 2147483647 w 1050"/>
                  <a:gd name="T15" fmla="*/ 2147483647 h 1056"/>
                  <a:gd name="T16" fmla="*/ 2147483647 w 1050"/>
                  <a:gd name="T17" fmla="*/ 2147483647 h 1056"/>
                  <a:gd name="T18" fmla="*/ 2147483647 w 1050"/>
                  <a:gd name="T19" fmla="*/ 2147483647 h 1056"/>
                  <a:gd name="T20" fmla="*/ 2147483647 w 1050"/>
                  <a:gd name="T21" fmla="*/ 2147483647 h 1056"/>
                  <a:gd name="T22" fmla="*/ 2147483647 w 1050"/>
                  <a:gd name="T23" fmla="*/ 2147483647 h 1056"/>
                  <a:gd name="T24" fmla="*/ 2147483647 w 1050"/>
                  <a:gd name="T25" fmla="*/ 2147483647 h 1056"/>
                  <a:gd name="T26" fmla="*/ 2147483647 w 1050"/>
                  <a:gd name="T27" fmla="*/ 2147483647 h 1056"/>
                  <a:gd name="T28" fmla="*/ 2147483647 w 1050"/>
                  <a:gd name="T29" fmla="*/ 2147483647 h 1056"/>
                  <a:gd name="T30" fmla="*/ 2147483647 w 1050"/>
                  <a:gd name="T31" fmla="*/ 2147483647 h 1056"/>
                  <a:gd name="T32" fmla="*/ 2147483647 w 1050"/>
                  <a:gd name="T33" fmla="*/ 2147483647 h 1056"/>
                  <a:gd name="T34" fmla="*/ 2147483647 w 1050"/>
                  <a:gd name="T35" fmla="*/ 2147483647 h 1056"/>
                  <a:gd name="T36" fmla="*/ 2147483647 w 1050"/>
                  <a:gd name="T37" fmla="*/ 2147483647 h 1056"/>
                  <a:gd name="T38" fmla="*/ 2147483647 w 1050"/>
                  <a:gd name="T39" fmla="*/ 2147483647 h 1056"/>
                  <a:gd name="T40" fmla="*/ 2147483647 w 1050"/>
                  <a:gd name="T41" fmla="*/ 2147483647 h 1056"/>
                  <a:gd name="T42" fmla="*/ 2147483647 w 1050"/>
                  <a:gd name="T43" fmla="*/ 2147483647 h 1056"/>
                  <a:gd name="T44" fmla="*/ 0 w 1050"/>
                  <a:gd name="T45" fmla="*/ 2147483647 h 1056"/>
                  <a:gd name="T46" fmla="*/ 2147483647 w 1050"/>
                  <a:gd name="T47" fmla="*/ 2147483647 h 1056"/>
                  <a:gd name="T48" fmla="*/ 2147483647 w 1050"/>
                  <a:gd name="T49" fmla="*/ 2147483647 h 1056"/>
                  <a:gd name="T50" fmla="*/ 2147483647 w 1050"/>
                  <a:gd name="T51" fmla="*/ 2147483647 h 1056"/>
                  <a:gd name="T52" fmla="*/ 2147483647 w 1050"/>
                  <a:gd name="T53" fmla="*/ 2147483647 h 1056"/>
                  <a:gd name="T54" fmla="*/ 2147483647 w 1050"/>
                  <a:gd name="T55" fmla="*/ 2147483647 h 1056"/>
                  <a:gd name="T56" fmla="*/ 2147483647 w 1050"/>
                  <a:gd name="T57" fmla="*/ 2147483647 h 1056"/>
                  <a:gd name="T58" fmla="*/ 2147483647 w 1050"/>
                  <a:gd name="T59" fmla="*/ 2147483647 h 1056"/>
                  <a:gd name="T60" fmla="*/ 2147483647 w 1050"/>
                  <a:gd name="T61" fmla="*/ 2147483647 h 1056"/>
                  <a:gd name="T62" fmla="*/ 2147483647 w 1050"/>
                  <a:gd name="T63" fmla="*/ 2147483647 h 1056"/>
                  <a:gd name="T64" fmla="*/ 2147483647 w 1050"/>
                  <a:gd name="T65" fmla="*/ 2147483647 h 1056"/>
                  <a:gd name="T66" fmla="*/ 2147483647 w 1050"/>
                  <a:gd name="T67" fmla="*/ 2147483647 h 1056"/>
                  <a:gd name="T68" fmla="*/ 2147483647 w 1050"/>
                  <a:gd name="T69" fmla="*/ 2147483647 h 1056"/>
                  <a:gd name="T70" fmla="*/ 2147483647 w 1050"/>
                  <a:gd name="T71" fmla="*/ 2147483647 h 1056"/>
                  <a:gd name="T72" fmla="*/ 2147483647 w 1050"/>
                  <a:gd name="T73" fmla="*/ 2147483647 h 1056"/>
                  <a:gd name="T74" fmla="*/ 2147483647 w 1050"/>
                  <a:gd name="T75" fmla="*/ 2147483647 h 1056"/>
                  <a:gd name="T76" fmla="*/ 2147483647 w 1050"/>
                  <a:gd name="T77" fmla="*/ 2147483647 h 1056"/>
                  <a:gd name="T78" fmla="*/ 2147483647 w 1050"/>
                  <a:gd name="T79" fmla="*/ 2147483647 h 1056"/>
                  <a:gd name="T80" fmla="*/ 2147483647 w 1050"/>
                  <a:gd name="T81" fmla="*/ 2147483647 h 1056"/>
                  <a:gd name="T82" fmla="*/ 2147483647 w 1050"/>
                  <a:gd name="T83" fmla="*/ 2147483647 h 1056"/>
                  <a:gd name="T84" fmla="*/ 2147483647 w 1050"/>
                  <a:gd name="T85" fmla="*/ 2147483647 h 1056"/>
                  <a:gd name="T86" fmla="*/ 2147483647 w 1050"/>
                  <a:gd name="T87" fmla="*/ 2147483647 h 1056"/>
                  <a:gd name="T88" fmla="*/ 2147483647 w 1050"/>
                  <a:gd name="T89" fmla="*/ 2147483647 h 1056"/>
                  <a:gd name="T90" fmla="*/ 2147483647 w 1050"/>
                  <a:gd name="T91" fmla="*/ 2147483647 h 1056"/>
                  <a:gd name="T92" fmla="*/ 2147483647 w 1050"/>
                  <a:gd name="T93" fmla="*/ 2147483647 h 1056"/>
                  <a:gd name="T94" fmla="*/ 2147483647 w 1050"/>
                  <a:gd name="T95" fmla="*/ 2147483647 h 1056"/>
                  <a:gd name="T96" fmla="*/ 2147483647 w 1050"/>
                  <a:gd name="T97" fmla="*/ 2147483647 h 1056"/>
                  <a:gd name="T98" fmla="*/ 2147483647 w 1050"/>
                  <a:gd name="T99" fmla="*/ 2147483647 h 1056"/>
                  <a:gd name="T100" fmla="*/ 2147483647 w 1050"/>
                  <a:gd name="T101" fmla="*/ 2147483647 h 1056"/>
                  <a:gd name="T102" fmla="*/ 2147483647 w 1050"/>
                  <a:gd name="T103" fmla="*/ 2147483647 h 1056"/>
                  <a:gd name="T104" fmla="*/ 2147483647 w 1050"/>
                  <a:gd name="T105" fmla="*/ 2147483647 h 1056"/>
                  <a:gd name="T106" fmla="*/ 2147483647 w 1050"/>
                  <a:gd name="T107" fmla="*/ 2147483647 h 1056"/>
                  <a:gd name="T108" fmla="*/ 2147483647 w 1050"/>
                  <a:gd name="T109" fmla="*/ 2147483647 h 1056"/>
                  <a:gd name="T110" fmla="*/ 2147483647 w 1050"/>
                  <a:gd name="T111" fmla="*/ 2147483647 h 1056"/>
                  <a:gd name="T112" fmla="*/ 2147483647 w 1050"/>
                  <a:gd name="T113" fmla="*/ 2147483647 h 1056"/>
                  <a:gd name="T114" fmla="*/ 2147483647 w 1050"/>
                  <a:gd name="T115" fmla="*/ 2147483647 h 1056"/>
                  <a:gd name="T116" fmla="*/ 2147483647 w 1050"/>
                  <a:gd name="T117" fmla="*/ 2147483647 h 1056"/>
                  <a:gd name="T118" fmla="*/ 2147483647 w 1050"/>
                  <a:gd name="T119" fmla="*/ 2147483647 h 1056"/>
                  <a:gd name="T120" fmla="*/ 2147483647 w 1050"/>
                  <a:gd name="T121" fmla="*/ 2147483647 h 1056"/>
                  <a:gd name="T122" fmla="*/ 2147483647 w 1050"/>
                  <a:gd name="T123" fmla="*/ 2147483647 h 105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050"/>
                  <a:gd name="T187" fmla="*/ 0 h 1056"/>
                  <a:gd name="T188" fmla="*/ 1050 w 1050"/>
                  <a:gd name="T189" fmla="*/ 1056 h 105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050" h="1056">
                    <a:moveTo>
                      <a:pt x="1008" y="120"/>
                    </a:moveTo>
                    <a:lnTo>
                      <a:pt x="996" y="120"/>
                    </a:lnTo>
                    <a:lnTo>
                      <a:pt x="984" y="114"/>
                    </a:lnTo>
                    <a:lnTo>
                      <a:pt x="978" y="102"/>
                    </a:lnTo>
                    <a:lnTo>
                      <a:pt x="972" y="96"/>
                    </a:lnTo>
                    <a:lnTo>
                      <a:pt x="972" y="90"/>
                    </a:lnTo>
                    <a:lnTo>
                      <a:pt x="960" y="96"/>
                    </a:lnTo>
                    <a:lnTo>
                      <a:pt x="924" y="84"/>
                    </a:lnTo>
                    <a:lnTo>
                      <a:pt x="924" y="60"/>
                    </a:lnTo>
                    <a:lnTo>
                      <a:pt x="912" y="36"/>
                    </a:lnTo>
                    <a:lnTo>
                      <a:pt x="900" y="24"/>
                    </a:lnTo>
                    <a:lnTo>
                      <a:pt x="888" y="18"/>
                    </a:lnTo>
                    <a:lnTo>
                      <a:pt x="876" y="18"/>
                    </a:lnTo>
                    <a:lnTo>
                      <a:pt x="870" y="6"/>
                    </a:lnTo>
                    <a:lnTo>
                      <a:pt x="822" y="6"/>
                    </a:lnTo>
                    <a:lnTo>
                      <a:pt x="810" y="0"/>
                    </a:lnTo>
                    <a:lnTo>
                      <a:pt x="804" y="6"/>
                    </a:lnTo>
                    <a:lnTo>
                      <a:pt x="792" y="6"/>
                    </a:lnTo>
                    <a:lnTo>
                      <a:pt x="786" y="12"/>
                    </a:lnTo>
                    <a:lnTo>
                      <a:pt x="774" y="12"/>
                    </a:lnTo>
                    <a:lnTo>
                      <a:pt x="762" y="6"/>
                    </a:lnTo>
                    <a:lnTo>
                      <a:pt x="738" y="6"/>
                    </a:lnTo>
                    <a:lnTo>
                      <a:pt x="732" y="12"/>
                    </a:lnTo>
                    <a:lnTo>
                      <a:pt x="690" y="12"/>
                    </a:lnTo>
                    <a:lnTo>
                      <a:pt x="684" y="18"/>
                    </a:lnTo>
                    <a:lnTo>
                      <a:pt x="678" y="18"/>
                    </a:lnTo>
                    <a:lnTo>
                      <a:pt x="654" y="30"/>
                    </a:lnTo>
                    <a:lnTo>
                      <a:pt x="648" y="36"/>
                    </a:lnTo>
                    <a:lnTo>
                      <a:pt x="624" y="48"/>
                    </a:lnTo>
                    <a:lnTo>
                      <a:pt x="618" y="54"/>
                    </a:lnTo>
                    <a:lnTo>
                      <a:pt x="612" y="66"/>
                    </a:lnTo>
                    <a:lnTo>
                      <a:pt x="606" y="72"/>
                    </a:lnTo>
                    <a:lnTo>
                      <a:pt x="606" y="78"/>
                    </a:lnTo>
                    <a:lnTo>
                      <a:pt x="636" y="108"/>
                    </a:lnTo>
                    <a:lnTo>
                      <a:pt x="636" y="138"/>
                    </a:lnTo>
                    <a:lnTo>
                      <a:pt x="642" y="144"/>
                    </a:lnTo>
                    <a:lnTo>
                      <a:pt x="648" y="156"/>
                    </a:lnTo>
                    <a:lnTo>
                      <a:pt x="648" y="162"/>
                    </a:lnTo>
                    <a:lnTo>
                      <a:pt x="624" y="186"/>
                    </a:lnTo>
                    <a:lnTo>
                      <a:pt x="618" y="198"/>
                    </a:lnTo>
                    <a:lnTo>
                      <a:pt x="618" y="210"/>
                    </a:lnTo>
                    <a:lnTo>
                      <a:pt x="624" y="216"/>
                    </a:lnTo>
                    <a:lnTo>
                      <a:pt x="624" y="246"/>
                    </a:lnTo>
                    <a:lnTo>
                      <a:pt x="606" y="246"/>
                    </a:lnTo>
                    <a:lnTo>
                      <a:pt x="600" y="252"/>
                    </a:lnTo>
                    <a:lnTo>
                      <a:pt x="594" y="252"/>
                    </a:lnTo>
                    <a:lnTo>
                      <a:pt x="576" y="246"/>
                    </a:lnTo>
                    <a:lnTo>
                      <a:pt x="570" y="240"/>
                    </a:lnTo>
                    <a:lnTo>
                      <a:pt x="552" y="240"/>
                    </a:lnTo>
                    <a:lnTo>
                      <a:pt x="552" y="252"/>
                    </a:lnTo>
                    <a:lnTo>
                      <a:pt x="564" y="264"/>
                    </a:lnTo>
                    <a:lnTo>
                      <a:pt x="576" y="270"/>
                    </a:lnTo>
                    <a:lnTo>
                      <a:pt x="576" y="276"/>
                    </a:lnTo>
                    <a:lnTo>
                      <a:pt x="582" y="282"/>
                    </a:lnTo>
                    <a:lnTo>
                      <a:pt x="582" y="288"/>
                    </a:lnTo>
                    <a:lnTo>
                      <a:pt x="594" y="294"/>
                    </a:lnTo>
                    <a:lnTo>
                      <a:pt x="600" y="294"/>
                    </a:lnTo>
                    <a:lnTo>
                      <a:pt x="570" y="312"/>
                    </a:lnTo>
                    <a:lnTo>
                      <a:pt x="552" y="312"/>
                    </a:lnTo>
                    <a:lnTo>
                      <a:pt x="546" y="318"/>
                    </a:lnTo>
                    <a:lnTo>
                      <a:pt x="546" y="354"/>
                    </a:lnTo>
                    <a:lnTo>
                      <a:pt x="540" y="354"/>
                    </a:lnTo>
                    <a:lnTo>
                      <a:pt x="534" y="360"/>
                    </a:lnTo>
                    <a:lnTo>
                      <a:pt x="534" y="378"/>
                    </a:lnTo>
                    <a:lnTo>
                      <a:pt x="540" y="390"/>
                    </a:lnTo>
                    <a:lnTo>
                      <a:pt x="540" y="402"/>
                    </a:lnTo>
                    <a:lnTo>
                      <a:pt x="546" y="408"/>
                    </a:lnTo>
                    <a:lnTo>
                      <a:pt x="546" y="414"/>
                    </a:lnTo>
                    <a:lnTo>
                      <a:pt x="540" y="420"/>
                    </a:lnTo>
                    <a:lnTo>
                      <a:pt x="534" y="432"/>
                    </a:lnTo>
                    <a:lnTo>
                      <a:pt x="522" y="438"/>
                    </a:lnTo>
                    <a:lnTo>
                      <a:pt x="510" y="438"/>
                    </a:lnTo>
                    <a:lnTo>
                      <a:pt x="504" y="432"/>
                    </a:lnTo>
                    <a:lnTo>
                      <a:pt x="504" y="420"/>
                    </a:lnTo>
                    <a:lnTo>
                      <a:pt x="474" y="420"/>
                    </a:lnTo>
                    <a:lnTo>
                      <a:pt x="462" y="426"/>
                    </a:lnTo>
                    <a:lnTo>
                      <a:pt x="456" y="432"/>
                    </a:lnTo>
                    <a:lnTo>
                      <a:pt x="444" y="438"/>
                    </a:lnTo>
                    <a:lnTo>
                      <a:pt x="438" y="438"/>
                    </a:lnTo>
                    <a:lnTo>
                      <a:pt x="432" y="444"/>
                    </a:lnTo>
                    <a:lnTo>
                      <a:pt x="432" y="450"/>
                    </a:lnTo>
                    <a:lnTo>
                      <a:pt x="438" y="450"/>
                    </a:lnTo>
                    <a:lnTo>
                      <a:pt x="444" y="456"/>
                    </a:lnTo>
                    <a:lnTo>
                      <a:pt x="444" y="462"/>
                    </a:lnTo>
                    <a:lnTo>
                      <a:pt x="438" y="468"/>
                    </a:lnTo>
                    <a:lnTo>
                      <a:pt x="396" y="468"/>
                    </a:lnTo>
                    <a:lnTo>
                      <a:pt x="396" y="456"/>
                    </a:lnTo>
                    <a:lnTo>
                      <a:pt x="378" y="456"/>
                    </a:lnTo>
                    <a:lnTo>
                      <a:pt x="372" y="468"/>
                    </a:lnTo>
                    <a:lnTo>
                      <a:pt x="360" y="474"/>
                    </a:lnTo>
                    <a:lnTo>
                      <a:pt x="354" y="486"/>
                    </a:lnTo>
                    <a:lnTo>
                      <a:pt x="354" y="504"/>
                    </a:lnTo>
                    <a:lnTo>
                      <a:pt x="360" y="516"/>
                    </a:lnTo>
                    <a:lnTo>
                      <a:pt x="360" y="534"/>
                    </a:lnTo>
                    <a:lnTo>
                      <a:pt x="366" y="540"/>
                    </a:lnTo>
                    <a:lnTo>
                      <a:pt x="366" y="570"/>
                    </a:lnTo>
                    <a:lnTo>
                      <a:pt x="360" y="576"/>
                    </a:lnTo>
                    <a:lnTo>
                      <a:pt x="354" y="576"/>
                    </a:lnTo>
                    <a:lnTo>
                      <a:pt x="306" y="600"/>
                    </a:lnTo>
                    <a:lnTo>
                      <a:pt x="276" y="600"/>
                    </a:lnTo>
                    <a:lnTo>
                      <a:pt x="258" y="606"/>
                    </a:lnTo>
                    <a:lnTo>
                      <a:pt x="234" y="606"/>
                    </a:lnTo>
                    <a:lnTo>
                      <a:pt x="228" y="612"/>
                    </a:lnTo>
                    <a:lnTo>
                      <a:pt x="204" y="612"/>
                    </a:lnTo>
                    <a:lnTo>
                      <a:pt x="204" y="606"/>
                    </a:lnTo>
                    <a:lnTo>
                      <a:pt x="150" y="606"/>
                    </a:lnTo>
                    <a:lnTo>
                      <a:pt x="144" y="612"/>
                    </a:lnTo>
                    <a:lnTo>
                      <a:pt x="138" y="612"/>
                    </a:lnTo>
                    <a:lnTo>
                      <a:pt x="120" y="618"/>
                    </a:lnTo>
                    <a:lnTo>
                      <a:pt x="102" y="618"/>
                    </a:lnTo>
                    <a:lnTo>
                      <a:pt x="78" y="606"/>
                    </a:lnTo>
                    <a:lnTo>
                      <a:pt x="60" y="600"/>
                    </a:lnTo>
                    <a:lnTo>
                      <a:pt x="42" y="588"/>
                    </a:lnTo>
                    <a:lnTo>
                      <a:pt x="30" y="582"/>
                    </a:lnTo>
                    <a:lnTo>
                      <a:pt x="0" y="582"/>
                    </a:lnTo>
                    <a:lnTo>
                      <a:pt x="24" y="606"/>
                    </a:lnTo>
                    <a:lnTo>
                      <a:pt x="30" y="618"/>
                    </a:lnTo>
                    <a:lnTo>
                      <a:pt x="36" y="624"/>
                    </a:lnTo>
                    <a:lnTo>
                      <a:pt x="48" y="642"/>
                    </a:lnTo>
                    <a:lnTo>
                      <a:pt x="60" y="654"/>
                    </a:lnTo>
                    <a:lnTo>
                      <a:pt x="66" y="672"/>
                    </a:lnTo>
                    <a:lnTo>
                      <a:pt x="78" y="690"/>
                    </a:lnTo>
                    <a:lnTo>
                      <a:pt x="84" y="696"/>
                    </a:lnTo>
                    <a:lnTo>
                      <a:pt x="102" y="696"/>
                    </a:lnTo>
                    <a:lnTo>
                      <a:pt x="114" y="690"/>
                    </a:lnTo>
                    <a:lnTo>
                      <a:pt x="126" y="708"/>
                    </a:lnTo>
                    <a:lnTo>
                      <a:pt x="150" y="708"/>
                    </a:lnTo>
                    <a:lnTo>
                      <a:pt x="144" y="738"/>
                    </a:lnTo>
                    <a:lnTo>
                      <a:pt x="150" y="738"/>
                    </a:lnTo>
                    <a:lnTo>
                      <a:pt x="150" y="762"/>
                    </a:lnTo>
                    <a:lnTo>
                      <a:pt x="156" y="774"/>
                    </a:lnTo>
                    <a:lnTo>
                      <a:pt x="156" y="786"/>
                    </a:lnTo>
                    <a:lnTo>
                      <a:pt x="174" y="786"/>
                    </a:lnTo>
                    <a:lnTo>
                      <a:pt x="180" y="792"/>
                    </a:lnTo>
                    <a:lnTo>
                      <a:pt x="186" y="804"/>
                    </a:lnTo>
                    <a:lnTo>
                      <a:pt x="192" y="822"/>
                    </a:lnTo>
                    <a:lnTo>
                      <a:pt x="192" y="834"/>
                    </a:lnTo>
                    <a:lnTo>
                      <a:pt x="186" y="840"/>
                    </a:lnTo>
                    <a:lnTo>
                      <a:pt x="180" y="840"/>
                    </a:lnTo>
                    <a:lnTo>
                      <a:pt x="180" y="834"/>
                    </a:lnTo>
                    <a:lnTo>
                      <a:pt x="150" y="834"/>
                    </a:lnTo>
                    <a:lnTo>
                      <a:pt x="138" y="840"/>
                    </a:lnTo>
                    <a:lnTo>
                      <a:pt x="132" y="846"/>
                    </a:lnTo>
                    <a:lnTo>
                      <a:pt x="132" y="852"/>
                    </a:lnTo>
                    <a:lnTo>
                      <a:pt x="126" y="852"/>
                    </a:lnTo>
                    <a:lnTo>
                      <a:pt x="126" y="858"/>
                    </a:lnTo>
                    <a:lnTo>
                      <a:pt x="120" y="864"/>
                    </a:lnTo>
                    <a:lnTo>
                      <a:pt x="108" y="864"/>
                    </a:lnTo>
                    <a:lnTo>
                      <a:pt x="102" y="882"/>
                    </a:lnTo>
                    <a:lnTo>
                      <a:pt x="96" y="888"/>
                    </a:lnTo>
                    <a:lnTo>
                      <a:pt x="96" y="894"/>
                    </a:lnTo>
                    <a:lnTo>
                      <a:pt x="84" y="906"/>
                    </a:lnTo>
                    <a:lnTo>
                      <a:pt x="84" y="936"/>
                    </a:lnTo>
                    <a:lnTo>
                      <a:pt x="90" y="948"/>
                    </a:lnTo>
                    <a:lnTo>
                      <a:pt x="90" y="954"/>
                    </a:lnTo>
                    <a:lnTo>
                      <a:pt x="96" y="948"/>
                    </a:lnTo>
                    <a:lnTo>
                      <a:pt x="108" y="948"/>
                    </a:lnTo>
                    <a:lnTo>
                      <a:pt x="114" y="942"/>
                    </a:lnTo>
                    <a:lnTo>
                      <a:pt x="120" y="942"/>
                    </a:lnTo>
                    <a:lnTo>
                      <a:pt x="126" y="948"/>
                    </a:lnTo>
                    <a:lnTo>
                      <a:pt x="138" y="948"/>
                    </a:lnTo>
                    <a:lnTo>
                      <a:pt x="150" y="954"/>
                    </a:lnTo>
                    <a:lnTo>
                      <a:pt x="174" y="954"/>
                    </a:lnTo>
                    <a:lnTo>
                      <a:pt x="210" y="936"/>
                    </a:lnTo>
                    <a:lnTo>
                      <a:pt x="216" y="930"/>
                    </a:lnTo>
                    <a:lnTo>
                      <a:pt x="222" y="930"/>
                    </a:lnTo>
                    <a:lnTo>
                      <a:pt x="234" y="936"/>
                    </a:lnTo>
                    <a:lnTo>
                      <a:pt x="276" y="936"/>
                    </a:lnTo>
                    <a:lnTo>
                      <a:pt x="288" y="930"/>
                    </a:lnTo>
                    <a:lnTo>
                      <a:pt x="300" y="930"/>
                    </a:lnTo>
                    <a:lnTo>
                      <a:pt x="306" y="924"/>
                    </a:lnTo>
                    <a:lnTo>
                      <a:pt x="312" y="924"/>
                    </a:lnTo>
                    <a:lnTo>
                      <a:pt x="348" y="930"/>
                    </a:lnTo>
                    <a:lnTo>
                      <a:pt x="354" y="924"/>
                    </a:lnTo>
                    <a:lnTo>
                      <a:pt x="366" y="918"/>
                    </a:lnTo>
                    <a:lnTo>
                      <a:pt x="372" y="912"/>
                    </a:lnTo>
                    <a:lnTo>
                      <a:pt x="384" y="912"/>
                    </a:lnTo>
                    <a:lnTo>
                      <a:pt x="396" y="918"/>
                    </a:lnTo>
                    <a:lnTo>
                      <a:pt x="408" y="930"/>
                    </a:lnTo>
                    <a:lnTo>
                      <a:pt x="432" y="978"/>
                    </a:lnTo>
                    <a:lnTo>
                      <a:pt x="444" y="984"/>
                    </a:lnTo>
                    <a:lnTo>
                      <a:pt x="450" y="990"/>
                    </a:lnTo>
                    <a:lnTo>
                      <a:pt x="468" y="996"/>
                    </a:lnTo>
                    <a:lnTo>
                      <a:pt x="486" y="996"/>
                    </a:lnTo>
                    <a:lnTo>
                      <a:pt x="522" y="1008"/>
                    </a:lnTo>
                    <a:lnTo>
                      <a:pt x="540" y="1044"/>
                    </a:lnTo>
                    <a:lnTo>
                      <a:pt x="552" y="1056"/>
                    </a:lnTo>
                    <a:lnTo>
                      <a:pt x="570" y="1056"/>
                    </a:lnTo>
                    <a:lnTo>
                      <a:pt x="588" y="1050"/>
                    </a:lnTo>
                    <a:lnTo>
                      <a:pt x="582" y="1044"/>
                    </a:lnTo>
                    <a:lnTo>
                      <a:pt x="582" y="1032"/>
                    </a:lnTo>
                    <a:lnTo>
                      <a:pt x="594" y="1020"/>
                    </a:lnTo>
                    <a:lnTo>
                      <a:pt x="606" y="1020"/>
                    </a:lnTo>
                    <a:lnTo>
                      <a:pt x="618" y="1026"/>
                    </a:lnTo>
                    <a:lnTo>
                      <a:pt x="624" y="1032"/>
                    </a:lnTo>
                    <a:lnTo>
                      <a:pt x="648" y="1020"/>
                    </a:lnTo>
                    <a:lnTo>
                      <a:pt x="648" y="1026"/>
                    </a:lnTo>
                    <a:lnTo>
                      <a:pt x="654" y="1032"/>
                    </a:lnTo>
                    <a:lnTo>
                      <a:pt x="678" y="1032"/>
                    </a:lnTo>
                    <a:lnTo>
                      <a:pt x="690" y="1020"/>
                    </a:lnTo>
                    <a:lnTo>
                      <a:pt x="702" y="1014"/>
                    </a:lnTo>
                    <a:lnTo>
                      <a:pt x="708" y="1014"/>
                    </a:lnTo>
                    <a:lnTo>
                      <a:pt x="708" y="1026"/>
                    </a:lnTo>
                    <a:lnTo>
                      <a:pt x="714" y="1032"/>
                    </a:lnTo>
                    <a:lnTo>
                      <a:pt x="732" y="1032"/>
                    </a:lnTo>
                    <a:lnTo>
                      <a:pt x="738" y="1026"/>
                    </a:lnTo>
                    <a:lnTo>
                      <a:pt x="750" y="1020"/>
                    </a:lnTo>
                    <a:lnTo>
                      <a:pt x="750" y="996"/>
                    </a:lnTo>
                    <a:lnTo>
                      <a:pt x="744" y="990"/>
                    </a:lnTo>
                    <a:lnTo>
                      <a:pt x="738" y="978"/>
                    </a:lnTo>
                    <a:lnTo>
                      <a:pt x="714" y="936"/>
                    </a:lnTo>
                    <a:lnTo>
                      <a:pt x="714" y="912"/>
                    </a:lnTo>
                    <a:lnTo>
                      <a:pt x="690" y="912"/>
                    </a:lnTo>
                    <a:lnTo>
                      <a:pt x="678" y="900"/>
                    </a:lnTo>
                    <a:lnTo>
                      <a:pt x="672" y="888"/>
                    </a:lnTo>
                    <a:lnTo>
                      <a:pt x="666" y="882"/>
                    </a:lnTo>
                    <a:lnTo>
                      <a:pt x="672" y="852"/>
                    </a:lnTo>
                    <a:lnTo>
                      <a:pt x="672" y="834"/>
                    </a:lnTo>
                    <a:lnTo>
                      <a:pt x="642" y="840"/>
                    </a:lnTo>
                    <a:lnTo>
                      <a:pt x="636" y="840"/>
                    </a:lnTo>
                    <a:lnTo>
                      <a:pt x="624" y="834"/>
                    </a:lnTo>
                    <a:lnTo>
                      <a:pt x="618" y="828"/>
                    </a:lnTo>
                    <a:lnTo>
                      <a:pt x="618" y="804"/>
                    </a:lnTo>
                    <a:lnTo>
                      <a:pt x="624" y="792"/>
                    </a:lnTo>
                    <a:lnTo>
                      <a:pt x="636" y="780"/>
                    </a:lnTo>
                    <a:lnTo>
                      <a:pt x="642" y="768"/>
                    </a:lnTo>
                    <a:lnTo>
                      <a:pt x="648" y="762"/>
                    </a:lnTo>
                    <a:lnTo>
                      <a:pt x="654" y="750"/>
                    </a:lnTo>
                    <a:lnTo>
                      <a:pt x="654" y="744"/>
                    </a:lnTo>
                    <a:lnTo>
                      <a:pt x="666" y="732"/>
                    </a:lnTo>
                    <a:lnTo>
                      <a:pt x="678" y="726"/>
                    </a:lnTo>
                    <a:lnTo>
                      <a:pt x="684" y="726"/>
                    </a:lnTo>
                    <a:lnTo>
                      <a:pt x="690" y="732"/>
                    </a:lnTo>
                    <a:lnTo>
                      <a:pt x="690" y="744"/>
                    </a:lnTo>
                    <a:lnTo>
                      <a:pt x="696" y="750"/>
                    </a:lnTo>
                    <a:lnTo>
                      <a:pt x="702" y="750"/>
                    </a:lnTo>
                    <a:lnTo>
                      <a:pt x="726" y="738"/>
                    </a:lnTo>
                    <a:lnTo>
                      <a:pt x="732" y="732"/>
                    </a:lnTo>
                    <a:lnTo>
                      <a:pt x="738" y="738"/>
                    </a:lnTo>
                    <a:lnTo>
                      <a:pt x="756" y="738"/>
                    </a:lnTo>
                    <a:lnTo>
                      <a:pt x="762" y="732"/>
                    </a:lnTo>
                    <a:lnTo>
                      <a:pt x="768" y="720"/>
                    </a:lnTo>
                    <a:lnTo>
                      <a:pt x="774" y="714"/>
                    </a:lnTo>
                    <a:lnTo>
                      <a:pt x="774" y="708"/>
                    </a:lnTo>
                    <a:lnTo>
                      <a:pt x="792" y="696"/>
                    </a:lnTo>
                    <a:lnTo>
                      <a:pt x="792" y="678"/>
                    </a:lnTo>
                    <a:lnTo>
                      <a:pt x="798" y="672"/>
                    </a:lnTo>
                    <a:lnTo>
                      <a:pt x="798" y="666"/>
                    </a:lnTo>
                    <a:lnTo>
                      <a:pt x="804" y="660"/>
                    </a:lnTo>
                    <a:lnTo>
                      <a:pt x="828" y="648"/>
                    </a:lnTo>
                    <a:lnTo>
                      <a:pt x="840" y="636"/>
                    </a:lnTo>
                    <a:lnTo>
                      <a:pt x="846" y="618"/>
                    </a:lnTo>
                    <a:lnTo>
                      <a:pt x="846" y="606"/>
                    </a:lnTo>
                    <a:lnTo>
                      <a:pt x="852" y="588"/>
                    </a:lnTo>
                    <a:lnTo>
                      <a:pt x="852" y="576"/>
                    </a:lnTo>
                    <a:lnTo>
                      <a:pt x="858" y="570"/>
                    </a:lnTo>
                    <a:lnTo>
                      <a:pt x="870" y="564"/>
                    </a:lnTo>
                    <a:lnTo>
                      <a:pt x="876" y="558"/>
                    </a:lnTo>
                    <a:lnTo>
                      <a:pt x="888" y="558"/>
                    </a:lnTo>
                    <a:lnTo>
                      <a:pt x="870" y="534"/>
                    </a:lnTo>
                    <a:lnTo>
                      <a:pt x="894" y="498"/>
                    </a:lnTo>
                    <a:lnTo>
                      <a:pt x="924" y="480"/>
                    </a:lnTo>
                    <a:lnTo>
                      <a:pt x="924" y="474"/>
                    </a:lnTo>
                    <a:lnTo>
                      <a:pt x="912" y="462"/>
                    </a:lnTo>
                    <a:lnTo>
                      <a:pt x="906" y="450"/>
                    </a:lnTo>
                    <a:lnTo>
                      <a:pt x="906" y="414"/>
                    </a:lnTo>
                    <a:lnTo>
                      <a:pt x="912" y="408"/>
                    </a:lnTo>
                    <a:lnTo>
                      <a:pt x="924" y="408"/>
                    </a:lnTo>
                    <a:lnTo>
                      <a:pt x="948" y="396"/>
                    </a:lnTo>
                    <a:lnTo>
                      <a:pt x="954" y="390"/>
                    </a:lnTo>
                    <a:lnTo>
                      <a:pt x="954" y="384"/>
                    </a:lnTo>
                    <a:lnTo>
                      <a:pt x="948" y="378"/>
                    </a:lnTo>
                    <a:lnTo>
                      <a:pt x="936" y="372"/>
                    </a:lnTo>
                    <a:lnTo>
                      <a:pt x="900" y="372"/>
                    </a:lnTo>
                    <a:lnTo>
                      <a:pt x="894" y="336"/>
                    </a:lnTo>
                    <a:lnTo>
                      <a:pt x="876" y="336"/>
                    </a:lnTo>
                    <a:lnTo>
                      <a:pt x="864" y="318"/>
                    </a:lnTo>
                    <a:lnTo>
                      <a:pt x="846" y="318"/>
                    </a:lnTo>
                    <a:lnTo>
                      <a:pt x="846" y="306"/>
                    </a:lnTo>
                    <a:lnTo>
                      <a:pt x="852" y="294"/>
                    </a:lnTo>
                    <a:lnTo>
                      <a:pt x="852" y="288"/>
                    </a:lnTo>
                    <a:lnTo>
                      <a:pt x="846" y="288"/>
                    </a:lnTo>
                    <a:lnTo>
                      <a:pt x="834" y="276"/>
                    </a:lnTo>
                    <a:lnTo>
                      <a:pt x="834" y="270"/>
                    </a:lnTo>
                    <a:lnTo>
                      <a:pt x="840" y="264"/>
                    </a:lnTo>
                    <a:lnTo>
                      <a:pt x="846" y="252"/>
                    </a:lnTo>
                    <a:lnTo>
                      <a:pt x="852" y="246"/>
                    </a:lnTo>
                    <a:lnTo>
                      <a:pt x="822" y="240"/>
                    </a:lnTo>
                    <a:lnTo>
                      <a:pt x="828" y="228"/>
                    </a:lnTo>
                    <a:lnTo>
                      <a:pt x="804" y="210"/>
                    </a:lnTo>
                    <a:lnTo>
                      <a:pt x="804" y="204"/>
                    </a:lnTo>
                    <a:lnTo>
                      <a:pt x="810" y="192"/>
                    </a:lnTo>
                    <a:lnTo>
                      <a:pt x="834" y="180"/>
                    </a:lnTo>
                    <a:lnTo>
                      <a:pt x="876" y="180"/>
                    </a:lnTo>
                    <a:lnTo>
                      <a:pt x="894" y="186"/>
                    </a:lnTo>
                    <a:lnTo>
                      <a:pt x="912" y="186"/>
                    </a:lnTo>
                    <a:lnTo>
                      <a:pt x="918" y="192"/>
                    </a:lnTo>
                    <a:lnTo>
                      <a:pt x="918" y="204"/>
                    </a:lnTo>
                    <a:lnTo>
                      <a:pt x="930" y="204"/>
                    </a:lnTo>
                    <a:lnTo>
                      <a:pt x="942" y="198"/>
                    </a:lnTo>
                    <a:lnTo>
                      <a:pt x="948" y="192"/>
                    </a:lnTo>
                    <a:lnTo>
                      <a:pt x="960" y="186"/>
                    </a:lnTo>
                    <a:lnTo>
                      <a:pt x="966" y="180"/>
                    </a:lnTo>
                    <a:lnTo>
                      <a:pt x="972" y="186"/>
                    </a:lnTo>
                    <a:lnTo>
                      <a:pt x="978" y="180"/>
                    </a:lnTo>
                    <a:lnTo>
                      <a:pt x="1002" y="180"/>
                    </a:lnTo>
                    <a:lnTo>
                      <a:pt x="1002" y="162"/>
                    </a:lnTo>
                    <a:lnTo>
                      <a:pt x="1026" y="156"/>
                    </a:lnTo>
                    <a:lnTo>
                      <a:pt x="1050" y="120"/>
                    </a:lnTo>
                    <a:lnTo>
                      <a:pt x="1008" y="120"/>
                    </a:lnTo>
                    <a:close/>
                  </a:path>
                </a:pathLst>
              </a:custGeom>
              <a:solidFill>
                <a:srgbClr val="9D90A0">
                  <a:lumMod val="40000"/>
                  <a:lumOff val="60000"/>
                </a:srgbClr>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169" name="Iran" descr="© INSCALE GmbH, 05.05.2010&#10;http://www.presentationload.com/">
                <a:extLst>
                  <a:ext uri="{FF2B5EF4-FFF2-40B4-BE49-F238E27FC236}">
                    <a16:creationId xmlns:a16="http://schemas.microsoft.com/office/drawing/2014/main" id="{0AB07C3F-D384-4E60-ABC3-EA86C08CC852}"/>
                  </a:ext>
                </a:extLst>
              </p:cNvPr>
              <p:cNvSpPr>
                <a:spLocks/>
              </p:cNvSpPr>
              <p:nvPr/>
            </p:nvSpPr>
            <p:spPr bwMode="gray">
              <a:xfrm>
                <a:off x="5381516" y="3143617"/>
                <a:ext cx="569368" cy="519810"/>
              </a:xfrm>
              <a:custGeom>
                <a:avLst/>
                <a:gdLst>
                  <a:gd name="T0" fmla="*/ 2147483647 w 1440"/>
                  <a:gd name="T1" fmla="*/ 2147483647 h 1182"/>
                  <a:gd name="T2" fmla="*/ 2147483647 w 1440"/>
                  <a:gd name="T3" fmla="*/ 2147483647 h 1182"/>
                  <a:gd name="T4" fmla="*/ 2147483647 w 1440"/>
                  <a:gd name="T5" fmla="*/ 2147483647 h 1182"/>
                  <a:gd name="T6" fmla="*/ 2147483647 w 1440"/>
                  <a:gd name="T7" fmla="*/ 2147483647 h 1182"/>
                  <a:gd name="T8" fmla="*/ 2147483647 w 1440"/>
                  <a:gd name="T9" fmla="*/ 2147483647 h 1182"/>
                  <a:gd name="T10" fmla="*/ 2147483647 w 1440"/>
                  <a:gd name="T11" fmla="*/ 2147483647 h 1182"/>
                  <a:gd name="T12" fmla="*/ 2147483647 w 1440"/>
                  <a:gd name="T13" fmla="*/ 2147483647 h 1182"/>
                  <a:gd name="T14" fmla="*/ 2147483647 w 1440"/>
                  <a:gd name="T15" fmla="*/ 2147483647 h 1182"/>
                  <a:gd name="T16" fmla="*/ 2147483647 w 1440"/>
                  <a:gd name="T17" fmla="*/ 2147483647 h 1182"/>
                  <a:gd name="T18" fmla="*/ 2147483647 w 1440"/>
                  <a:gd name="T19" fmla="*/ 2147483647 h 1182"/>
                  <a:gd name="T20" fmla="*/ 2147483647 w 1440"/>
                  <a:gd name="T21" fmla="*/ 2147483647 h 1182"/>
                  <a:gd name="T22" fmla="*/ 2147483647 w 1440"/>
                  <a:gd name="T23" fmla="*/ 2147483647 h 1182"/>
                  <a:gd name="T24" fmla="*/ 2147483647 w 1440"/>
                  <a:gd name="T25" fmla="*/ 2147483647 h 1182"/>
                  <a:gd name="T26" fmla="*/ 2147483647 w 1440"/>
                  <a:gd name="T27" fmla="*/ 2147483647 h 1182"/>
                  <a:gd name="T28" fmla="*/ 2147483647 w 1440"/>
                  <a:gd name="T29" fmla="*/ 2147483647 h 1182"/>
                  <a:gd name="T30" fmla="*/ 2147483647 w 1440"/>
                  <a:gd name="T31" fmla="*/ 2147483647 h 1182"/>
                  <a:gd name="T32" fmla="*/ 2147483647 w 1440"/>
                  <a:gd name="T33" fmla="*/ 2147483647 h 1182"/>
                  <a:gd name="T34" fmla="*/ 2147483647 w 1440"/>
                  <a:gd name="T35" fmla="*/ 2147483647 h 1182"/>
                  <a:gd name="T36" fmla="*/ 2147483647 w 1440"/>
                  <a:gd name="T37" fmla="*/ 2147483647 h 1182"/>
                  <a:gd name="T38" fmla="*/ 2147483647 w 1440"/>
                  <a:gd name="T39" fmla="*/ 2147483647 h 1182"/>
                  <a:gd name="T40" fmla="*/ 2147483647 w 1440"/>
                  <a:gd name="T41" fmla="*/ 2147483647 h 1182"/>
                  <a:gd name="T42" fmla="*/ 2147483647 w 1440"/>
                  <a:gd name="T43" fmla="*/ 2147483647 h 1182"/>
                  <a:gd name="T44" fmla="*/ 2147483647 w 1440"/>
                  <a:gd name="T45" fmla="*/ 2147483647 h 1182"/>
                  <a:gd name="T46" fmla="*/ 2147483647 w 1440"/>
                  <a:gd name="T47" fmla="*/ 2147483647 h 1182"/>
                  <a:gd name="T48" fmla="*/ 2147483647 w 1440"/>
                  <a:gd name="T49" fmla="*/ 2147483647 h 1182"/>
                  <a:gd name="T50" fmla="*/ 2147483647 w 1440"/>
                  <a:gd name="T51" fmla="*/ 2147483647 h 1182"/>
                  <a:gd name="T52" fmla="*/ 2147483647 w 1440"/>
                  <a:gd name="T53" fmla="*/ 2147483647 h 1182"/>
                  <a:gd name="T54" fmla="*/ 2147483647 w 1440"/>
                  <a:gd name="T55" fmla="*/ 2147483647 h 1182"/>
                  <a:gd name="T56" fmla="*/ 2147483647 w 1440"/>
                  <a:gd name="T57" fmla="*/ 2147483647 h 1182"/>
                  <a:gd name="T58" fmla="*/ 2147483647 w 1440"/>
                  <a:gd name="T59" fmla="*/ 2147483647 h 1182"/>
                  <a:gd name="T60" fmla="*/ 2147483647 w 1440"/>
                  <a:gd name="T61" fmla="*/ 0 h 1182"/>
                  <a:gd name="T62" fmla="*/ 2147483647 w 1440"/>
                  <a:gd name="T63" fmla="*/ 2147483647 h 1182"/>
                  <a:gd name="T64" fmla="*/ 2147483647 w 1440"/>
                  <a:gd name="T65" fmla="*/ 2147483647 h 1182"/>
                  <a:gd name="T66" fmla="*/ 2147483647 w 1440"/>
                  <a:gd name="T67" fmla="*/ 2147483647 h 1182"/>
                  <a:gd name="T68" fmla="*/ 2147483647 w 1440"/>
                  <a:gd name="T69" fmla="*/ 2147483647 h 1182"/>
                  <a:gd name="T70" fmla="*/ 2147483647 w 1440"/>
                  <a:gd name="T71" fmla="*/ 2147483647 h 1182"/>
                  <a:gd name="T72" fmla="*/ 2147483647 w 1440"/>
                  <a:gd name="T73" fmla="*/ 2147483647 h 1182"/>
                  <a:gd name="T74" fmla="*/ 2147483647 w 1440"/>
                  <a:gd name="T75" fmla="*/ 2147483647 h 1182"/>
                  <a:gd name="T76" fmla="*/ 2147483647 w 1440"/>
                  <a:gd name="T77" fmla="*/ 2147483647 h 1182"/>
                  <a:gd name="T78" fmla="*/ 2147483647 w 1440"/>
                  <a:gd name="T79" fmla="*/ 2147483647 h 1182"/>
                  <a:gd name="T80" fmla="*/ 2147483647 w 1440"/>
                  <a:gd name="T81" fmla="*/ 2147483647 h 1182"/>
                  <a:gd name="T82" fmla="*/ 2147483647 w 1440"/>
                  <a:gd name="T83" fmla="*/ 2147483647 h 1182"/>
                  <a:gd name="T84" fmla="*/ 2147483647 w 1440"/>
                  <a:gd name="T85" fmla="*/ 2147483647 h 1182"/>
                  <a:gd name="T86" fmla="*/ 2147483647 w 1440"/>
                  <a:gd name="T87" fmla="*/ 2147483647 h 1182"/>
                  <a:gd name="T88" fmla="*/ 2147483647 w 1440"/>
                  <a:gd name="T89" fmla="*/ 2147483647 h 1182"/>
                  <a:gd name="T90" fmla="*/ 2147483647 w 1440"/>
                  <a:gd name="T91" fmla="*/ 2147483647 h 1182"/>
                  <a:gd name="T92" fmla="*/ 2147483647 w 1440"/>
                  <a:gd name="T93" fmla="*/ 2147483647 h 1182"/>
                  <a:gd name="T94" fmla="*/ 2147483647 w 1440"/>
                  <a:gd name="T95" fmla="*/ 2147483647 h 1182"/>
                  <a:gd name="T96" fmla="*/ 2147483647 w 1440"/>
                  <a:gd name="T97" fmla="*/ 2147483647 h 1182"/>
                  <a:gd name="T98" fmla="*/ 2147483647 w 1440"/>
                  <a:gd name="T99" fmla="*/ 2147483647 h 1182"/>
                  <a:gd name="T100" fmla="*/ 2147483647 w 1440"/>
                  <a:gd name="T101" fmla="*/ 2147483647 h 1182"/>
                  <a:gd name="T102" fmla="*/ 2147483647 w 1440"/>
                  <a:gd name="T103" fmla="*/ 2147483647 h 1182"/>
                  <a:gd name="T104" fmla="*/ 2147483647 w 1440"/>
                  <a:gd name="T105" fmla="*/ 2147483647 h 1182"/>
                  <a:gd name="T106" fmla="*/ 2147483647 w 1440"/>
                  <a:gd name="T107" fmla="*/ 2147483647 h 1182"/>
                  <a:gd name="T108" fmla="*/ 2147483647 w 1440"/>
                  <a:gd name="T109" fmla="*/ 2147483647 h 1182"/>
                  <a:gd name="T110" fmla="*/ 2147483647 w 1440"/>
                  <a:gd name="T111" fmla="*/ 2147483647 h 118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440"/>
                  <a:gd name="T169" fmla="*/ 0 h 1182"/>
                  <a:gd name="T170" fmla="*/ 1440 w 1440"/>
                  <a:gd name="T171" fmla="*/ 1182 h 118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440" h="1182">
                    <a:moveTo>
                      <a:pt x="1338" y="1176"/>
                    </a:moveTo>
                    <a:lnTo>
                      <a:pt x="1338" y="1170"/>
                    </a:lnTo>
                    <a:lnTo>
                      <a:pt x="1332" y="1158"/>
                    </a:lnTo>
                    <a:lnTo>
                      <a:pt x="1332" y="1128"/>
                    </a:lnTo>
                    <a:lnTo>
                      <a:pt x="1344" y="1116"/>
                    </a:lnTo>
                    <a:lnTo>
                      <a:pt x="1344" y="1110"/>
                    </a:lnTo>
                    <a:lnTo>
                      <a:pt x="1350" y="1104"/>
                    </a:lnTo>
                    <a:lnTo>
                      <a:pt x="1356" y="1086"/>
                    </a:lnTo>
                    <a:lnTo>
                      <a:pt x="1368" y="1086"/>
                    </a:lnTo>
                    <a:lnTo>
                      <a:pt x="1374" y="1080"/>
                    </a:lnTo>
                    <a:lnTo>
                      <a:pt x="1374" y="1074"/>
                    </a:lnTo>
                    <a:lnTo>
                      <a:pt x="1380" y="1074"/>
                    </a:lnTo>
                    <a:lnTo>
                      <a:pt x="1380" y="1068"/>
                    </a:lnTo>
                    <a:lnTo>
                      <a:pt x="1386" y="1062"/>
                    </a:lnTo>
                    <a:lnTo>
                      <a:pt x="1398" y="1056"/>
                    </a:lnTo>
                    <a:lnTo>
                      <a:pt x="1428" y="1056"/>
                    </a:lnTo>
                    <a:lnTo>
                      <a:pt x="1428" y="1062"/>
                    </a:lnTo>
                    <a:lnTo>
                      <a:pt x="1434" y="1062"/>
                    </a:lnTo>
                    <a:lnTo>
                      <a:pt x="1440" y="1056"/>
                    </a:lnTo>
                    <a:lnTo>
                      <a:pt x="1440" y="1044"/>
                    </a:lnTo>
                    <a:lnTo>
                      <a:pt x="1434" y="1026"/>
                    </a:lnTo>
                    <a:lnTo>
                      <a:pt x="1428" y="1014"/>
                    </a:lnTo>
                    <a:lnTo>
                      <a:pt x="1422" y="1008"/>
                    </a:lnTo>
                    <a:lnTo>
                      <a:pt x="1404" y="1008"/>
                    </a:lnTo>
                    <a:lnTo>
                      <a:pt x="1404" y="996"/>
                    </a:lnTo>
                    <a:lnTo>
                      <a:pt x="1398" y="984"/>
                    </a:lnTo>
                    <a:lnTo>
                      <a:pt x="1398" y="960"/>
                    </a:lnTo>
                    <a:lnTo>
                      <a:pt x="1392" y="960"/>
                    </a:lnTo>
                    <a:lnTo>
                      <a:pt x="1398" y="930"/>
                    </a:lnTo>
                    <a:lnTo>
                      <a:pt x="1374" y="930"/>
                    </a:lnTo>
                    <a:lnTo>
                      <a:pt x="1362" y="912"/>
                    </a:lnTo>
                    <a:lnTo>
                      <a:pt x="1350" y="918"/>
                    </a:lnTo>
                    <a:lnTo>
                      <a:pt x="1332" y="918"/>
                    </a:lnTo>
                    <a:lnTo>
                      <a:pt x="1326" y="912"/>
                    </a:lnTo>
                    <a:lnTo>
                      <a:pt x="1314" y="894"/>
                    </a:lnTo>
                    <a:lnTo>
                      <a:pt x="1308" y="876"/>
                    </a:lnTo>
                    <a:lnTo>
                      <a:pt x="1296" y="864"/>
                    </a:lnTo>
                    <a:lnTo>
                      <a:pt x="1284" y="846"/>
                    </a:lnTo>
                    <a:lnTo>
                      <a:pt x="1278" y="840"/>
                    </a:lnTo>
                    <a:lnTo>
                      <a:pt x="1272" y="828"/>
                    </a:lnTo>
                    <a:lnTo>
                      <a:pt x="1248" y="804"/>
                    </a:lnTo>
                    <a:lnTo>
                      <a:pt x="1242" y="804"/>
                    </a:lnTo>
                    <a:lnTo>
                      <a:pt x="1242" y="792"/>
                    </a:lnTo>
                    <a:lnTo>
                      <a:pt x="1260" y="774"/>
                    </a:lnTo>
                    <a:lnTo>
                      <a:pt x="1266" y="762"/>
                    </a:lnTo>
                    <a:lnTo>
                      <a:pt x="1272" y="756"/>
                    </a:lnTo>
                    <a:lnTo>
                      <a:pt x="1296" y="708"/>
                    </a:lnTo>
                    <a:lnTo>
                      <a:pt x="1284" y="684"/>
                    </a:lnTo>
                    <a:lnTo>
                      <a:pt x="1278" y="678"/>
                    </a:lnTo>
                    <a:lnTo>
                      <a:pt x="1242" y="678"/>
                    </a:lnTo>
                    <a:lnTo>
                      <a:pt x="1230" y="672"/>
                    </a:lnTo>
                    <a:lnTo>
                      <a:pt x="1224" y="672"/>
                    </a:lnTo>
                    <a:lnTo>
                      <a:pt x="1218" y="666"/>
                    </a:lnTo>
                    <a:lnTo>
                      <a:pt x="1218" y="612"/>
                    </a:lnTo>
                    <a:lnTo>
                      <a:pt x="1212" y="606"/>
                    </a:lnTo>
                    <a:lnTo>
                      <a:pt x="1200" y="582"/>
                    </a:lnTo>
                    <a:lnTo>
                      <a:pt x="1188" y="564"/>
                    </a:lnTo>
                    <a:lnTo>
                      <a:pt x="1176" y="540"/>
                    </a:lnTo>
                    <a:lnTo>
                      <a:pt x="1182" y="528"/>
                    </a:lnTo>
                    <a:lnTo>
                      <a:pt x="1200" y="510"/>
                    </a:lnTo>
                    <a:lnTo>
                      <a:pt x="1200" y="504"/>
                    </a:lnTo>
                    <a:lnTo>
                      <a:pt x="1194" y="498"/>
                    </a:lnTo>
                    <a:lnTo>
                      <a:pt x="1170" y="498"/>
                    </a:lnTo>
                    <a:lnTo>
                      <a:pt x="1170" y="468"/>
                    </a:lnTo>
                    <a:lnTo>
                      <a:pt x="1158" y="456"/>
                    </a:lnTo>
                    <a:lnTo>
                      <a:pt x="1158" y="450"/>
                    </a:lnTo>
                    <a:lnTo>
                      <a:pt x="1164" y="444"/>
                    </a:lnTo>
                    <a:lnTo>
                      <a:pt x="1176" y="438"/>
                    </a:lnTo>
                    <a:lnTo>
                      <a:pt x="1182" y="432"/>
                    </a:lnTo>
                    <a:lnTo>
                      <a:pt x="1188" y="432"/>
                    </a:lnTo>
                    <a:lnTo>
                      <a:pt x="1176" y="414"/>
                    </a:lnTo>
                    <a:lnTo>
                      <a:pt x="1200" y="408"/>
                    </a:lnTo>
                    <a:lnTo>
                      <a:pt x="1200" y="402"/>
                    </a:lnTo>
                    <a:lnTo>
                      <a:pt x="1194" y="396"/>
                    </a:lnTo>
                    <a:lnTo>
                      <a:pt x="1194" y="372"/>
                    </a:lnTo>
                    <a:lnTo>
                      <a:pt x="1188" y="360"/>
                    </a:lnTo>
                    <a:lnTo>
                      <a:pt x="1188" y="354"/>
                    </a:lnTo>
                    <a:lnTo>
                      <a:pt x="1194" y="342"/>
                    </a:lnTo>
                    <a:lnTo>
                      <a:pt x="1200" y="336"/>
                    </a:lnTo>
                    <a:lnTo>
                      <a:pt x="1188" y="306"/>
                    </a:lnTo>
                    <a:lnTo>
                      <a:pt x="1194" y="282"/>
                    </a:lnTo>
                    <a:lnTo>
                      <a:pt x="1182" y="282"/>
                    </a:lnTo>
                    <a:lnTo>
                      <a:pt x="1182" y="246"/>
                    </a:lnTo>
                    <a:lnTo>
                      <a:pt x="1116" y="252"/>
                    </a:lnTo>
                    <a:lnTo>
                      <a:pt x="1110" y="246"/>
                    </a:lnTo>
                    <a:lnTo>
                      <a:pt x="1104" y="234"/>
                    </a:lnTo>
                    <a:lnTo>
                      <a:pt x="1092" y="228"/>
                    </a:lnTo>
                    <a:lnTo>
                      <a:pt x="1080" y="216"/>
                    </a:lnTo>
                    <a:lnTo>
                      <a:pt x="1068" y="216"/>
                    </a:lnTo>
                    <a:lnTo>
                      <a:pt x="1062" y="210"/>
                    </a:lnTo>
                    <a:lnTo>
                      <a:pt x="1056" y="210"/>
                    </a:lnTo>
                    <a:lnTo>
                      <a:pt x="1050" y="204"/>
                    </a:lnTo>
                    <a:lnTo>
                      <a:pt x="1044" y="192"/>
                    </a:lnTo>
                    <a:lnTo>
                      <a:pt x="1044" y="186"/>
                    </a:lnTo>
                    <a:lnTo>
                      <a:pt x="1038" y="180"/>
                    </a:lnTo>
                    <a:lnTo>
                      <a:pt x="1032" y="180"/>
                    </a:lnTo>
                    <a:lnTo>
                      <a:pt x="1020" y="174"/>
                    </a:lnTo>
                    <a:lnTo>
                      <a:pt x="1002" y="174"/>
                    </a:lnTo>
                    <a:lnTo>
                      <a:pt x="990" y="168"/>
                    </a:lnTo>
                    <a:lnTo>
                      <a:pt x="972" y="168"/>
                    </a:lnTo>
                    <a:lnTo>
                      <a:pt x="972" y="174"/>
                    </a:lnTo>
                    <a:lnTo>
                      <a:pt x="960" y="168"/>
                    </a:lnTo>
                    <a:lnTo>
                      <a:pt x="954" y="162"/>
                    </a:lnTo>
                    <a:lnTo>
                      <a:pt x="942" y="156"/>
                    </a:lnTo>
                    <a:lnTo>
                      <a:pt x="936" y="150"/>
                    </a:lnTo>
                    <a:lnTo>
                      <a:pt x="906" y="150"/>
                    </a:lnTo>
                    <a:lnTo>
                      <a:pt x="906" y="138"/>
                    </a:lnTo>
                    <a:lnTo>
                      <a:pt x="894" y="126"/>
                    </a:lnTo>
                    <a:lnTo>
                      <a:pt x="834" y="126"/>
                    </a:lnTo>
                    <a:lnTo>
                      <a:pt x="834" y="132"/>
                    </a:lnTo>
                    <a:lnTo>
                      <a:pt x="828" y="138"/>
                    </a:lnTo>
                    <a:lnTo>
                      <a:pt x="816" y="132"/>
                    </a:lnTo>
                    <a:lnTo>
                      <a:pt x="780" y="132"/>
                    </a:lnTo>
                    <a:lnTo>
                      <a:pt x="768" y="138"/>
                    </a:lnTo>
                    <a:lnTo>
                      <a:pt x="750" y="156"/>
                    </a:lnTo>
                    <a:lnTo>
                      <a:pt x="738" y="162"/>
                    </a:lnTo>
                    <a:lnTo>
                      <a:pt x="732" y="168"/>
                    </a:lnTo>
                    <a:lnTo>
                      <a:pt x="732" y="180"/>
                    </a:lnTo>
                    <a:lnTo>
                      <a:pt x="720" y="186"/>
                    </a:lnTo>
                    <a:lnTo>
                      <a:pt x="708" y="198"/>
                    </a:lnTo>
                    <a:lnTo>
                      <a:pt x="678" y="198"/>
                    </a:lnTo>
                    <a:lnTo>
                      <a:pt x="690" y="210"/>
                    </a:lnTo>
                    <a:lnTo>
                      <a:pt x="690" y="222"/>
                    </a:lnTo>
                    <a:lnTo>
                      <a:pt x="696" y="228"/>
                    </a:lnTo>
                    <a:lnTo>
                      <a:pt x="696" y="234"/>
                    </a:lnTo>
                    <a:lnTo>
                      <a:pt x="690" y="240"/>
                    </a:lnTo>
                    <a:lnTo>
                      <a:pt x="678" y="240"/>
                    </a:lnTo>
                    <a:lnTo>
                      <a:pt x="666" y="234"/>
                    </a:lnTo>
                    <a:lnTo>
                      <a:pt x="660" y="228"/>
                    </a:lnTo>
                    <a:lnTo>
                      <a:pt x="654" y="228"/>
                    </a:lnTo>
                    <a:lnTo>
                      <a:pt x="648" y="234"/>
                    </a:lnTo>
                    <a:lnTo>
                      <a:pt x="624" y="234"/>
                    </a:lnTo>
                    <a:lnTo>
                      <a:pt x="612" y="240"/>
                    </a:lnTo>
                    <a:lnTo>
                      <a:pt x="600" y="240"/>
                    </a:lnTo>
                    <a:lnTo>
                      <a:pt x="582" y="246"/>
                    </a:lnTo>
                    <a:lnTo>
                      <a:pt x="558" y="258"/>
                    </a:lnTo>
                    <a:lnTo>
                      <a:pt x="546" y="252"/>
                    </a:lnTo>
                    <a:lnTo>
                      <a:pt x="534" y="252"/>
                    </a:lnTo>
                    <a:lnTo>
                      <a:pt x="522" y="246"/>
                    </a:lnTo>
                    <a:lnTo>
                      <a:pt x="498" y="246"/>
                    </a:lnTo>
                    <a:lnTo>
                      <a:pt x="480" y="240"/>
                    </a:lnTo>
                    <a:lnTo>
                      <a:pt x="468" y="228"/>
                    </a:lnTo>
                    <a:lnTo>
                      <a:pt x="456" y="222"/>
                    </a:lnTo>
                    <a:lnTo>
                      <a:pt x="444" y="210"/>
                    </a:lnTo>
                    <a:lnTo>
                      <a:pt x="438" y="198"/>
                    </a:lnTo>
                    <a:lnTo>
                      <a:pt x="432" y="192"/>
                    </a:lnTo>
                    <a:lnTo>
                      <a:pt x="432" y="186"/>
                    </a:lnTo>
                    <a:lnTo>
                      <a:pt x="378" y="186"/>
                    </a:lnTo>
                    <a:lnTo>
                      <a:pt x="354" y="162"/>
                    </a:lnTo>
                    <a:lnTo>
                      <a:pt x="336" y="126"/>
                    </a:lnTo>
                    <a:lnTo>
                      <a:pt x="330" y="120"/>
                    </a:lnTo>
                    <a:lnTo>
                      <a:pt x="330" y="114"/>
                    </a:lnTo>
                    <a:lnTo>
                      <a:pt x="312" y="114"/>
                    </a:lnTo>
                    <a:lnTo>
                      <a:pt x="312" y="108"/>
                    </a:lnTo>
                    <a:lnTo>
                      <a:pt x="306" y="102"/>
                    </a:lnTo>
                    <a:lnTo>
                      <a:pt x="300" y="102"/>
                    </a:lnTo>
                    <a:lnTo>
                      <a:pt x="294" y="96"/>
                    </a:lnTo>
                    <a:lnTo>
                      <a:pt x="282" y="90"/>
                    </a:lnTo>
                    <a:lnTo>
                      <a:pt x="270" y="78"/>
                    </a:lnTo>
                    <a:lnTo>
                      <a:pt x="270" y="72"/>
                    </a:lnTo>
                    <a:lnTo>
                      <a:pt x="282" y="72"/>
                    </a:lnTo>
                    <a:lnTo>
                      <a:pt x="288" y="66"/>
                    </a:lnTo>
                    <a:lnTo>
                      <a:pt x="288" y="60"/>
                    </a:lnTo>
                    <a:lnTo>
                      <a:pt x="282" y="54"/>
                    </a:lnTo>
                    <a:lnTo>
                      <a:pt x="276" y="54"/>
                    </a:lnTo>
                    <a:lnTo>
                      <a:pt x="276" y="42"/>
                    </a:lnTo>
                    <a:lnTo>
                      <a:pt x="282" y="36"/>
                    </a:lnTo>
                    <a:lnTo>
                      <a:pt x="282" y="18"/>
                    </a:lnTo>
                    <a:lnTo>
                      <a:pt x="276" y="12"/>
                    </a:lnTo>
                    <a:lnTo>
                      <a:pt x="270" y="0"/>
                    </a:lnTo>
                    <a:lnTo>
                      <a:pt x="258" y="0"/>
                    </a:lnTo>
                    <a:lnTo>
                      <a:pt x="246" y="6"/>
                    </a:lnTo>
                    <a:lnTo>
                      <a:pt x="234" y="18"/>
                    </a:lnTo>
                    <a:lnTo>
                      <a:pt x="222" y="24"/>
                    </a:lnTo>
                    <a:lnTo>
                      <a:pt x="204" y="36"/>
                    </a:lnTo>
                    <a:lnTo>
                      <a:pt x="192" y="48"/>
                    </a:lnTo>
                    <a:lnTo>
                      <a:pt x="192" y="54"/>
                    </a:lnTo>
                    <a:lnTo>
                      <a:pt x="186" y="60"/>
                    </a:lnTo>
                    <a:lnTo>
                      <a:pt x="180" y="72"/>
                    </a:lnTo>
                    <a:lnTo>
                      <a:pt x="132" y="72"/>
                    </a:lnTo>
                    <a:lnTo>
                      <a:pt x="96" y="60"/>
                    </a:lnTo>
                    <a:lnTo>
                      <a:pt x="84" y="54"/>
                    </a:lnTo>
                    <a:lnTo>
                      <a:pt x="66" y="36"/>
                    </a:lnTo>
                    <a:lnTo>
                      <a:pt x="54" y="12"/>
                    </a:lnTo>
                    <a:lnTo>
                      <a:pt x="54" y="6"/>
                    </a:lnTo>
                    <a:lnTo>
                      <a:pt x="48" y="0"/>
                    </a:lnTo>
                    <a:lnTo>
                      <a:pt x="42" y="0"/>
                    </a:lnTo>
                    <a:lnTo>
                      <a:pt x="24" y="18"/>
                    </a:lnTo>
                    <a:lnTo>
                      <a:pt x="24" y="30"/>
                    </a:lnTo>
                    <a:lnTo>
                      <a:pt x="0" y="30"/>
                    </a:lnTo>
                    <a:lnTo>
                      <a:pt x="18" y="54"/>
                    </a:lnTo>
                    <a:lnTo>
                      <a:pt x="18" y="84"/>
                    </a:lnTo>
                    <a:lnTo>
                      <a:pt x="30" y="96"/>
                    </a:lnTo>
                    <a:lnTo>
                      <a:pt x="30" y="108"/>
                    </a:lnTo>
                    <a:lnTo>
                      <a:pt x="36" y="114"/>
                    </a:lnTo>
                    <a:lnTo>
                      <a:pt x="42" y="114"/>
                    </a:lnTo>
                    <a:lnTo>
                      <a:pt x="36" y="120"/>
                    </a:lnTo>
                    <a:lnTo>
                      <a:pt x="36" y="126"/>
                    </a:lnTo>
                    <a:lnTo>
                      <a:pt x="30" y="138"/>
                    </a:lnTo>
                    <a:lnTo>
                      <a:pt x="24" y="144"/>
                    </a:lnTo>
                    <a:lnTo>
                      <a:pt x="60" y="162"/>
                    </a:lnTo>
                    <a:lnTo>
                      <a:pt x="60" y="192"/>
                    </a:lnTo>
                    <a:lnTo>
                      <a:pt x="84" y="198"/>
                    </a:lnTo>
                    <a:lnTo>
                      <a:pt x="84" y="210"/>
                    </a:lnTo>
                    <a:lnTo>
                      <a:pt x="96" y="246"/>
                    </a:lnTo>
                    <a:lnTo>
                      <a:pt x="108" y="270"/>
                    </a:lnTo>
                    <a:lnTo>
                      <a:pt x="120" y="282"/>
                    </a:lnTo>
                    <a:lnTo>
                      <a:pt x="120" y="300"/>
                    </a:lnTo>
                    <a:lnTo>
                      <a:pt x="144" y="306"/>
                    </a:lnTo>
                    <a:lnTo>
                      <a:pt x="156" y="324"/>
                    </a:lnTo>
                    <a:lnTo>
                      <a:pt x="162" y="318"/>
                    </a:lnTo>
                    <a:lnTo>
                      <a:pt x="174" y="312"/>
                    </a:lnTo>
                    <a:lnTo>
                      <a:pt x="186" y="312"/>
                    </a:lnTo>
                    <a:lnTo>
                      <a:pt x="186" y="318"/>
                    </a:lnTo>
                    <a:lnTo>
                      <a:pt x="168" y="336"/>
                    </a:lnTo>
                    <a:lnTo>
                      <a:pt x="168" y="342"/>
                    </a:lnTo>
                    <a:lnTo>
                      <a:pt x="180" y="354"/>
                    </a:lnTo>
                    <a:lnTo>
                      <a:pt x="186" y="366"/>
                    </a:lnTo>
                    <a:lnTo>
                      <a:pt x="186" y="372"/>
                    </a:lnTo>
                    <a:lnTo>
                      <a:pt x="174" y="384"/>
                    </a:lnTo>
                    <a:lnTo>
                      <a:pt x="168" y="384"/>
                    </a:lnTo>
                    <a:lnTo>
                      <a:pt x="168" y="414"/>
                    </a:lnTo>
                    <a:lnTo>
                      <a:pt x="156" y="414"/>
                    </a:lnTo>
                    <a:lnTo>
                      <a:pt x="144" y="426"/>
                    </a:lnTo>
                    <a:lnTo>
                      <a:pt x="144" y="432"/>
                    </a:lnTo>
                    <a:lnTo>
                      <a:pt x="156" y="444"/>
                    </a:lnTo>
                    <a:lnTo>
                      <a:pt x="150" y="450"/>
                    </a:lnTo>
                    <a:lnTo>
                      <a:pt x="144" y="462"/>
                    </a:lnTo>
                    <a:lnTo>
                      <a:pt x="144" y="468"/>
                    </a:lnTo>
                    <a:lnTo>
                      <a:pt x="150" y="474"/>
                    </a:lnTo>
                    <a:lnTo>
                      <a:pt x="162" y="480"/>
                    </a:lnTo>
                    <a:lnTo>
                      <a:pt x="174" y="492"/>
                    </a:lnTo>
                    <a:lnTo>
                      <a:pt x="198" y="504"/>
                    </a:lnTo>
                    <a:lnTo>
                      <a:pt x="204" y="510"/>
                    </a:lnTo>
                    <a:lnTo>
                      <a:pt x="210" y="510"/>
                    </a:lnTo>
                    <a:lnTo>
                      <a:pt x="210" y="552"/>
                    </a:lnTo>
                    <a:lnTo>
                      <a:pt x="234" y="552"/>
                    </a:lnTo>
                    <a:lnTo>
                      <a:pt x="240" y="558"/>
                    </a:lnTo>
                    <a:lnTo>
                      <a:pt x="252" y="564"/>
                    </a:lnTo>
                    <a:lnTo>
                      <a:pt x="270" y="582"/>
                    </a:lnTo>
                    <a:lnTo>
                      <a:pt x="288" y="582"/>
                    </a:lnTo>
                    <a:lnTo>
                      <a:pt x="294" y="588"/>
                    </a:lnTo>
                    <a:lnTo>
                      <a:pt x="300" y="600"/>
                    </a:lnTo>
                    <a:lnTo>
                      <a:pt x="330" y="636"/>
                    </a:lnTo>
                    <a:lnTo>
                      <a:pt x="330" y="648"/>
                    </a:lnTo>
                    <a:lnTo>
                      <a:pt x="324" y="660"/>
                    </a:lnTo>
                    <a:lnTo>
                      <a:pt x="324" y="696"/>
                    </a:lnTo>
                    <a:lnTo>
                      <a:pt x="330" y="702"/>
                    </a:lnTo>
                    <a:lnTo>
                      <a:pt x="342" y="708"/>
                    </a:lnTo>
                    <a:lnTo>
                      <a:pt x="348" y="714"/>
                    </a:lnTo>
                    <a:lnTo>
                      <a:pt x="354" y="714"/>
                    </a:lnTo>
                    <a:lnTo>
                      <a:pt x="360" y="744"/>
                    </a:lnTo>
                    <a:lnTo>
                      <a:pt x="372" y="750"/>
                    </a:lnTo>
                    <a:lnTo>
                      <a:pt x="384" y="762"/>
                    </a:lnTo>
                    <a:lnTo>
                      <a:pt x="384" y="768"/>
                    </a:lnTo>
                    <a:lnTo>
                      <a:pt x="390" y="774"/>
                    </a:lnTo>
                    <a:lnTo>
                      <a:pt x="402" y="780"/>
                    </a:lnTo>
                    <a:lnTo>
                      <a:pt x="408" y="786"/>
                    </a:lnTo>
                    <a:lnTo>
                      <a:pt x="420" y="792"/>
                    </a:lnTo>
                    <a:lnTo>
                      <a:pt x="426" y="786"/>
                    </a:lnTo>
                    <a:lnTo>
                      <a:pt x="426" y="774"/>
                    </a:lnTo>
                    <a:lnTo>
                      <a:pt x="420" y="768"/>
                    </a:lnTo>
                    <a:lnTo>
                      <a:pt x="420" y="762"/>
                    </a:lnTo>
                    <a:lnTo>
                      <a:pt x="426" y="756"/>
                    </a:lnTo>
                    <a:lnTo>
                      <a:pt x="438" y="750"/>
                    </a:lnTo>
                    <a:lnTo>
                      <a:pt x="444" y="756"/>
                    </a:lnTo>
                    <a:lnTo>
                      <a:pt x="450" y="756"/>
                    </a:lnTo>
                    <a:lnTo>
                      <a:pt x="450" y="768"/>
                    </a:lnTo>
                    <a:lnTo>
                      <a:pt x="456" y="780"/>
                    </a:lnTo>
                    <a:lnTo>
                      <a:pt x="474" y="780"/>
                    </a:lnTo>
                    <a:lnTo>
                      <a:pt x="474" y="786"/>
                    </a:lnTo>
                    <a:lnTo>
                      <a:pt x="474" y="780"/>
                    </a:lnTo>
                    <a:lnTo>
                      <a:pt x="480" y="780"/>
                    </a:lnTo>
                    <a:lnTo>
                      <a:pt x="480" y="768"/>
                    </a:lnTo>
                    <a:lnTo>
                      <a:pt x="504" y="768"/>
                    </a:lnTo>
                    <a:lnTo>
                      <a:pt x="504" y="804"/>
                    </a:lnTo>
                    <a:lnTo>
                      <a:pt x="510" y="810"/>
                    </a:lnTo>
                    <a:lnTo>
                      <a:pt x="516" y="810"/>
                    </a:lnTo>
                    <a:lnTo>
                      <a:pt x="528" y="816"/>
                    </a:lnTo>
                    <a:lnTo>
                      <a:pt x="540" y="828"/>
                    </a:lnTo>
                    <a:lnTo>
                      <a:pt x="540" y="846"/>
                    </a:lnTo>
                    <a:lnTo>
                      <a:pt x="552" y="858"/>
                    </a:lnTo>
                    <a:lnTo>
                      <a:pt x="558" y="870"/>
                    </a:lnTo>
                    <a:lnTo>
                      <a:pt x="564" y="876"/>
                    </a:lnTo>
                    <a:lnTo>
                      <a:pt x="570" y="876"/>
                    </a:lnTo>
                    <a:lnTo>
                      <a:pt x="582" y="894"/>
                    </a:lnTo>
                    <a:lnTo>
                      <a:pt x="582" y="906"/>
                    </a:lnTo>
                    <a:lnTo>
                      <a:pt x="594" y="930"/>
                    </a:lnTo>
                    <a:lnTo>
                      <a:pt x="600" y="936"/>
                    </a:lnTo>
                    <a:lnTo>
                      <a:pt x="606" y="936"/>
                    </a:lnTo>
                    <a:lnTo>
                      <a:pt x="612" y="942"/>
                    </a:lnTo>
                    <a:lnTo>
                      <a:pt x="618" y="954"/>
                    </a:lnTo>
                    <a:lnTo>
                      <a:pt x="618" y="960"/>
                    </a:lnTo>
                    <a:lnTo>
                      <a:pt x="648" y="960"/>
                    </a:lnTo>
                    <a:lnTo>
                      <a:pt x="666" y="984"/>
                    </a:lnTo>
                    <a:lnTo>
                      <a:pt x="684" y="978"/>
                    </a:lnTo>
                    <a:lnTo>
                      <a:pt x="702" y="978"/>
                    </a:lnTo>
                    <a:lnTo>
                      <a:pt x="720" y="996"/>
                    </a:lnTo>
                    <a:lnTo>
                      <a:pt x="738" y="1008"/>
                    </a:lnTo>
                    <a:lnTo>
                      <a:pt x="756" y="1026"/>
                    </a:lnTo>
                    <a:lnTo>
                      <a:pt x="792" y="1050"/>
                    </a:lnTo>
                    <a:lnTo>
                      <a:pt x="810" y="1050"/>
                    </a:lnTo>
                    <a:lnTo>
                      <a:pt x="822" y="1056"/>
                    </a:lnTo>
                    <a:lnTo>
                      <a:pt x="834" y="1068"/>
                    </a:lnTo>
                    <a:lnTo>
                      <a:pt x="852" y="1068"/>
                    </a:lnTo>
                    <a:lnTo>
                      <a:pt x="876" y="1056"/>
                    </a:lnTo>
                    <a:lnTo>
                      <a:pt x="876" y="1050"/>
                    </a:lnTo>
                    <a:lnTo>
                      <a:pt x="900" y="1056"/>
                    </a:lnTo>
                    <a:lnTo>
                      <a:pt x="912" y="1032"/>
                    </a:lnTo>
                    <a:lnTo>
                      <a:pt x="930" y="1032"/>
                    </a:lnTo>
                    <a:lnTo>
                      <a:pt x="954" y="1008"/>
                    </a:lnTo>
                    <a:lnTo>
                      <a:pt x="966" y="1020"/>
                    </a:lnTo>
                    <a:lnTo>
                      <a:pt x="972" y="1014"/>
                    </a:lnTo>
                    <a:lnTo>
                      <a:pt x="984" y="1014"/>
                    </a:lnTo>
                    <a:lnTo>
                      <a:pt x="1002" y="1032"/>
                    </a:lnTo>
                    <a:lnTo>
                      <a:pt x="1014" y="1050"/>
                    </a:lnTo>
                    <a:lnTo>
                      <a:pt x="1020" y="1068"/>
                    </a:lnTo>
                    <a:lnTo>
                      <a:pt x="1032" y="1080"/>
                    </a:lnTo>
                    <a:lnTo>
                      <a:pt x="1032" y="1098"/>
                    </a:lnTo>
                    <a:lnTo>
                      <a:pt x="1038" y="1110"/>
                    </a:lnTo>
                    <a:lnTo>
                      <a:pt x="1044" y="1116"/>
                    </a:lnTo>
                    <a:lnTo>
                      <a:pt x="1056" y="1122"/>
                    </a:lnTo>
                    <a:lnTo>
                      <a:pt x="1080" y="1122"/>
                    </a:lnTo>
                    <a:lnTo>
                      <a:pt x="1080" y="1128"/>
                    </a:lnTo>
                    <a:lnTo>
                      <a:pt x="1086" y="1134"/>
                    </a:lnTo>
                    <a:lnTo>
                      <a:pt x="1098" y="1140"/>
                    </a:lnTo>
                    <a:lnTo>
                      <a:pt x="1164" y="1140"/>
                    </a:lnTo>
                    <a:lnTo>
                      <a:pt x="1176" y="1146"/>
                    </a:lnTo>
                    <a:lnTo>
                      <a:pt x="1200" y="1170"/>
                    </a:lnTo>
                    <a:lnTo>
                      <a:pt x="1212" y="1170"/>
                    </a:lnTo>
                    <a:lnTo>
                      <a:pt x="1224" y="1164"/>
                    </a:lnTo>
                    <a:lnTo>
                      <a:pt x="1230" y="1164"/>
                    </a:lnTo>
                    <a:lnTo>
                      <a:pt x="1242" y="1158"/>
                    </a:lnTo>
                    <a:lnTo>
                      <a:pt x="1248" y="1158"/>
                    </a:lnTo>
                    <a:lnTo>
                      <a:pt x="1254" y="1164"/>
                    </a:lnTo>
                    <a:lnTo>
                      <a:pt x="1278" y="1176"/>
                    </a:lnTo>
                    <a:lnTo>
                      <a:pt x="1296" y="1182"/>
                    </a:lnTo>
                    <a:lnTo>
                      <a:pt x="1326" y="1182"/>
                    </a:lnTo>
                    <a:lnTo>
                      <a:pt x="1338" y="1176"/>
                    </a:lnTo>
                    <a:close/>
                  </a:path>
                </a:pathLst>
              </a:custGeom>
              <a:solidFill>
                <a:srgbClr val="9D90A0">
                  <a:lumMod val="40000"/>
                  <a:lumOff val="60000"/>
                </a:srgbClr>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170" name="Sri Lanka" descr="© INSCALE GmbH, 05.05.2010&#10;http://www.presentationload.com/">
                <a:extLst>
                  <a:ext uri="{FF2B5EF4-FFF2-40B4-BE49-F238E27FC236}">
                    <a16:creationId xmlns:a16="http://schemas.microsoft.com/office/drawing/2014/main" id="{3EF98DDE-1804-4A1E-99FE-1D0C13D6C7EA}"/>
                  </a:ext>
                </a:extLst>
              </p:cNvPr>
              <p:cNvSpPr>
                <a:spLocks/>
              </p:cNvSpPr>
              <p:nvPr/>
            </p:nvSpPr>
            <p:spPr bwMode="gray">
              <a:xfrm>
                <a:off x="6451615" y="4212693"/>
                <a:ext cx="67076" cy="135151"/>
              </a:xfrm>
              <a:custGeom>
                <a:avLst/>
                <a:gdLst>
                  <a:gd name="T0" fmla="*/ 2147483647 w 174"/>
                  <a:gd name="T1" fmla="*/ 2147483647 h 306"/>
                  <a:gd name="T2" fmla="*/ 2147483647 w 174"/>
                  <a:gd name="T3" fmla="*/ 0 h 306"/>
                  <a:gd name="T4" fmla="*/ 2147483647 w 174"/>
                  <a:gd name="T5" fmla="*/ 0 h 306"/>
                  <a:gd name="T6" fmla="*/ 2147483647 w 174"/>
                  <a:gd name="T7" fmla="*/ 2147483647 h 306"/>
                  <a:gd name="T8" fmla="*/ 2147483647 w 174"/>
                  <a:gd name="T9" fmla="*/ 2147483647 h 306"/>
                  <a:gd name="T10" fmla="*/ 2147483647 w 174"/>
                  <a:gd name="T11" fmla="*/ 2147483647 h 306"/>
                  <a:gd name="T12" fmla="*/ 2147483647 w 174"/>
                  <a:gd name="T13" fmla="*/ 2147483647 h 306"/>
                  <a:gd name="T14" fmla="*/ 2147483647 w 174"/>
                  <a:gd name="T15" fmla="*/ 2147483647 h 306"/>
                  <a:gd name="T16" fmla="*/ 2147483647 w 174"/>
                  <a:gd name="T17" fmla="*/ 2147483647 h 306"/>
                  <a:gd name="T18" fmla="*/ 2147483647 w 174"/>
                  <a:gd name="T19" fmla="*/ 2147483647 h 306"/>
                  <a:gd name="T20" fmla="*/ 2147483647 w 174"/>
                  <a:gd name="T21" fmla="*/ 2147483647 h 306"/>
                  <a:gd name="T22" fmla="*/ 2147483647 w 174"/>
                  <a:gd name="T23" fmla="*/ 2147483647 h 306"/>
                  <a:gd name="T24" fmla="*/ 2147483647 w 174"/>
                  <a:gd name="T25" fmla="*/ 2147483647 h 306"/>
                  <a:gd name="T26" fmla="*/ 2147483647 w 174"/>
                  <a:gd name="T27" fmla="*/ 2147483647 h 306"/>
                  <a:gd name="T28" fmla="*/ 2147483647 w 174"/>
                  <a:gd name="T29" fmla="*/ 2147483647 h 306"/>
                  <a:gd name="T30" fmla="*/ 2147483647 w 174"/>
                  <a:gd name="T31" fmla="*/ 2147483647 h 306"/>
                  <a:gd name="T32" fmla="*/ 2147483647 w 174"/>
                  <a:gd name="T33" fmla="*/ 2147483647 h 306"/>
                  <a:gd name="T34" fmla="*/ 2147483647 w 174"/>
                  <a:gd name="T35" fmla="*/ 2147483647 h 306"/>
                  <a:gd name="T36" fmla="*/ 2147483647 w 174"/>
                  <a:gd name="T37" fmla="*/ 2147483647 h 306"/>
                  <a:gd name="T38" fmla="*/ 2147483647 w 174"/>
                  <a:gd name="T39" fmla="*/ 2147483647 h 306"/>
                  <a:gd name="T40" fmla="*/ 0 w 174"/>
                  <a:gd name="T41" fmla="*/ 2147483647 h 306"/>
                  <a:gd name="T42" fmla="*/ 0 w 174"/>
                  <a:gd name="T43" fmla="*/ 2147483647 h 306"/>
                  <a:gd name="T44" fmla="*/ 2147483647 w 174"/>
                  <a:gd name="T45" fmla="*/ 2147483647 h 306"/>
                  <a:gd name="T46" fmla="*/ 2147483647 w 174"/>
                  <a:gd name="T47" fmla="*/ 2147483647 h 306"/>
                  <a:gd name="T48" fmla="*/ 2147483647 w 174"/>
                  <a:gd name="T49" fmla="*/ 2147483647 h 306"/>
                  <a:gd name="T50" fmla="*/ 2147483647 w 174"/>
                  <a:gd name="T51" fmla="*/ 2147483647 h 306"/>
                  <a:gd name="T52" fmla="*/ 2147483647 w 174"/>
                  <a:gd name="T53" fmla="*/ 2147483647 h 306"/>
                  <a:gd name="T54" fmla="*/ 0 w 174"/>
                  <a:gd name="T55" fmla="*/ 2147483647 h 306"/>
                  <a:gd name="T56" fmla="*/ 2147483647 w 174"/>
                  <a:gd name="T57" fmla="*/ 2147483647 h 306"/>
                  <a:gd name="T58" fmla="*/ 2147483647 w 174"/>
                  <a:gd name="T59" fmla="*/ 2147483647 h 30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74"/>
                  <a:gd name="T91" fmla="*/ 0 h 306"/>
                  <a:gd name="T92" fmla="*/ 174 w 174"/>
                  <a:gd name="T93" fmla="*/ 306 h 30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74" h="306">
                    <a:moveTo>
                      <a:pt x="24" y="6"/>
                    </a:moveTo>
                    <a:lnTo>
                      <a:pt x="36" y="0"/>
                    </a:lnTo>
                    <a:lnTo>
                      <a:pt x="48" y="0"/>
                    </a:lnTo>
                    <a:lnTo>
                      <a:pt x="66" y="6"/>
                    </a:lnTo>
                    <a:lnTo>
                      <a:pt x="78" y="12"/>
                    </a:lnTo>
                    <a:lnTo>
                      <a:pt x="114" y="66"/>
                    </a:lnTo>
                    <a:lnTo>
                      <a:pt x="132" y="84"/>
                    </a:lnTo>
                    <a:lnTo>
                      <a:pt x="126" y="120"/>
                    </a:lnTo>
                    <a:lnTo>
                      <a:pt x="150" y="114"/>
                    </a:lnTo>
                    <a:lnTo>
                      <a:pt x="156" y="168"/>
                    </a:lnTo>
                    <a:lnTo>
                      <a:pt x="162" y="174"/>
                    </a:lnTo>
                    <a:lnTo>
                      <a:pt x="168" y="198"/>
                    </a:lnTo>
                    <a:lnTo>
                      <a:pt x="174" y="228"/>
                    </a:lnTo>
                    <a:lnTo>
                      <a:pt x="174" y="258"/>
                    </a:lnTo>
                    <a:lnTo>
                      <a:pt x="156" y="276"/>
                    </a:lnTo>
                    <a:lnTo>
                      <a:pt x="120" y="294"/>
                    </a:lnTo>
                    <a:lnTo>
                      <a:pt x="84" y="306"/>
                    </a:lnTo>
                    <a:lnTo>
                      <a:pt x="48" y="306"/>
                    </a:lnTo>
                    <a:lnTo>
                      <a:pt x="24" y="282"/>
                    </a:lnTo>
                    <a:lnTo>
                      <a:pt x="12" y="240"/>
                    </a:lnTo>
                    <a:lnTo>
                      <a:pt x="0" y="192"/>
                    </a:lnTo>
                    <a:lnTo>
                      <a:pt x="0" y="156"/>
                    </a:lnTo>
                    <a:lnTo>
                      <a:pt x="12" y="138"/>
                    </a:lnTo>
                    <a:lnTo>
                      <a:pt x="18" y="132"/>
                    </a:lnTo>
                    <a:lnTo>
                      <a:pt x="24" y="120"/>
                    </a:lnTo>
                    <a:lnTo>
                      <a:pt x="30" y="102"/>
                    </a:lnTo>
                    <a:lnTo>
                      <a:pt x="30" y="78"/>
                    </a:lnTo>
                    <a:lnTo>
                      <a:pt x="0" y="36"/>
                    </a:lnTo>
                    <a:lnTo>
                      <a:pt x="24" y="36"/>
                    </a:lnTo>
                    <a:lnTo>
                      <a:pt x="24" y="6"/>
                    </a:lnTo>
                    <a:close/>
                  </a:path>
                </a:pathLst>
              </a:custGeom>
              <a:solidFill>
                <a:srgbClr val="9D90A0">
                  <a:lumMod val="40000"/>
                  <a:lumOff val="60000"/>
                </a:srgbClr>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171" name="Philippines" descr="© INSCALE GmbH, 05.05.2010&#10;http://www.presentationload.com/">
                <a:extLst>
                  <a:ext uri="{FF2B5EF4-FFF2-40B4-BE49-F238E27FC236}">
                    <a16:creationId xmlns:a16="http://schemas.microsoft.com/office/drawing/2014/main" id="{A83BF225-1676-4370-9E6A-480FE01A1644}"/>
                  </a:ext>
                </a:extLst>
              </p:cNvPr>
              <p:cNvSpPr>
                <a:spLocks noEditPoints="1"/>
              </p:cNvSpPr>
              <p:nvPr/>
            </p:nvSpPr>
            <p:spPr bwMode="gray">
              <a:xfrm>
                <a:off x="7504555" y="3890411"/>
                <a:ext cx="282344" cy="526741"/>
              </a:xfrm>
              <a:custGeom>
                <a:avLst/>
                <a:gdLst>
                  <a:gd name="T0" fmla="*/ 2147483647 w 714"/>
                  <a:gd name="T1" fmla="*/ 2147483647 h 1200"/>
                  <a:gd name="T2" fmla="*/ 2147483647 w 714"/>
                  <a:gd name="T3" fmla="*/ 2147483647 h 1200"/>
                  <a:gd name="T4" fmla="*/ 2147483647 w 714"/>
                  <a:gd name="T5" fmla="*/ 2147483647 h 1200"/>
                  <a:gd name="T6" fmla="*/ 2147483647 w 714"/>
                  <a:gd name="T7" fmla="*/ 2147483647 h 1200"/>
                  <a:gd name="T8" fmla="*/ 2147483647 w 714"/>
                  <a:gd name="T9" fmla="*/ 2147483647 h 1200"/>
                  <a:gd name="T10" fmla="*/ 2147483647 w 714"/>
                  <a:gd name="T11" fmla="*/ 2147483647 h 1200"/>
                  <a:gd name="T12" fmla="*/ 2147483647 w 714"/>
                  <a:gd name="T13" fmla="*/ 2147483647 h 1200"/>
                  <a:gd name="T14" fmla="*/ 2147483647 w 714"/>
                  <a:gd name="T15" fmla="*/ 2147483647 h 1200"/>
                  <a:gd name="T16" fmla="*/ 2147483647 w 714"/>
                  <a:gd name="T17" fmla="*/ 2147483647 h 1200"/>
                  <a:gd name="T18" fmla="*/ 2147483647 w 714"/>
                  <a:gd name="T19" fmla="*/ 2147483647 h 1200"/>
                  <a:gd name="T20" fmla="*/ 2147483647 w 714"/>
                  <a:gd name="T21" fmla="*/ 2147483647 h 1200"/>
                  <a:gd name="T22" fmla="*/ 2147483647 w 714"/>
                  <a:gd name="T23" fmla="*/ 2147483647 h 1200"/>
                  <a:gd name="T24" fmla="*/ 2147483647 w 714"/>
                  <a:gd name="T25" fmla="*/ 2147483647 h 1200"/>
                  <a:gd name="T26" fmla="*/ 2147483647 w 714"/>
                  <a:gd name="T27" fmla="*/ 2147483647 h 1200"/>
                  <a:gd name="T28" fmla="*/ 2147483647 w 714"/>
                  <a:gd name="T29" fmla="*/ 2147483647 h 1200"/>
                  <a:gd name="T30" fmla="*/ 2147483647 w 714"/>
                  <a:gd name="T31" fmla="*/ 2147483647 h 1200"/>
                  <a:gd name="T32" fmla="*/ 2147483647 w 714"/>
                  <a:gd name="T33" fmla="*/ 2147483647 h 1200"/>
                  <a:gd name="T34" fmla="*/ 2147483647 w 714"/>
                  <a:gd name="T35" fmla="*/ 2147483647 h 1200"/>
                  <a:gd name="T36" fmla="*/ 2147483647 w 714"/>
                  <a:gd name="T37" fmla="*/ 2147483647 h 1200"/>
                  <a:gd name="T38" fmla="*/ 2147483647 w 714"/>
                  <a:gd name="T39" fmla="*/ 2147483647 h 1200"/>
                  <a:gd name="T40" fmla="*/ 2147483647 w 714"/>
                  <a:gd name="T41" fmla="*/ 2147483647 h 1200"/>
                  <a:gd name="T42" fmla="*/ 2147483647 w 714"/>
                  <a:gd name="T43" fmla="*/ 2147483647 h 1200"/>
                  <a:gd name="T44" fmla="*/ 2147483647 w 714"/>
                  <a:gd name="T45" fmla="*/ 2147483647 h 1200"/>
                  <a:gd name="T46" fmla="*/ 2147483647 w 714"/>
                  <a:gd name="T47" fmla="*/ 2147483647 h 1200"/>
                  <a:gd name="T48" fmla="*/ 2147483647 w 714"/>
                  <a:gd name="T49" fmla="*/ 2147483647 h 1200"/>
                  <a:gd name="T50" fmla="*/ 2147483647 w 714"/>
                  <a:gd name="T51" fmla="*/ 2147483647 h 1200"/>
                  <a:gd name="T52" fmla="*/ 2147483647 w 714"/>
                  <a:gd name="T53" fmla="*/ 2147483647 h 1200"/>
                  <a:gd name="T54" fmla="*/ 2147483647 w 714"/>
                  <a:gd name="T55" fmla="*/ 2147483647 h 1200"/>
                  <a:gd name="T56" fmla="*/ 2147483647 w 714"/>
                  <a:gd name="T57" fmla="*/ 2147483647 h 1200"/>
                  <a:gd name="T58" fmla="*/ 2147483647 w 714"/>
                  <a:gd name="T59" fmla="*/ 2147483647 h 1200"/>
                  <a:gd name="T60" fmla="*/ 2147483647 w 714"/>
                  <a:gd name="T61" fmla="*/ 2147483647 h 1200"/>
                  <a:gd name="T62" fmla="*/ 2147483647 w 714"/>
                  <a:gd name="T63" fmla="*/ 2147483647 h 1200"/>
                  <a:gd name="T64" fmla="*/ 2147483647 w 714"/>
                  <a:gd name="T65" fmla="*/ 2147483647 h 1200"/>
                  <a:gd name="T66" fmla="*/ 2147483647 w 714"/>
                  <a:gd name="T67" fmla="*/ 2147483647 h 1200"/>
                  <a:gd name="T68" fmla="*/ 2147483647 w 714"/>
                  <a:gd name="T69" fmla="*/ 2147483647 h 1200"/>
                  <a:gd name="T70" fmla="*/ 2147483647 w 714"/>
                  <a:gd name="T71" fmla="*/ 2147483647 h 1200"/>
                  <a:gd name="T72" fmla="*/ 2147483647 w 714"/>
                  <a:gd name="T73" fmla="*/ 2147483647 h 1200"/>
                  <a:gd name="T74" fmla="*/ 2147483647 w 714"/>
                  <a:gd name="T75" fmla="*/ 2147483647 h 1200"/>
                  <a:gd name="T76" fmla="*/ 2147483647 w 714"/>
                  <a:gd name="T77" fmla="*/ 2147483647 h 1200"/>
                  <a:gd name="T78" fmla="*/ 2147483647 w 714"/>
                  <a:gd name="T79" fmla="*/ 0 h 1200"/>
                  <a:gd name="T80" fmla="*/ 2147483647 w 714"/>
                  <a:gd name="T81" fmla="*/ 2147483647 h 1200"/>
                  <a:gd name="T82" fmla="*/ 2147483647 w 714"/>
                  <a:gd name="T83" fmla="*/ 2147483647 h 1200"/>
                  <a:gd name="T84" fmla="*/ 2147483647 w 714"/>
                  <a:gd name="T85" fmla="*/ 2147483647 h 1200"/>
                  <a:gd name="T86" fmla="*/ 2147483647 w 714"/>
                  <a:gd name="T87" fmla="*/ 2147483647 h 1200"/>
                  <a:gd name="T88" fmla="*/ 2147483647 w 714"/>
                  <a:gd name="T89" fmla="*/ 2147483647 h 1200"/>
                  <a:gd name="T90" fmla="*/ 2147483647 w 714"/>
                  <a:gd name="T91" fmla="*/ 2147483647 h 1200"/>
                  <a:gd name="T92" fmla="*/ 2147483647 w 714"/>
                  <a:gd name="T93" fmla="*/ 2147483647 h 1200"/>
                  <a:gd name="T94" fmla="*/ 2147483647 w 714"/>
                  <a:gd name="T95" fmla="*/ 2147483647 h 1200"/>
                  <a:gd name="T96" fmla="*/ 2147483647 w 714"/>
                  <a:gd name="T97" fmla="*/ 2147483647 h 1200"/>
                  <a:gd name="T98" fmla="*/ 2147483647 w 714"/>
                  <a:gd name="T99" fmla="*/ 2147483647 h 1200"/>
                  <a:gd name="T100" fmla="*/ 2147483647 w 714"/>
                  <a:gd name="T101" fmla="*/ 2147483647 h 1200"/>
                  <a:gd name="T102" fmla="*/ 2147483647 w 714"/>
                  <a:gd name="T103" fmla="*/ 2147483647 h 1200"/>
                  <a:gd name="T104" fmla="*/ 2147483647 w 714"/>
                  <a:gd name="T105" fmla="*/ 2147483647 h 1200"/>
                  <a:gd name="T106" fmla="*/ 2147483647 w 714"/>
                  <a:gd name="T107" fmla="*/ 2147483647 h 1200"/>
                  <a:gd name="T108" fmla="*/ 2147483647 w 714"/>
                  <a:gd name="T109" fmla="*/ 2147483647 h 1200"/>
                  <a:gd name="T110" fmla="*/ 2147483647 w 714"/>
                  <a:gd name="T111" fmla="*/ 2147483647 h 1200"/>
                  <a:gd name="T112" fmla="*/ 2147483647 w 714"/>
                  <a:gd name="T113" fmla="*/ 2147483647 h 1200"/>
                  <a:gd name="T114" fmla="*/ 2147483647 w 714"/>
                  <a:gd name="T115" fmla="*/ 2147483647 h 1200"/>
                  <a:gd name="T116" fmla="*/ 2147483647 w 714"/>
                  <a:gd name="T117" fmla="*/ 2147483647 h 120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714"/>
                  <a:gd name="T178" fmla="*/ 0 h 1200"/>
                  <a:gd name="T179" fmla="*/ 714 w 714"/>
                  <a:gd name="T180" fmla="*/ 1200 h 120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714" h="1200">
                    <a:moveTo>
                      <a:pt x="702" y="1140"/>
                    </a:moveTo>
                    <a:lnTo>
                      <a:pt x="690" y="1170"/>
                    </a:lnTo>
                    <a:lnTo>
                      <a:pt x="696" y="1200"/>
                    </a:lnTo>
                    <a:lnTo>
                      <a:pt x="714" y="1182"/>
                    </a:lnTo>
                    <a:lnTo>
                      <a:pt x="714" y="1140"/>
                    </a:lnTo>
                    <a:lnTo>
                      <a:pt x="702" y="1140"/>
                    </a:lnTo>
                    <a:close/>
                    <a:moveTo>
                      <a:pt x="582" y="1176"/>
                    </a:moveTo>
                    <a:lnTo>
                      <a:pt x="600" y="1140"/>
                    </a:lnTo>
                    <a:lnTo>
                      <a:pt x="576" y="1134"/>
                    </a:lnTo>
                    <a:lnTo>
                      <a:pt x="582" y="1176"/>
                    </a:lnTo>
                    <a:close/>
                    <a:moveTo>
                      <a:pt x="246" y="1038"/>
                    </a:moveTo>
                    <a:lnTo>
                      <a:pt x="264" y="1050"/>
                    </a:lnTo>
                    <a:lnTo>
                      <a:pt x="282" y="1020"/>
                    </a:lnTo>
                    <a:lnTo>
                      <a:pt x="258" y="1008"/>
                    </a:lnTo>
                    <a:lnTo>
                      <a:pt x="246" y="1038"/>
                    </a:lnTo>
                    <a:close/>
                    <a:moveTo>
                      <a:pt x="504" y="558"/>
                    </a:moveTo>
                    <a:lnTo>
                      <a:pt x="540" y="576"/>
                    </a:lnTo>
                    <a:lnTo>
                      <a:pt x="540" y="582"/>
                    </a:lnTo>
                    <a:lnTo>
                      <a:pt x="534" y="588"/>
                    </a:lnTo>
                    <a:lnTo>
                      <a:pt x="504" y="588"/>
                    </a:lnTo>
                    <a:lnTo>
                      <a:pt x="570" y="642"/>
                    </a:lnTo>
                    <a:lnTo>
                      <a:pt x="570" y="618"/>
                    </a:lnTo>
                    <a:lnTo>
                      <a:pt x="600" y="624"/>
                    </a:lnTo>
                    <a:lnTo>
                      <a:pt x="576" y="588"/>
                    </a:lnTo>
                    <a:lnTo>
                      <a:pt x="576" y="582"/>
                    </a:lnTo>
                    <a:lnTo>
                      <a:pt x="570" y="576"/>
                    </a:lnTo>
                    <a:lnTo>
                      <a:pt x="570" y="558"/>
                    </a:lnTo>
                    <a:lnTo>
                      <a:pt x="564" y="546"/>
                    </a:lnTo>
                    <a:lnTo>
                      <a:pt x="534" y="516"/>
                    </a:lnTo>
                    <a:lnTo>
                      <a:pt x="522" y="510"/>
                    </a:lnTo>
                    <a:lnTo>
                      <a:pt x="504" y="504"/>
                    </a:lnTo>
                    <a:lnTo>
                      <a:pt x="492" y="498"/>
                    </a:lnTo>
                    <a:lnTo>
                      <a:pt x="474" y="498"/>
                    </a:lnTo>
                    <a:lnTo>
                      <a:pt x="468" y="504"/>
                    </a:lnTo>
                    <a:lnTo>
                      <a:pt x="468" y="528"/>
                    </a:lnTo>
                    <a:lnTo>
                      <a:pt x="492" y="552"/>
                    </a:lnTo>
                    <a:lnTo>
                      <a:pt x="504" y="558"/>
                    </a:lnTo>
                    <a:close/>
                    <a:moveTo>
                      <a:pt x="462" y="666"/>
                    </a:moveTo>
                    <a:lnTo>
                      <a:pt x="474" y="750"/>
                    </a:lnTo>
                    <a:lnTo>
                      <a:pt x="486" y="672"/>
                    </a:lnTo>
                    <a:lnTo>
                      <a:pt x="462" y="618"/>
                    </a:lnTo>
                    <a:lnTo>
                      <a:pt x="438" y="618"/>
                    </a:lnTo>
                    <a:lnTo>
                      <a:pt x="462" y="666"/>
                    </a:lnTo>
                    <a:close/>
                    <a:moveTo>
                      <a:pt x="492" y="738"/>
                    </a:moveTo>
                    <a:lnTo>
                      <a:pt x="522" y="738"/>
                    </a:lnTo>
                    <a:lnTo>
                      <a:pt x="528" y="708"/>
                    </a:lnTo>
                    <a:lnTo>
                      <a:pt x="498" y="702"/>
                    </a:lnTo>
                    <a:lnTo>
                      <a:pt x="492" y="738"/>
                    </a:lnTo>
                    <a:close/>
                    <a:moveTo>
                      <a:pt x="570" y="660"/>
                    </a:moveTo>
                    <a:lnTo>
                      <a:pt x="546" y="648"/>
                    </a:lnTo>
                    <a:lnTo>
                      <a:pt x="528" y="630"/>
                    </a:lnTo>
                    <a:lnTo>
                      <a:pt x="528" y="624"/>
                    </a:lnTo>
                    <a:lnTo>
                      <a:pt x="522" y="618"/>
                    </a:lnTo>
                    <a:lnTo>
                      <a:pt x="486" y="618"/>
                    </a:lnTo>
                    <a:lnTo>
                      <a:pt x="492" y="660"/>
                    </a:lnTo>
                    <a:lnTo>
                      <a:pt x="510" y="654"/>
                    </a:lnTo>
                    <a:lnTo>
                      <a:pt x="522" y="678"/>
                    </a:lnTo>
                    <a:lnTo>
                      <a:pt x="570" y="714"/>
                    </a:lnTo>
                    <a:lnTo>
                      <a:pt x="570" y="660"/>
                    </a:lnTo>
                    <a:close/>
                    <a:moveTo>
                      <a:pt x="162" y="600"/>
                    </a:moveTo>
                    <a:lnTo>
                      <a:pt x="144" y="582"/>
                    </a:lnTo>
                    <a:lnTo>
                      <a:pt x="138" y="606"/>
                    </a:lnTo>
                    <a:lnTo>
                      <a:pt x="132" y="618"/>
                    </a:lnTo>
                    <a:lnTo>
                      <a:pt x="126" y="624"/>
                    </a:lnTo>
                    <a:lnTo>
                      <a:pt x="120" y="642"/>
                    </a:lnTo>
                    <a:lnTo>
                      <a:pt x="120" y="654"/>
                    </a:lnTo>
                    <a:lnTo>
                      <a:pt x="126" y="660"/>
                    </a:lnTo>
                    <a:lnTo>
                      <a:pt x="138" y="666"/>
                    </a:lnTo>
                    <a:lnTo>
                      <a:pt x="150" y="678"/>
                    </a:lnTo>
                    <a:lnTo>
                      <a:pt x="144" y="684"/>
                    </a:lnTo>
                    <a:lnTo>
                      <a:pt x="120" y="696"/>
                    </a:lnTo>
                    <a:lnTo>
                      <a:pt x="114" y="702"/>
                    </a:lnTo>
                    <a:lnTo>
                      <a:pt x="102" y="708"/>
                    </a:lnTo>
                    <a:lnTo>
                      <a:pt x="96" y="732"/>
                    </a:lnTo>
                    <a:lnTo>
                      <a:pt x="72" y="750"/>
                    </a:lnTo>
                    <a:lnTo>
                      <a:pt x="72" y="762"/>
                    </a:lnTo>
                    <a:lnTo>
                      <a:pt x="60" y="774"/>
                    </a:lnTo>
                    <a:lnTo>
                      <a:pt x="48" y="780"/>
                    </a:lnTo>
                    <a:lnTo>
                      <a:pt x="42" y="786"/>
                    </a:lnTo>
                    <a:lnTo>
                      <a:pt x="30" y="792"/>
                    </a:lnTo>
                    <a:lnTo>
                      <a:pt x="24" y="798"/>
                    </a:lnTo>
                    <a:lnTo>
                      <a:pt x="18" y="798"/>
                    </a:lnTo>
                    <a:lnTo>
                      <a:pt x="18" y="804"/>
                    </a:lnTo>
                    <a:lnTo>
                      <a:pt x="12" y="810"/>
                    </a:lnTo>
                    <a:lnTo>
                      <a:pt x="0" y="834"/>
                    </a:lnTo>
                    <a:lnTo>
                      <a:pt x="0" y="864"/>
                    </a:lnTo>
                    <a:lnTo>
                      <a:pt x="30" y="834"/>
                    </a:lnTo>
                    <a:lnTo>
                      <a:pt x="30" y="816"/>
                    </a:lnTo>
                    <a:lnTo>
                      <a:pt x="36" y="810"/>
                    </a:lnTo>
                    <a:lnTo>
                      <a:pt x="42" y="810"/>
                    </a:lnTo>
                    <a:lnTo>
                      <a:pt x="78" y="798"/>
                    </a:lnTo>
                    <a:lnTo>
                      <a:pt x="84" y="792"/>
                    </a:lnTo>
                    <a:lnTo>
                      <a:pt x="84" y="762"/>
                    </a:lnTo>
                    <a:lnTo>
                      <a:pt x="90" y="750"/>
                    </a:lnTo>
                    <a:lnTo>
                      <a:pt x="96" y="744"/>
                    </a:lnTo>
                    <a:lnTo>
                      <a:pt x="114" y="738"/>
                    </a:lnTo>
                    <a:lnTo>
                      <a:pt x="126" y="732"/>
                    </a:lnTo>
                    <a:lnTo>
                      <a:pt x="144" y="720"/>
                    </a:lnTo>
                    <a:lnTo>
                      <a:pt x="162" y="714"/>
                    </a:lnTo>
                    <a:lnTo>
                      <a:pt x="168" y="702"/>
                    </a:lnTo>
                    <a:lnTo>
                      <a:pt x="174" y="696"/>
                    </a:lnTo>
                    <a:lnTo>
                      <a:pt x="174" y="684"/>
                    </a:lnTo>
                    <a:lnTo>
                      <a:pt x="156" y="648"/>
                    </a:lnTo>
                    <a:lnTo>
                      <a:pt x="156" y="624"/>
                    </a:lnTo>
                    <a:lnTo>
                      <a:pt x="162" y="612"/>
                    </a:lnTo>
                    <a:lnTo>
                      <a:pt x="162" y="600"/>
                    </a:lnTo>
                    <a:close/>
                    <a:moveTo>
                      <a:pt x="330" y="1026"/>
                    </a:moveTo>
                    <a:lnTo>
                      <a:pt x="372" y="1056"/>
                    </a:lnTo>
                    <a:lnTo>
                      <a:pt x="372" y="1020"/>
                    </a:lnTo>
                    <a:lnTo>
                      <a:pt x="348" y="1002"/>
                    </a:lnTo>
                    <a:lnTo>
                      <a:pt x="330" y="1026"/>
                    </a:lnTo>
                    <a:close/>
                    <a:moveTo>
                      <a:pt x="660" y="840"/>
                    </a:moveTo>
                    <a:lnTo>
                      <a:pt x="660" y="816"/>
                    </a:lnTo>
                    <a:lnTo>
                      <a:pt x="654" y="804"/>
                    </a:lnTo>
                    <a:lnTo>
                      <a:pt x="654" y="792"/>
                    </a:lnTo>
                    <a:lnTo>
                      <a:pt x="642" y="780"/>
                    </a:lnTo>
                    <a:lnTo>
                      <a:pt x="630" y="774"/>
                    </a:lnTo>
                    <a:lnTo>
                      <a:pt x="600" y="744"/>
                    </a:lnTo>
                    <a:lnTo>
                      <a:pt x="588" y="738"/>
                    </a:lnTo>
                    <a:lnTo>
                      <a:pt x="582" y="738"/>
                    </a:lnTo>
                    <a:lnTo>
                      <a:pt x="576" y="744"/>
                    </a:lnTo>
                    <a:lnTo>
                      <a:pt x="582" y="750"/>
                    </a:lnTo>
                    <a:lnTo>
                      <a:pt x="588" y="762"/>
                    </a:lnTo>
                    <a:lnTo>
                      <a:pt x="594" y="768"/>
                    </a:lnTo>
                    <a:lnTo>
                      <a:pt x="606" y="774"/>
                    </a:lnTo>
                    <a:lnTo>
                      <a:pt x="606" y="786"/>
                    </a:lnTo>
                    <a:lnTo>
                      <a:pt x="600" y="786"/>
                    </a:lnTo>
                    <a:lnTo>
                      <a:pt x="588" y="792"/>
                    </a:lnTo>
                    <a:lnTo>
                      <a:pt x="570" y="792"/>
                    </a:lnTo>
                    <a:lnTo>
                      <a:pt x="558" y="798"/>
                    </a:lnTo>
                    <a:lnTo>
                      <a:pt x="546" y="798"/>
                    </a:lnTo>
                    <a:lnTo>
                      <a:pt x="546" y="828"/>
                    </a:lnTo>
                    <a:lnTo>
                      <a:pt x="528" y="828"/>
                    </a:lnTo>
                    <a:lnTo>
                      <a:pt x="522" y="846"/>
                    </a:lnTo>
                    <a:lnTo>
                      <a:pt x="498" y="864"/>
                    </a:lnTo>
                    <a:lnTo>
                      <a:pt x="492" y="864"/>
                    </a:lnTo>
                    <a:lnTo>
                      <a:pt x="486" y="858"/>
                    </a:lnTo>
                    <a:lnTo>
                      <a:pt x="474" y="852"/>
                    </a:lnTo>
                    <a:lnTo>
                      <a:pt x="462" y="852"/>
                    </a:lnTo>
                    <a:lnTo>
                      <a:pt x="450" y="846"/>
                    </a:lnTo>
                    <a:lnTo>
                      <a:pt x="438" y="858"/>
                    </a:lnTo>
                    <a:lnTo>
                      <a:pt x="432" y="870"/>
                    </a:lnTo>
                    <a:lnTo>
                      <a:pt x="420" y="882"/>
                    </a:lnTo>
                    <a:lnTo>
                      <a:pt x="414" y="894"/>
                    </a:lnTo>
                    <a:lnTo>
                      <a:pt x="408" y="900"/>
                    </a:lnTo>
                    <a:lnTo>
                      <a:pt x="408" y="906"/>
                    </a:lnTo>
                    <a:lnTo>
                      <a:pt x="408" y="900"/>
                    </a:lnTo>
                    <a:lnTo>
                      <a:pt x="396" y="888"/>
                    </a:lnTo>
                    <a:lnTo>
                      <a:pt x="384" y="888"/>
                    </a:lnTo>
                    <a:lnTo>
                      <a:pt x="378" y="900"/>
                    </a:lnTo>
                    <a:lnTo>
                      <a:pt x="378" y="912"/>
                    </a:lnTo>
                    <a:lnTo>
                      <a:pt x="372" y="924"/>
                    </a:lnTo>
                    <a:lnTo>
                      <a:pt x="366" y="930"/>
                    </a:lnTo>
                    <a:lnTo>
                      <a:pt x="360" y="942"/>
                    </a:lnTo>
                    <a:lnTo>
                      <a:pt x="384" y="960"/>
                    </a:lnTo>
                    <a:lnTo>
                      <a:pt x="402" y="942"/>
                    </a:lnTo>
                    <a:lnTo>
                      <a:pt x="414" y="966"/>
                    </a:lnTo>
                    <a:lnTo>
                      <a:pt x="420" y="960"/>
                    </a:lnTo>
                    <a:lnTo>
                      <a:pt x="432" y="954"/>
                    </a:lnTo>
                    <a:lnTo>
                      <a:pt x="450" y="936"/>
                    </a:lnTo>
                    <a:lnTo>
                      <a:pt x="462" y="930"/>
                    </a:lnTo>
                    <a:lnTo>
                      <a:pt x="474" y="930"/>
                    </a:lnTo>
                    <a:lnTo>
                      <a:pt x="498" y="954"/>
                    </a:lnTo>
                    <a:lnTo>
                      <a:pt x="510" y="960"/>
                    </a:lnTo>
                    <a:lnTo>
                      <a:pt x="492" y="978"/>
                    </a:lnTo>
                    <a:lnTo>
                      <a:pt x="492" y="990"/>
                    </a:lnTo>
                    <a:lnTo>
                      <a:pt x="510" y="1026"/>
                    </a:lnTo>
                    <a:lnTo>
                      <a:pt x="522" y="1044"/>
                    </a:lnTo>
                    <a:lnTo>
                      <a:pt x="534" y="1056"/>
                    </a:lnTo>
                    <a:lnTo>
                      <a:pt x="546" y="1062"/>
                    </a:lnTo>
                    <a:lnTo>
                      <a:pt x="558" y="1062"/>
                    </a:lnTo>
                    <a:lnTo>
                      <a:pt x="570" y="1068"/>
                    </a:lnTo>
                    <a:lnTo>
                      <a:pt x="582" y="1068"/>
                    </a:lnTo>
                    <a:lnTo>
                      <a:pt x="606" y="1050"/>
                    </a:lnTo>
                    <a:lnTo>
                      <a:pt x="606" y="1074"/>
                    </a:lnTo>
                    <a:lnTo>
                      <a:pt x="630" y="1074"/>
                    </a:lnTo>
                    <a:lnTo>
                      <a:pt x="630" y="1038"/>
                    </a:lnTo>
                    <a:lnTo>
                      <a:pt x="624" y="1032"/>
                    </a:lnTo>
                    <a:lnTo>
                      <a:pt x="606" y="996"/>
                    </a:lnTo>
                    <a:lnTo>
                      <a:pt x="606" y="984"/>
                    </a:lnTo>
                    <a:lnTo>
                      <a:pt x="612" y="972"/>
                    </a:lnTo>
                    <a:lnTo>
                      <a:pt x="624" y="960"/>
                    </a:lnTo>
                    <a:lnTo>
                      <a:pt x="654" y="1014"/>
                    </a:lnTo>
                    <a:lnTo>
                      <a:pt x="654" y="1008"/>
                    </a:lnTo>
                    <a:lnTo>
                      <a:pt x="660" y="1002"/>
                    </a:lnTo>
                    <a:lnTo>
                      <a:pt x="672" y="978"/>
                    </a:lnTo>
                    <a:lnTo>
                      <a:pt x="678" y="960"/>
                    </a:lnTo>
                    <a:lnTo>
                      <a:pt x="678" y="936"/>
                    </a:lnTo>
                    <a:lnTo>
                      <a:pt x="672" y="918"/>
                    </a:lnTo>
                    <a:lnTo>
                      <a:pt x="666" y="912"/>
                    </a:lnTo>
                    <a:lnTo>
                      <a:pt x="660" y="900"/>
                    </a:lnTo>
                    <a:lnTo>
                      <a:pt x="660" y="840"/>
                    </a:lnTo>
                    <a:close/>
                    <a:moveTo>
                      <a:pt x="330" y="384"/>
                    </a:moveTo>
                    <a:lnTo>
                      <a:pt x="348" y="384"/>
                    </a:lnTo>
                    <a:lnTo>
                      <a:pt x="354" y="390"/>
                    </a:lnTo>
                    <a:lnTo>
                      <a:pt x="366" y="396"/>
                    </a:lnTo>
                    <a:lnTo>
                      <a:pt x="366" y="408"/>
                    </a:lnTo>
                    <a:lnTo>
                      <a:pt x="372" y="420"/>
                    </a:lnTo>
                    <a:lnTo>
                      <a:pt x="384" y="438"/>
                    </a:lnTo>
                    <a:lnTo>
                      <a:pt x="396" y="450"/>
                    </a:lnTo>
                    <a:lnTo>
                      <a:pt x="414" y="462"/>
                    </a:lnTo>
                    <a:lnTo>
                      <a:pt x="432" y="462"/>
                    </a:lnTo>
                    <a:lnTo>
                      <a:pt x="444" y="438"/>
                    </a:lnTo>
                    <a:lnTo>
                      <a:pt x="444" y="426"/>
                    </a:lnTo>
                    <a:lnTo>
                      <a:pt x="432" y="402"/>
                    </a:lnTo>
                    <a:lnTo>
                      <a:pt x="420" y="396"/>
                    </a:lnTo>
                    <a:lnTo>
                      <a:pt x="408" y="396"/>
                    </a:lnTo>
                    <a:lnTo>
                      <a:pt x="408" y="390"/>
                    </a:lnTo>
                    <a:lnTo>
                      <a:pt x="414" y="384"/>
                    </a:lnTo>
                    <a:lnTo>
                      <a:pt x="414" y="378"/>
                    </a:lnTo>
                    <a:lnTo>
                      <a:pt x="420" y="372"/>
                    </a:lnTo>
                    <a:lnTo>
                      <a:pt x="408" y="372"/>
                    </a:lnTo>
                    <a:lnTo>
                      <a:pt x="396" y="366"/>
                    </a:lnTo>
                    <a:lnTo>
                      <a:pt x="390" y="360"/>
                    </a:lnTo>
                    <a:lnTo>
                      <a:pt x="372" y="360"/>
                    </a:lnTo>
                    <a:lnTo>
                      <a:pt x="366" y="366"/>
                    </a:lnTo>
                    <a:lnTo>
                      <a:pt x="354" y="372"/>
                    </a:lnTo>
                    <a:lnTo>
                      <a:pt x="342" y="360"/>
                    </a:lnTo>
                    <a:lnTo>
                      <a:pt x="330" y="354"/>
                    </a:lnTo>
                    <a:lnTo>
                      <a:pt x="312" y="354"/>
                    </a:lnTo>
                    <a:lnTo>
                      <a:pt x="300" y="366"/>
                    </a:lnTo>
                    <a:lnTo>
                      <a:pt x="288" y="372"/>
                    </a:lnTo>
                    <a:lnTo>
                      <a:pt x="282" y="372"/>
                    </a:lnTo>
                    <a:lnTo>
                      <a:pt x="264" y="354"/>
                    </a:lnTo>
                    <a:lnTo>
                      <a:pt x="258" y="342"/>
                    </a:lnTo>
                    <a:lnTo>
                      <a:pt x="258" y="252"/>
                    </a:lnTo>
                    <a:lnTo>
                      <a:pt x="270" y="228"/>
                    </a:lnTo>
                    <a:lnTo>
                      <a:pt x="270" y="222"/>
                    </a:lnTo>
                    <a:lnTo>
                      <a:pt x="288" y="204"/>
                    </a:lnTo>
                    <a:lnTo>
                      <a:pt x="288" y="174"/>
                    </a:lnTo>
                    <a:lnTo>
                      <a:pt x="276" y="150"/>
                    </a:lnTo>
                    <a:lnTo>
                      <a:pt x="276" y="126"/>
                    </a:lnTo>
                    <a:lnTo>
                      <a:pt x="282" y="108"/>
                    </a:lnTo>
                    <a:lnTo>
                      <a:pt x="282" y="72"/>
                    </a:lnTo>
                    <a:lnTo>
                      <a:pt x="264" y="54"/>
                    </a:lnTo>
                    <a:lnTo>
                      <a:pt x="264" y="36"/>
                    </a:lnTo>
                    <a:lnTo>
                      <a:pt x="258" y="30"/>
                    </a:lnTo>
                    <a:lnTo>
                      <a:pt x="258" y="6"/>
                    </a:lnTo>
                    <a:lnTo>
                      <a:pt x="252" y="0"/>
                    </a:lnTo>
                    <a:lnTo>
                      <a:pt x="240" y="0"/>
                    </a:lnTo>
                    <a:lnTo>
                      <a:pt x="234" y="6"/>
                    </a:lnTo>
                    <a:lnTo>
                      <a:pt x="234" y="12"/>
                    </a:lnTo>
                    <a:lnTo>
                      <a:pt x="228" y="18"/>
                    </a:lnTo>
                    <a:lnTo>
                      <a:pt x="216" y="24"/>
                    </a:lnTo>
                    <a:lnTo>
                      <a:pt x="204" y="24"/>
                    </a:lnTo>
                    <a:lnTo>
                      <a:pt x="192" y="18"/>
                    </a:lnTo>
                    <a:lnTo>
                      <a:pt x="186" y="12"/>
                    </a:lnTo>
                    <a:lnTo>
                      <a:pt x="174" y="12"/>
                    </a:lnTo>
                    <a:lnTo>
                      <a:pt x="162" y="18"/>
                    </a:lnTo>
                    <a:lnTo>
                      <a:pt x="162" y="36"/>
                    </a:lnTo>
                    <a:lnTo>
                      <a:pt x="156" y="42"/>
                    </a:lnTo>
                    <a:lnTo>
                      <a:pt x="156" y="48"/>
                    </a:lnTo>
                    <a:lnTo>
                      <a:pt x="144" y="72"/>
                    </a:lnTo>
                    <a:lnTo>
                      <a:pt x="132" y="84"/>
                    </a:lnTo>
                    <a:lnTo>
                      <a:pt x="132" y="96"/>
                    </a:lnTo>
                    <a:lnTo>
                      <a:pt x="138" y="102"/>
                    </a:lnTo>
                    <a:lnTo>
                      <a:pt x="144" y="114"/>
                    </a:lnTo>
                    <a:lnTo>
                      <a:pt x="150" y="132"/>
                    </a:lnTo>
                    <a:lnTo>
                      <a:pt x="156" y="138"/>
                    </a:lnTo>
                    <a:lnTo>
                      <a:pt x="156" y="150"/>
                    </a:lnTo>
                    <a:lnTo>
                      <a:pt x="150" y="162"/>
                    </a:lnTo>
                    <a:lnTo>
                      <a:pt x="150" y="168"/>
                    </a:lnTo>
                    <a:lnTo>
                      <a:pt x="144" y="174"/>
                    </a:lnTo>
                    <a:lnTo>
                      <a:pt x="138" y="186"/>
                    </a:lnTo>
                    <a:lnTo>
                      <a:pt x="138" y="198"/>
                    </a:lnTo>
                    <a:lnTo>
                      <a:pt x="150" y="210"/>
                    </a:lnTo>
                    <a:lnTo>
                      <a:pt x="150" y="216"/>
                    </a:lnTo>
                    <a:lnTo>
                      <a:pt x="144" y="222"/>
                    </a:lnTo>
                    <a:lnTo>
                      <a:pt x="138" y="222"/>
                    </a:lnTo>
                    <a:lnTo>
                      <a:pt x="126" y="228"/>
                    </a:lnTo>
                    <a:lnTo>
                      <a:pt x="120" y="228"/>
                    </a:lnTo>
                    <a:lnTo>
                      <a:pt x="120" y="210"/>
                    </a:lnTo>
                    <a:lnTo>
                      <a:pt x="114" y="204"/>
                    </a:lnTo>
                    <a:lnTo>
                      <a:pt x="114" y="252"/>
                    </a:lnTo>
                    <a:lnTo>
                      <a:pt x="150" y="306"/>
                    </a:lnTo>
                    <a:lnTo>
                      <a:pt x="174" y="330"/>
                    </a:lnTo>
                    <a:lnTo>
                      <a:pt x="186" y="348"/>
                    </a:lnTo>
                    <a:lnTo>
                      <a:pt x="204" y="384"/>
                    </a:lnTo>
                    <a:lnTo>
                      <a:pt x="216" y="402"/>
                    </a:lnTo>
                    <a:lnTo>
                      <a:pt x="228" y="408"/>
                    </a:lnTo>
                    <a:lnTo>
                      <a:pt x="252" y="408"/>
                    </a:lnTo>
                    <a:lnTo>
                      <a:pt x="258" y="396"/>
                    </a:lnTo>
                    <a:lnTo>
                      <a:pt x="270" y="390"/>
                    </a:lnTo>
                    <a:lnTo>
                      <a:pt x="276" y="384"/>
                    </a:lnTo>
                    <a:lnTo>
                      <a:pt x="288" y="384"/>
                    </a:lnTo>
                    <a:lnTo>
                      <a:pt x="294" y="396"/>
                    </a:lnTo>
                    <a:lnTo>
                      <a:pt x="306" y="402"/>
                    </a:lnTo>
                    <a:lnTo>
                      <a:pt x="324" y="420"/>
                    </a:lnTo>
                    <a:lnTo>
                      <a:pt x="342" y="420"/>
                    </a:lnTo>
                    <a:lnTo>
                      <a:pt x="342" y="402"/>
                    </a:lnTo>
                    <a:lnTo>
                      <a:pt x="336" y="396"/>
                    </a:lnTo>
                    <a:lnTo>
                      <a:pt x="330" y="384"/>
                    </a:lnTo>
                    <a:close/>
                    <a:moveTo>
                      <a:pt x="258" y="432"/>
                    </a:moveTo>
                    <a:lnTo>
                      <a:pt x="246" y="426"/>
                    </a:lnTo>
                    <a:lnTo>
                      <a:pt x="204" y="426"/>
                    </a:lnTo>
                    <a:lnTo>
                      <a:pt x="234" y="468"/>
                    </a:lnTo>
                    <a:lnTo>
                      <a:pt x="258" y="534"/>
                    </a:lnTo>
                    <a:lnTo>
                      <a:pt x="270" y="528"/>
                    </a:lnTo>
                    <a:lnTo>
                      <a:pt x="276" y="516"/>
                    </a:lnTo>
                    <a:lnTo>
                      <a:pt x="282" y="510"/>
                    </a:lnTo>
                    <a:lnTo>
                      <a:pt x="282" y="486"/>
                    </a:lnTo>
                    <a:lnTo>
                      <a:pt x="276" y="480"/>
                    </a:lnTo>
                    <a:lnTo>
                      <a:pt x="270" y="468"/>
                    </a:lnTo>
                    <a:lnTo>
                      <a:pt x="270" y="450"/>
                    </a:lnTo>
                    <a:lnTo>
                      <a:pt x="264" y="438"/>
                    </a:lnTo>
                    <a:lnTo>
                      <a:pt x="258" y="432"/>
                    </a:lnTo>
                    <a:close/>
                    <a:moveTo>
                      <a:pt x="330" y="648"/>
                    </a:moveTo>
                    <a:lnTo>
                      <a:pt x="336" y="660"/>
                    </a:lnTo>
                    <a:lnTo>
                      <a:pt x="354" y="678"/>
                    </a:lnTo>
                    <a:lnTo>
                      <a:pt x="360" y="672"/>
                    </a:lnTo>
                    <a:lnTo>
                      <a:pt x="372" y="666"/>
                    </a:lnTo>
                    <a:lnTo>
                      <a:pt x="378" y="660"/>
                    </a:lnTo>
                    <a:lnTo>
                      <a:pt x="384" y="660"/>
                    </a:lnTo>
                    <a:lnTo>
                      <a:pt x="390" y="666"/>
                    </a:lnTo>
                    <a:lnTo>
                      <a:pt x="390" y="696"/>
                    </a:lnTo>
                    <a:lnTo>
                      <a:pt x="402" y="708"/>
                    </a:lnTo>
                    <a:lnTo>
                      <a:pt x="396" y="720"/>
                    </a:lnTo>
                    <a:lnTo>
                      <a:pt x="390" y="726"/>
                    </a:lnTo>
                    <a:lnTo>
                      <a:pt x="372" y="762"/>
                    </a:lnTo>
                    <a:lnTo>
                      <a:pt x="372" y="786"/>
                    </a:lnTo>
                    <a:lnTo>
                      <a:pt x="378" y="792"/>
                    </a:lnTo>
                    <a:lnTo>
                      <a:pt x="384" y="804"/>
                    </a:lnTo>
                    <a:lnTo>
                      <a:pt x="396" y="804"/>
                    </a:lnTo>
                    <a:lnTo>
                      <a:pt x="408" y="798"/>
                    </a:lnTo>
                    <a:lnTo>
                      <a:pt x="420" y="798"/>
                    </a:lnTo>
                    <a:lnTo>
                      <a:pt x="432" y="792"/>
                    </a:lnTo>
                    <a:lnTo>
                      <a:pt x="438" y="786"/>
                    </a:lnTo>
                    <a:lnTo>
                      <a:pt x="438" y="768"/>
                    </a:lnTo>
                    <a:lnTo>
                      <a:pt x="432" y="756"/>
                    </a:lnTo>
                    <a:lnTo>
                      <a:pt x="426" y="738"/>
                    </a:lnTo>
                    <a:lnTo>
                      <a:pt x="426" y="726"/>
                    </a:lnTo>
                    <a:lnTo>
                      <a:pt x="432" y="714"/>
                    </a:lnTo>
                    <a:lnTo>
                      <a:pt x="444" y="678"/>
                    </a:lnTo>
                    <a:lnTo>
                      <a:pt x="444" y="660"/>
                    </a:lnTo>
                    <a:lnTo>
                      <a:pt x="438" y="648"/>
                    </a:lnTo>
                    <a:lnTo>
                      <a:pt x="432" y="642"/>
                    </a:lnTo>
                    <a:lnTo>
                      <a:pt x="426" y="642"/>
                    </a:lnTo>
                    <a:lnTo>
                      <a:pt x="414" y="654"/>
                    </a:lnTo>
                    <a:lnTo>
                      <a:pt x="402" y="660"/>
                    </a:lnTo>
                    <a:lnTo>
                      <a:pt x="396" y="660"/>
                    </a:lnTo>
                    <a:lnTo>
                      <a:pt x="396" y="648"/>
                    </a:lnTo>
                    <a:lnTo>
                      <a:pt x="408" y="624"/>
                    </a:lnTo>
                    <a:lnTo>
                      <a:pt x="408" y="612"/>
                    </a:lnTo>
                    <a:lnTo>
                      <a:pt x="414" y="600"/>
                    </a:lnTo>
                    <a:lnTo>
                      <a:pt x="414" y="594"/>
                    </a:lnTo>
                    <a:lnTo>
                      <a:pt x="408" y="588"/>
                    </a:lnTo>
                    <a:lnTo>
                      <a:pt x="372" y="570"/>
                    </a:lnTo>
                    <a:lnTo>
                      <a:pt x="366" y="564"/>
                    </a:lnTo>
                    <a:lnTo>
                      <a:pt x="330" y="564"/>
                    </a:lnTo>
                    <a:lnTo>
                      <a:pt x="324" y="570"/>
                    </a:lnTo>
                    <a:lnTo>
                      <a:pt x="324" y="576"/>
                    </a:lnTo>
                    <a:lnTo>
                      <a:pt x="330" y="582"/>
                    </a:lnTo>
                    <a:lnTo>
                      <a:pt x="336" y="582"/>
                    </a:lnTo>
                    <a:lnTo>
                      <a:pt x="342" y="594"/>
                    </a:lnTo>
                    <a:lnTo>
                      <a:pt x="342" y="600"/>
                    </a:lnTo>
                    <a:lnTo>
                      <a:pt x="336" y="606"/>
                    </a:lnTo>
                    <a:lnTo>
                      <a:pt x="336" y="618"/>
                    </a:lnTo>
                    <a:lnTo>
                      <a:pt x="330" y="630"/>
                    </a:lnTo>
                    <a:lnTo>
                      <a:pt x="330" y="648"/>
                    </a:lnTo>
                    <a:close/>
                  </a:path>
                </a:pathLst>
              </a:custGeom>
              <a:solidFill>
                <a:srgbClr val="9D90A0">
                  <a:lumMod val="40000"/>
                  <a:lumOff val="60000"/>
                </a:srgbClr>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172" name="Nepal" descr="© INSCALE GmbH, 05.05.2010&#10;http://www.presentationload.com/">
                <a:extLst>
                  <a:ext uri="{FF2B5EF4-FFF2-40B4-BE49-F238E27FC236}">
                    <a16:creationId xmlns:a16="http://schemas.microsoft.com/office/drawing/2014/main" id="{2FB3B84F-8D6D-466D-944A-4745F661303E}"/>
                  </a:ext>
                </a:extLst>
              </p:cNvPr>
              <p:cNvSpPr>
                <a:spLocks/>
              </p:cNvSpPr>
              <p:nvPr/>
            </p:nvSpPr>
            <p:spPr bwMode="gray">
              <a:xfrm>
                <a:off x="6397018" y="3474563"/>
                <a:ext cx="232427" cy="143814"/>
              </a:xfrm>
              <a:custGeom>
                <a:avLst/>
                <a:gdLst>
                  <a:gd name="T0" fmla="*/ 2147483647 w 588"/>
                  <a:gd name="T1" fmla="*/ 2147483647 h 330"/>
                  <a:gd name="T2" fmla="*/ 2147483647 w 588"/>
                  <a:gd name="T3" fmla="*/ 2147483647 h 330"/>
                  <a:gd name="T4" fmla="*/ 2147483647 w 588"/>
                  <a:gd name="T5" fmla="*/ 2147483647 h 330"/>
                  <a:gd name="T6" fmla="*/ 2147483647 w 588"/>
                  <a:gd name="T7" fmla="*/ 2147483647 h 330"/>
                  <a:gd name="T8" fmla="*/ 2147483647 w 588"/>
                  <a:gd name="T9" fmla="*/ 2147483647 h 330"/>
                  <a:gd name="T10" fmla="*/ 2147483647 w 588"/>
                  <a:gd name="T11" fmla="*/ 2147483647 h 330"/>
                  <a:gd name="T12" fmla="*/ 2147483647 w 588"/>
                  <a:gd name="T13" fmla="*/ 2147483647 h 330"/>
                  <a:gd name="T14" fmla="*/ 2147483647 w 588"/>
                  <a:gd name="T15" fmla="*/ 2147483647 h 330"/>
                  <a:gd name="T16" fmla="*/ 2147483647 w 588"/>
                  <a:gd name="T17" fmla="*/ 2147483647 h 330"/>
                  <a:gd name="T18" fmla="*/ 2147483647 w 588"/>
                  <a:gd name="T19" fmla="*/ 2147483647 h 330"/>
                  <a:gd name="T20" fmla="*/ 2147483647 w 588"/>
                  <a:gd name="T21" fmla="*/ 2147483647 h 330"/>
                  <a:gd name="T22" fmla="*/ 2147483647 w 588"/>
                  <a:gd name="T23" fmla="*/ 2147483647 h 330"/>
                  <a:gd name="T24" fmla="*/ 2147483647 w 588"/>
                  <a:gd name="T25" fmla="*/ 2147483647 h 330"/>
                  <a:gd name="T26" fmla="*/ 2147483647 w 588"/>
                  <a:gd name="T27" fmla="*/ 2147483647 h 330"/>
                  <a:gd name="T28" fmla="*/ 2147483647 w 588"/>
                  <a:gd name="T29" fmla="*/ 2147483647 h 330"/>
                  <a:gd name="T30" fmla="*/ 2147483647 w 588"/>
                  <a:gd name="T31" fmla="*/ 2147483647 h 330"/>
                  <a:gd name="T32" fmla="*/ 2147483647 w 588"/>
                  <a:gd name="T33" fmla="*/ 2147483647 h 330"/>
                  <a:gd name="T34" fmla="*/ 2147483647 w 588"/>
                  <a:gd name="T35" fmla="*/ 2147483647 h 330"/>
                  <a:gd name="T36" fmla="*/ 2147483647 w 588"/>
                  <a:gd name="T37" fmla="*/ 2147483647 h 330"/>
                  <a:gd name="T38" fmla="*/ 2147483647 w 588"/>
                  <a:gd name="T39" fmla="*/ 2147483647 h 330"/>
                  <a:gd name="T40" fmla="*/ 2147483647 w 588"/>
                  <a:gd name="T41" fmla="*/ 2147483647 h 330"/>
                  <a:gd name="T42" fmla="*/ 2147483647 w 588"/>
                  <a:gd name="T43" fmla="*/ 2147483647 h 330"/>
                  <a:gd name="T44" fmla="*/ 2147483647 w 588"/>
                  <a:gd name="T45" fmla="*/ 2147483647 h 330"/>
                  <a:gd name="T46" fmla="*/ 2147483647 w 588"/>
                  <a:gd name="T47" fmla="*/ 2147483647 h 330"/>
                  <a:gd name="T48" fmla="*/ 2147483647 w 588"/>
                  <a:gd name="T49" fmla="*/ 2147483647 h 330"/>
                  <a:gd name="T50" fmla="*/ 2147483647 w 588"/>
                  <a:gd name="T51" fmla="*/ 2147483647 h 330"/>
                  <a:gd name="T52" fmla="*/ 2147483647 w 588"/>
                  <a:gd name="T53" fmla="*/ 2147483647 h 330"/>
                  <a:gd name="T54" fmla="*/ 2147483647 w 588"/>
                  <a:gd name="T55" fmla="*/ 2147483647 h 330"/>
                  <a:gd name="T56" fmla="*/ 2147483647 w 588"/>
                  <a:gd name="T57" fmla="*/ 2147483647 h 330"/>
                  <a:gd name="T58" fmla="*/ 2147483647 w 588"/>
                  <a:gd name="T59" fmla="*/ 2147483647 h 330"/>
                  <a:gd name="T60" fmla="*/ 2147483647 w 588"/>
                  <a:gd name="T61" fmla="*/ 2147483647 h 330"/>
                  <a:gd name="T62" fmla="*/ 2147483647 w 588"/>
                  <a:gd name="T63" fmla="*/ 2147483647 h 330"/>
                  <a:gd name="T64" fmla="*/ 2147483647 w 588"/>
                  <a:gd name="T65" fmla="*/ 2147483647 h 330"/>
                  <a:gd name="T66" fmla="*/ 2147483647 w 588"/>
                  <a:gd name="T67" fmla="*/ 2147483647 h 330"/>
                  <a:gd name="T68" fmla="*/ 2147483647 w 588"/>
                  <a:gd name="T69" fmla="*/ 2147483647 h 330"/>
                  <a:gd name="T70" fmla="*/ 2147483647 w 588"/>
                  <a:gd name="T71" fmla="*/ 0 h 330"/>
                  <a:gd name="T72" fmla="*/ 2147483647 w 588"/>
                  <a:gd name="T73" fmla="*/ 2147483647 h 330"/>
                  <a:gd name="T74" fmla="*/ 2147483647 w 588"/>
                  <a:gd name="T75" fmla="*/ 2147483647 h 330"/>
                  <a:gd name="T76" fmla="*/ 2147483647 w 588"/>
                  <a:gd name="T77" fmla="*/ 2147483647 h 330"/>
                  <a:gd name="T78" fmla="*/ 2147483647 w 588"/>
                  <a:gd name="T79" fmla="*/ 2147483647 h 330"/>
                  <a:gd name="T80" fmla="*/ 2147483647 w 588"/>
                  <a:gd name="T81" fmla="*/ 2147483647 h 330"/>
                  <a:gd name="T82" fmla="*/ 2147483647 w 588"/>
                  <a:gd name="T83" fmla="*/ 2147483647 h 330"/>
                  <a:gd name="T84" fmla="*/ 0 w 588"/>
                  <a:gd name="T85" fmla="*/ 2147483647 h 330"/>
                  <a:gd name="T86" fmla="*/ 2147483647 w 588"/>
                  <a:gd name="T87" fmla="*/ 2147483647 h 330"/>
                  <a:gd name="T88" fmla="*/ 2147483647 w 588"/>
                  <a:gd name="T89" fmla="*/ 2147483647 h 330"/>
                  <a:gd name="T90" fmla="*/ 2147483647 w 588"/>
                  <a:gd name="T91" fmla="*/ 2147483647 h 330"/>
                  <a:gd name="T92" fmla="*/ 2147483647 w 588"/>
                  <a:gd name="T93" fmla="*/ 2147483647 h 330"/>
                  <a:gd name="T94" fmla="*/ 2147483647 w 588"/>
                  <a:gd name="T95" fmla="*/ 2147483647 h 330"/>
                  <a:gd name="T96" fmla="*/ 2147483647 w 588"/>
                  <a:gd name="T97" fmla="*/ 2147483647 h 330"/>
                  <a:gd name="T98" fmla="*/ 2147483647 w 588"/>
                  <a:gd name="T99" fmla="*/ 2147483647 h 330"/>
                  <a:gd name="T100" fmla="*/ 2147483647 w 588"/>
                  <a:gd name="T101" fmla="*/ 2147483647 h 330"/>
                  <a:gd name="T102" fmla="*/ 2147483647 w 588"/>
                  <a:gd name="T103" fmla="*/ 2147483647 h 330"/>
                  <a:gd name="T104" fmla="*/ 2147483647 w 588"/>
                  <a:gd name="T105" fmla="*/ 2147483647 h 330"/>
                  <a:gd name="T106" fmla="*/ 2147483647 w 588"/>
                  <a:gd name="T107" fmla="*/ 2147483647 h 330"/>
                  <a:gd name="T108" fmla="*/ 2147483647 w 588"/>
                  <a:gd name="T109" fmla="*/ 2147483647 h 33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588"/>
                  <a:gd name="T166" fmla="*/ 0 h 330"/>
                  <a:gd name="T167" fmla="*/ 588 w 588"/>
                  <a:gd name="T168" fmla="*/ 330 h 33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588" h="330">
                    <a:moveTo>
                      <a:pt x="294" y="234"/>
                    </a:moveTo>
                    <a:lnTo>
                      <a:pt x="306" y="246"/>
                    </a:lnTo>
                    <a:lnTo>
                      <a:pt x="306" y="252"/>
                    </a:lnTo>
                    <a:lnTo>
                      <a:pt x="330" y="252"/>
                    </a:lnTo>
                    <a:lnTo>
                      <a:pt x="384" y="306"/>
                    </a:lnTo>
                    <a:lnTo>
                      <a:pt x="402" y="294"/>
                    </a:lnTo>
                    <a:lnTo>
                      <a:pt x="432" y="312"/>
                    </a:lnTo>
                    <a:lnTo>
                      <a:pt x="438" y="306"/>
                    </a:lnTo>
                    <a:lnTo>
                      <a:pt x="456" y="306"/>
                    </a:lnTo>
                    <a:lnTo>
                      <a:pt x="474" y="312"/>
                    </a:lnTo>
                    <a:lnTo>
                      <a:pt x="486" y="318"/>
                    </a:lnTo>
                    <a:lnTo>
                      <a:pt x="492" y="330"/>
                    </a:lnTo>
                    <a:lnTo>
                      <a:pt x="498" y="318"/>
                    </a:lnTo>
                    <a:lnTo>
                      <a:pt x="510" y="312"/>
                    </a:lnTo>
                    <a:lnTo>
                      <a:pt x="516" y="312"/>
                    </a:lnTo>
                    <a:lnTo>
                      <a:pt x="522" y="318"/>
                    </a:lnTo>
                    <a:lnTo>
                      <a:pt x="522" y="330"/>
                    </a:lnTo>
                    <a:lnTo>
                      <a:pt x="588" y="330"/>
                    </a:lnTo>
                    <a:lnTo>
                      <a:pt x="588" y="294"/>
                    </a:lnTo>
                    <a:lnTo>
                      <a:pt x="576" y="270"/>
                    </a:lnTo>
                    <a:lnTo>
                      <a:pt x="576" y="222"/>
                    </a:lnTo>
                    <a:lnTo>
                      <a:pt x="564" y="204"/>
                    </a:lnTo>
                    <a:lnTo>
                      <a:pt x="540" y="216"/>
                    </a:lnTo>
                    <a:lnTo>
                      <a:pt x="522" y="216"/>
                    </a:lnTo>
                    <a:lnTo>
                      <a:pt x="498" y="204"/>
                    </a:lnTo>
                    <a:lnTo>
                      <a:pt x="480" y="198"/>
                    </a:lnTo>
                    <a:lnTo>
                      <a:pt x="474" y="192"/>
                    </a:lnTo>
                    <a:lnTo>
                      <a:pt x="462" y="186"/>
                    </a:lnTo>
                    <a:lnTo>
                      <a:pt x="462" y="192"/>
                    </a:lnTo>
                    <a:lnTo>
                      <a:pt x="456" y="198"/>
                    </a:lnTo>
                    <a:lnTo>
                      <a:pt x="438" y="198"/>
                    </a:lnTo>
                    <a:lnTo>
                      <a:pt x="432" y="192"/>
                    </a:lnTo>
                    <a:lnTo>
                      <a:pt x="432" y="180"/>
                    </a:lnTo>
                    <a:lnTo>
                      <a:pt x="432" y="186"/>
                    </a:lnTo>
                    <a:lnTo>
                      <a:pt x="420" y="198"/>
                    </a:lnTo>
                    <a:lnTo>
                      <a:pt x="408" y="198"/>
                    </a:lnTo>
                    <a:lnTo>
                      <a:pt x="402" y="192"/>
                    </a:lnTo>
                    <a:lnTo>
                      <a:pt x="402" y="174"/>
                    </a:lnTo>
                    <a:lnTo>
                      <a:pt x="396" y="174"/>
                    </a:lnTo>
                    <a:lnTo>
                      <a:pt x="390" y="180"/>
                    </a:lnTo>
                    <a:lnTo>
                      <a:pt x="378" y="180"/>
                    </a:lnTo>
                    <a:lnTo>
                      <a:pt x="360" y="174"/>
                    </a:lnTo>
                    <a:lnTo>
                      <a:pt x="354" y="168"/>
                    </a:lnTo>
                    <a:lnTo>
                      <a:pt x="348" y="168"/>
                    </a:lnTo>
                    <a:lnTo>
                      <a:pt x="348" y="162"/>
                    </a:lnTo>
                    <a:lnTo>
                      <a:pt x="354" y="156"/>
                    </a:lnTo>
                    <a:lnTo>
                      <a:pt x="354" y="150"/>
                    </a:lnTo>
                    <a:lnTo>
                      <a:pt x="348" y="144"/>
                    </a:lnTo>
                    <a:lnTo>
                      <a:pt x="342" y="144"/>
                    </a:lnTo>
                    <a:lnTo>
                      <a:pt x="330" y="150"/>
                    </a:lnTo>
                    <a:lnTo>
                      <a:pt x="324" y="156"/>
                    </a:lnTo>
                    <a:lnTo>
                      <a:pt x="312" y="150"/>
                    </a:lnTo>
                    <a:lnTo>
                      <a:pt x="282" y="120"/>
                    </a:lnTo>
                    <a:lnTo>
                      <a:pt x="282" y="102"/>
                    </a:lnTo>
                    <a:lnTo>
                      <a:pt x="276" y="90"/>
                    </a:lnTo>
                    <a:lnTo>
                      <a:pt x="270" y="84"/>
                    </a:lnTo>
                    <a:lnTo>
                      <a:pt x="258" y="84"/>
                    </a:lnTo>
                    <a:lnTo>
                      <a:pt x="252" y="96"/>
                    </a:lnTo>
                    <a:lnTo>
                      <a:pt x="246" y="102"/>
                    </a:lnTo>
                    <a:lnTo>
                      <a:pt x="246" y="108"/>
                    </a:lnTo>
                    <a:lnTo>
                      <a:pt x="234" y="108"/>
                    </a:lnTo>
                    <a:lnTo>
                      <a:pt x="234" y="96"/>
                    </a:lnTo>
                    <a:lnTo>
                      <a:pt x="228" y="90"/>
                    </a:lnTo>
                    <a:lnTo>
                      <a:pt x="222" y="78"/>
                    </a:lnTo>
                    <a:lnTo>
                      <a:pt x="216" y="72"/>
                    </a:lnTo>
                    <a:lnTo>
                      <a:pt x="210" y="60"/>
                    </a:lnTo>
                    <a:lnTo>
                      <a:pt x="168" y="54"/>
                    </a:lnTo>
                    <a:lnTo>
                      <a:pt x="150" y="36"/>
                    </a:lnTo>
                    <a:lnTo>
                      <a:pt x="138" y="30"/>
                    </a:lnTo>
                    <a:lnTo>
                      <a:pt x="132" y="18"/>
                    </a:lnTo>
                    <a:lnTo>
                      <a:pt x="120" y="6"/>
                    </a:lnTo>
                    <a:lnTo>
                      <a:pt x="108" y="0"/>
                    </a:lnTo>
                    <a:lnTo>
                      <a:pt x="96" y="0"/>
                    </a:lnTo>
                    <a:lnTo>
                      <a:pt x="84" y="6"/>
                    </a:lnTo>
                    <a:lnTo>
                      <a:pt x="78" y="12"/>
                    </a:lnTo>
                    <a:lnTo>
                      <a:pt x="54" y="30"/>
                    </a:lnTo>
                    <a:lnTo>
                      <a:pt x="36" y="12"/>
                    </a:lnTo>
                    <a:lnTo>
                      <a:pt x="30" y="36"/>
                    </a:lnTo>
                    <a:lnTo>
                      <a:pt x="6" y="60"/>
                    </a:lnTo>
                    <a:lnTo>
                      <a:pt x="12" y="72"/>
                    </a:lnTo>
                    <a:lnTo>
                      <a:pt x="6" y="78"/>
                    </a:lnTo>
                    <a:lnTo>
                      <a:pt x="6" y="84"/>
                    </a:lnTo>
                    <a:lnTo>
                      <a:pt x="18" y="96"/>
                    </a:lnTo>
                    <a:lnTo>
                      <a:pt x="12" y="96"/>
                    </a:lnTo>
                    <a:lnTo>
                      <a:pt x="0" y="108"/>
                    </a:lnTo>
                    <a:lnTo>
                      <a:pt x="0" y="120"/>
                    </a:lnTo>
                    <a:lnTo>
                      <a:pt x="30" y="150"/>
                    </a:lnTo>
                    <a:lnTo>
                      <a:pt x="42" y="144"/>
                    </a:lnTo>
                    <a:lnTo>
                      <a:pt x="60" y="168"/>
                    </a:lnTo>
                    <a:lnTo>
                      <a:pt x="84" y="168"/>
                    </a:lnTo>
                    <a:lnTo>
                      <a:pt x="96" y="186"/>
                    </a:lnTo>
                    <a:lnTo>
                      <a:pt x="138" y="204"/>
                    </a:lnTo>
                    <a:lnTo>
                      <a:pt x="150" y="204"/>
                    </a:lnTo>
                    <a:lnTo>
                      <a:pt x="156" y="210"/>
                    </a:lnTo>
                    <a:lnTo>
                      <a:pt x="162" y="222"/>
                    </a:lnTo>
                    <a:lnTo>
                      <a:pt x="168" y="228"/>
                    </a:lnTo>
                    <a:lnTo>
                      <a:pt x="186" y="228"/>
                    </a:lnTo>
                    <a:lnTo>
                      <a:pt x="192" y="222"/>
                    </a:lnTo>
                    <a:lnTo>
                      <a:pt x="204" y="222"/>
                    </a:lnTo>
                    <a:lnTo>
                      <a:pt x="204" y="234"/>
                    </a:lnTo>
                    <a:lnTo>
                      <a:pt x="210" y="240"/>
                    </a:lnTo>
                    <a:lnTo>
                      <a:pt x="234" y="240"/>
                    </a:lnTo>
                    <a:lnTo>
                      <a:pt x="240" y="246"/>
                    </a:lnTo>
                    <a:lnTo>
                      <a:pt x="246" y="258"/>
                    </a:lnTo>
                    <a:lnTo>
                      <a:pt x="258" y="246"/>
                    </a:lnTo>
                    <a:lnTo>
                      <a:pt x="276" y="246"/>
                    </a:lnTo>
                    <a:lnTo>
                      <a:pt x="282" y="252"/>
                    </a:lnTo>
                    <a:lnTo>
                      <a:pt x="282" y="258"/>
                    </a:lnTo>
                    <a:lnTo>
                      <a:pt x="282" y="240"/>
                    </a:lnTo>
                    <a:lnTo>
                      <a:pt x="288" y="234"/>
                    </a:lnTo>
                    <a:lnTo>
                      <a:pt x="294" y="234"/>
                    </a:lnTo>
                    <a:close/>
                  </a:path>
                </a:pathLst>
              </a:custGeom>
              <a:solidFill>
                <a:srgbClr val="9D90A0">
                  <a:lumMod val="40000"/>
                  <a:lumOff val="60000"/>
                </a:srgbClr>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173" name="Korea, South" descr="© INSCALE GmbH, 05.05.2010&#10;http://www.presentationload.com/">
                <a:extLst>
                  <a:ext uri="{FF2B5EF4-FFF2-40B4-BE49-F238E27FC236}">
                    <a16:creationId xmlns:a16="http://schemas.microsoft.com/office/drawing/2014/main" id="{58949474-57BF-4FFF-8408-F7B1642585BD}"/>
                  </a:ext>
                </a:extLst>
              </p:cNvPr>
              <p:cNvSpPr>
                <a:spLocks noEditPoints="1"/>
              </p:cNvSpPr>
              <p:nvPr/>
            </p:nvSpPr>
            <p:spPr bwMode="gray">
              <a:xfrm>
                <a:off x="7552913" y="3188668"/>
                <a:ext cx="107634" cy="187132"/>
              </a:xfrm>
              <a:custGeom>
                <a:avLst/>
                <a:gdLst>
                  <a:gd name="T0" fmla="*/ 2147483647 w 276"/>
                  <a:gd name="T1" fmla="*/ 2147483647 h 426"/>
                  <a:gd name="T2" fmla="*/ 2147483647 w 276"/>
                  <a:gd name="T3" fmla="*/ 2147483647 h 426"/>
                  <a:gd name="T4" fmla="*/ 2147483647 w 276"/>
                  <a:gd name="T5" fmla="*/ 2147483647 h 426"/>
                  <a:gd name="T6" fmla="*/ 2147483647 w 276"/>
                  <a:gd name="T7" fmla="*/ 2147483647 h 426"/>
                  <a:gd name="T8" fmla="*/ 2147483647 w 276"/>
                  <a:gd name="T9" fmla="*/ 2147483647 h 426"/>
                  <a:gd name="T10" fmla="*/ 2147483647 w 276"/>
                  <a:gd name="T11" fmla="*/ 2147483647 h 426"/>
                  <a:gd name="T12" fmla="*/ 2147483647 w 276"/>
                  <a:gd name="T13" fmla="*/ 2147483647 h 426"/>
                  <a:gd name="T14" fmla="*/ 2147483647 w 276"/>
                  <a:gd name="T15" fmla="*/ 2147483647 h 426"/>
                  <a:gd name="T16" fmla="*/ 2147483647 w 276"/>
                  <a:gd name="T17" fmla="*/ 2147483647 h 426"/>
                  <a:gd name="T18" fmla="*/ 2147483647 w 276"/>
                  <a:gd name="T19" fmla="*/ 2147483647 h 426"/>
                  <a:gd name="T20" fmla="*/ 2147483647 w 276"/>
                  <a:gd name="T21" fmla="*/ 2147483647 h 426"/>
                  <a:gd name="T22" fmla="*/ 2147483647 w 276"/>
                  <a:gd name="T23" fmla="*/ 2147483647 h 426"/>
                  <a:gd name="T24" fmla="*/ 2147483647 w 276"/>
                  <a:gd name="T25" fmla="*/ 0 h 426"/>
                  <a:gd name="T26" fmla="*/ 2147483647 w 276"/>
                  <a:gd name="T27" fmla="*/ 2147483647 h 426"/>
                  <a:gd name="T28" fmla="*/ 2147483647 w 276"/>
                  <a:gd name="T29" fmla="*/ 2147483647 h 426"/>
                  <a:gd name="T30" fmla="*/ 2147483647 w 276"/>
                  <a:gd name="T31" fmla="*/ 2147483647 h 426"/>
                  <a:gd name="T32" fmla="*/ 2147483647 w 276"/>
                  <a:gd name="T33" fmla="*/ 2147483647 h 426"/>
                  <a:gd name="T34" fmla="*/ 0 w 276"/>
                  <a:gd name="T35" fmla="*/ 2147483647 h 426"/>
                  <a:gd name="T36" fmla="*/ 2147483647 w 276"/>
                  <a:gd name="T37" fmla="*/ 2147483647 h 426"/>
                  <a:gd name="T38" fmla="*/ 2147483647 w 276"/>
                  <a:gd name="T39" fmla="*/ 2147483647 h 426"/>
                  <a:gd name="T40" fmla="*/ 2147483647 w 276"/>
                  <a:gd name="T41" fmla="*/ 2147483647 h 426"/>
                  <a:gd name="T42" fmla="*/ 2147483647 w 276"/>
                  <a:gd name="T43" fmla="*/ 2147483647 h 426"/>
                  <a:gd name="T44" fmla="*/ 2147483647 w 276"/>
                  <a:gd name="T45" fmla="*/ 2147483647 h 426"/>
                  <a:gd name="T46" fmla="*/ 2147483647 w 276"/>
                  <a:gd name="T47" fmla="*/ 2147483647 h 426"/>
                  <a:gd name="T48" fmla="*/ 2147483647 w 276"/>
                  <a:gd name="T49" fmla="*/ 2147483647 h 426"/>
                  <a:gd name="T50" fmla="*/ 2147483647 w 276"/>
                  <a:gd name="T51" fmla="*/ 2147483647 h 426"/>
                  <a:gd name="T52" fmla="*/ 2147483647 w 276"/>
                  <a:gd name="T53" fmla="*/ 2147483647 h 426"/>
                  <a:gd name="T54" fmla="*/ 2147483647 w 276"/>
                  <a:gd name="T55" fmla="*/ 2147483647 h 426"/>
                  <a:gd name="T56" fmla="*/ 2147483647 w 276"/>
                  <a:gd name="T57" fmla="*/ 2147483647 h 426"/>
                  <a:gd name="T58" fmla="*/ 2147483647 w 276"/>
                  <a:gd name="T59" fmla="*/ 2147483647 h 426"/>
                  <a:gd name="T60" fmla="*/ 2147483647 w 276"/>
                  <a:gd name="T61" fmla="*/ 2147483647 h 426"/>
                  <a:gd name="T62" fmla="*/ 2147483647 w 276"/>
                  <a:gd name="T63" fmla="*/ 2147483647 h 426"/>
                  <a:gd name="T64" fmla="*/ 2147483647 w 276"/>
                  <a:gd name="T65" fmla="*/ 2147483647 h 426"/>
                  <a:gd name="T66" fmla="*/ 2147483647 w 276"/>
                  <a:gd name="T67" fmla="*/ 2147483647 h 426"/>
                  <a:gd name="T68" fmla="*/ 2147483647 w 276"/>
                  <a:gd name="T69" fmla="*/ 2147483647 h 426"/>
                  <a:gd name="T70" fmla="*/ 2147483647 w 276"/>
                  <a:gd name="T71" fmla="*/ 2147483647 h 426"/>
                  <a:gd name="T72" fmla="*/ 2147483647 w 276"/>
                  <a:gd name="T73" fmla="*/ 2147483647 h 426"/>
                  <a:gd name="T74" fmla="*/ 2147483647 w 276"/>
                  <a:gd name="T75" fmla="*/ 2147483647 h 42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76"/>
                  <a:gd name="T115" fmla="*/ 0 h 426"/>
                  <a:gd name="T116" fmla="*/ 276 w 276"/>
                  <a:gd name="T117" fmla="*/ 426 h 42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76" h="426">
                    <a:moveTo>
                      <a:pt x="150" y="402"/>
                    </a:moveTo>
                    <a:lnTo>
                      <a:pt x="132" y="408"/>
                    </a:lnTo>
                    <a:lnTo>
                      <a:pt x="126" y="414"/>
                    </a:lnTo>
                    <a:lnTo>
                      <a:pt x="138" y="426"/>
                    </a:lnTo>
                    <a:lnTo>
                      <a:pt x="162" y="426"/>
                    </a:lnTo>
                    <a:lnTo>
                      <a:pt x="174" y="414"/>
                    </a:lnTo>
                    <a:lnTo>
                      <a:pt x="174" y="408"/>
                    </a:lnTo>
                    <a:lnTo>
                      <a:pt x="168" y="402"/>
                    </a:lnTo>
                    <a:lnTo>
                      <a:pt x="150" y="402"/>
                    </a:lnTo>
                    <a:close/>
                    <a:moveTo>
                      <a:pt x="276" y="246"/>
                    </a:moveTo>
                    <a:lnTo>
                      <a:pt x="270" y="228"/>
                    </a:lnTo>
                    <a:lnTo>
                      <a:pt x="264" y="216"/>
                    </a:lnTo>
                    <a:lnTo>
                      <a:pt x="246" y="198"/>
                    </a:lnTo>
                    <a:lnTo>
                      <a:pt x="252" y="186"/>
                    </a:lnTo>
                    <a:lnTo>
                      <a:pt x="252" y="180"/>
                    </a:lnTo>
                    <a:lnTo>
                      <a:pt x="246" y="162"/>
                    </a:lnTo>
                    <a:lnTo>
                      <a:pt x="240" y="150"/>
                    </a:lnTo>
                    <a:lnTo>
                      <a:pt x="210" y="120"/>
                    </a:lnTo>
                    <a:lnTo>
                      <a:pt x="198" y="102"/>
                    </a:lnTo>
                    <a:lnTo>
                      <a:pt x="168" y="72"/>
                    </a:lnTo>
                    <a:lnTo>
                      <a:pt x="144" y="66"/>
                    </a:lnTo>
                    <a:lnTo>
                      <a:pt x="144" y="60"/>
                    </a:lnTo>
                    <a:lnTo>
                      <a:pt x="138" y="54"/>
                    </a:lnTo>
                    <a:lnTo>
                      <a:pt x="132" y="42"/>
                    </a:lnTo>
                    <a:lnTo>
                      <a:pt x="102" y="12"/>
                    </a:lnTo>
                    <a:lnTo>
                      <a:pt x="96" y="0"/>
                    </a:lnTo>
                    <a:lnTo>
                      <a:pt x="78" y="12"/>
                    </a:lnTo>
                    <a:lnTo>
                      <a:pt x="48" y="12"/>
                    </a:lnTo>
                    <a:lnTo>
                      <a:pt x="24" y="24"/>
                    </a:lnTo>
                    <a:lnTo>
                      <a:pt x="18" y="30"/>
                    </a:lnTo>
                    <a:lnTo>
                      <a:pt x="12" y="30"/>
                    </a:lnTo>
                    <a:lnTo>
                      <a:pt x="12" y="36"/>
                    </a:lnTo>
                    <a:lnTo>
                      <a:pt x="18" y="42"/>
                    </a:lnTo>
                    <a:lnTo>
                      <a:pt x="18" y="48"/>
                    </a:lnTo>
                    <a:lnTo>
                      <a:pt x="12" y="54"/>
                    </a:lnTo>
                    <a:lnTo>
                      <a:pt x="0" y="60"/>
                    </a:lnTo>
                    <a:lnTo>
                      <a:pt x="0" y="66"/>
                    </a:lnTo>
                    <a:lnTo>
                      <a:pt x="6" y="72"/>
                    </a:lnTo>
                    <a:lnTo>
                      <a:pt x="12" y="84"/>
                    </a:lnTo>
                    <a:lnTo>
                      <a:pt x="24" y="90"/>
                    </a:lnTo>
                    <a:lnTo>
                      <a:pt x="30" y="90"/>
                    </a:lnTo>
                    <a:lnTo>
                      <a:pt x="42" y="96"/>
                    </a:lnTo>
                    <a:lnTo>
                      <a:pt x="60" y="132"/>
                    </a:lnTo>
                    <a:lnTo>
                      <a:pt x="54" y="132"/>
                    </a:lnTo>
                    <a:lnTo>
                      <a:pt x="48" y="126"/>
                    </a:lnTo>
                    <a:lnTo>
                      <a:pt x="36" y="126"/>
                    </a:lnTo>
                    <a:lnTo>
                      <a:pt x="24" y="120"/>
                    </a:lnTo>
                    <a:lnTo>
                      <a:pt x="6" y="120"/>
                    </a:lnTo>
                    <a:lnTo>
                      <a:pt x="6" y="126"/>
                    </a:lnTo>
                    <a:lnTo>
                      <a:pt x="18" y="132"/>
                    </a:lnTo>
                    <a:lnTo>
                      <a:pt x="30" y="144"/>
                    </a:lnTo>
                    <a:lnTo>
                      <a:pt x="42" y="150"/>
                    </a:lnTo>
                    <a:lnTo>
                      <a:pt x="54" y="192"/>
                    </a:lnTo>
                    <a:lnTo>
                      <a:pt x="90" y="198"/>
                    </a:lnTo>
                    <a:lnTo>
                      <a:pt x="90" y="228"/>
                    </a:lnTo>
                    <a:lnTo>
                      <a:pt x="78" y="240"/>
                    </a:lnTo>
                    <a:lnTo>
                      <a:pt x="78" y="270"/>
                    </a:lnTo>
                    <a:lnTo>
                      <a:pt x="84" y="282"/>
                    </a:lnTo>
                    <a:lnTo>
                      <a:pt x="102" y="300"/>
                    </a:lnTo>
                    <a:lnTo>
                      <a:pt x="108" y="300"/>
                    </a:lnTo>
                    <a:lnTo>
                      <a:pt x="108" y="306"/>
                    </a:lnTo>
                    <a:lnTo>
                      <a:pt x="102" y="312"/>
                    </a:lnTo>
                    <a:lnTo>
                      <a:pt x="102" y="324"/>
                    </a:lnTo>
                    <a:lnTo>
                      <a:pt x="108" y="330"/>
                    </a:lnTo>
                    <a:lnTo>
                      <a:pt x="132" y="330"/>
                    </a:lnTo>
                    <a:lnTo>
                      <a:pt x="144" y="324"/>
                    </a:lnTo>
                    <a:lnTo>
                      <a:pt x="144" y="318"/>
                    </a:lnTo>
                    <a:lnTo>
                      <a:pt x="150" y="312"/>
                    </a:lnTo>
                    <a:lnTo>
                      <a:pt x="150" y="306"/>
                    </a:lnTo>
                    <a:lnTo>
                      <a:pt x="198" y="282"/>
                    </a:lnTo>
                    <a:lnTo>
                      <a:pt x="222" y="288"/>
                    </a:lnTo>
                    <a:lnTo>
                      <a:pt x="234" y="270"/>
                    </a:lnTo>
                    <a:lnTo>
                      <a:pt x="258" y="270"/>
                    </a:lnTo>
                    <a:lnTo>
                      <a:pt x="270" y="264"/>
                    </a:lnTo>
                    <a:lnTo>
                      <a:pt x="276" y="264"/>
                    </a:lnTo>
                    <a:lnTo>
                      <a:pt x="276" y="246"/>
                    </a:lnTo>
                    <a:close/>
                  </a:path>
                </a:pathLst>
              </a:custGeom>
              <a:solidFill>
                <a:srgbClr val="9D90A0">
                  <a:lumMod val="40000"/>
                  <a:lumOff val="60000"/>
                </a:srgbClr>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174" name="Korea, North" descr="© INSCALE GmbH, 05.05.2010&#10;http://www.presentationload.com/">
                <a:extLst>
                  <a:ext uri="{FF2B5EF4-FFF2-40B4-BE49-F238E27FC236}">
                    <a16:creationId xmlns:a16="http://schemas.microsoft.com/office/drawing/2014/main" id="{F38171AA-CE35-44E0-811F-DEDDD5092D6F}"/>
                  </a:ext>
                </a:extLst>
              </p:cNvPr>
              <p:cNvSpPr>
                <a:spLocks/>
              </p:cNvSpPr>
              <p:nvPr/>
            </p:nvSpPr>
            <p:spPr bwMode="gray">
              <a:xfrm>
                <a:off x="7462438" y="3034457"/>
                <a:ext cx="129473" cy="183666"/>
              </a:xfrm>
              <a:custGeom>
                <a:avLst/>
                <a:gdLst>
                  <a:gd name="T0" fmla="*/ 2147483647 w 330"/>
                  <a:gd name="T1" fmla="*/ 0 h 420"/>
                  <a:gd name="T2" fmla="*/ 2147483647 w 330"/>
                  <a:gd name="T3" fmla="*/ 2147483647 h 420"/>
                  <a:gd name="T4" fmla="*/ 2147483647 w 330"/>
                  <a:gd name="T5" fmla="*/ 2147483647 h 420"/>
                  <a:gd name="T6" fmla="*/ 2147483647 w 330"/>
                  <a:gd name="T7" fmla="*/ 2147483647 h 420"/>
                  <a:gd name="T8" fmla="*/ 2147483647 w 330"/>
                  <a:gd name="T9" fmla="*/ 2147483647 h 420"/>
                  <a:gd name="T10" fmla="*/ 2147483647 w 330"/>
                  <a:gd name="T11" fmla="*/ 2147483647 h 420"/>
                  <a:gd name="T12" fmla="*/ 2147483647 w 330"/>
                  <a:gd name="T13" fmla="*/ 2147483647 h 420"/>
                  <a:gd name="T14" fmla="*/ 2147483647 w 330"/>
                  <a:gd name="T15" fmla="*/ 2147483647 h 420"/>
                  <a:gd name="T16" fmla="*/ 2147483647 w 330"/>
                  <a:gd name="T17" fmla="*/ 2147483647 h 420"/>
                  <a:gd name="T18" fmla="*/ 2147483647 w 330"/>
                  <a:gd name="T19" fmla="*/ 2147483647 h 420"/>
                  <a:gd name="T20" fmla="*/ 2147483647 w 330"/>
                  <a:gd name="T21" fmla="*/ 2147483647 h 420"/>
                  <a:gd name="T22" fmla="*/ 2147483647 w 330"/>
                  <a:gd name="T23" fmla="*/ 2147483647 h 420"/>
                  <a:gd name="T24" fmla="*/ 2147483647 w 330"/>
                  <a:gd name="T25" fmla="*/ 2147483647 h 420"/>
                  <a:gd name="T26" fmla="*/ 2147483647 w 330"/>
                  <a:gd name="T27" fmla="*/ 2147483647 h 420"/>
                  <a:gd name="T28" fmla="*/ 2147483647 w 330"/>
                  <a:gd name="T29" fmla="*/ 2147483647 h 420"/>
                  <a:gd name="T30" fmla="*/ 2147483647 w 330"/>
                  <a:gd name="T31" fmla="*/ 2147483647 h 420"/>
                  <a:gd name="T32" fmla="*/ 2147483647 w 330"/>
                  <a:gd name="T33" fmla="*/ 2147483647 h 420"/>
                  <a:gd name="T34" fmla="*/ 2147483647 w 330"/>
                  <a:gd name="T35" fmla="*/ 2147483647 h 420"/>
                  <a:gd name="T36" fmla="*/ 2147483647 w 330"/>
                  <a:gd name="T37" fmla="*/ 2147483647 h 420"/>
                  <a:gd name="T38" fmla="*/ 2147483647 w 330"/>
                  <a:gd name="T39" fmla="*/ 2147483647 h 420"/>
                  <a:gd name="T40" fmla="*/ 2147483647 w 330"/>
                  <a:gd name="T41" fmla="*/ 2147483647 h 420"/>
                  <a:gd name="T42" fmla="*/ 2147483647 w 330"/>
                  <a:gd name="T43" fmla="*/ 2147483647 h 420"/>
                  <a:gd name="T44" fmla="*/ 2147483647 w 330"/>
                  <a:gd name="T45" fmla="*/ 2147483647 h 420"/>
                  <a:gd name="T46" fmla="*/ 2147483647 w 330"/>
                  <a:gd name="T47" fmla="*/ 2147483647 h 420"/>
                  <a:gd name="T48" fmla="*/ 2147483647 w 330"/>
                  <a:gd name="T49" fmla="*/ 2147483647 h 420"/>
                  <a:gd name="T50" fmla="*/ 2147483647 w 330"/>
                  <a:gd name="T51" fmla="*/ 2147483647 h 420"/>
                  <a:gd name="T52" fmla="*/ 2147483647 w 330"/>
                  <a:gd name="T53" fmla="*/ 2147483647 h 420"/>
                  <a:gd name="T54" fmla="*/ 2147483647 w 330"/>
                  <a:gd name="T55" fmla="*/ 2147483647 h 420"/>
                  <a:gd name="T56" fmla="*/ 2147483647 w 330"/>
                  <a:gd name="T57" fmla="*/ 2147483647 h 420"/>
                  <a:gd name="T58" fmla="*/ 2147483647 w 330"/>
                  <a:gd name="T59" fmla="*/ 2147483647 h 420"/>
                  <a:gd name="T60" fmla="*/ 2147483647 w 330"/>
                  <a:gd name="T61" fmla="*/ 2147483647 h 420"/>
                  <a:gd name="T62" fmla="*/ 2147483647 w 330"/>
                  <a:gd name="T63" fmla="*/ 2147483647 h 420"/>
                  <a:gd name="T64" fmla="*/ 2147483647 w 330"/>
                  <a:gd name="T65" fmla="*/ 2147483647 h 420"/>
                  <a:gd name="T66" fmla="*/ 2147483647 w 330"/>
                  <a:gd name="T67" fmla="*/ 2147483647 h 420"/>
                  <a:gd name="T68" fmla="*/ 2147483647 w 330"/>
                  <a:gd name="T69" fmla="*/ 2147483647 h 420"/>
                  <a:gd name="T70" fmla="*/ 2147483647 w 330"/>
                  <a:gd name="T71" fmla="*/ 2147483647 h 420"/>
                  <a:gd name="T72" fmla="*/ 2147483647 w 330"/>
                  <a:gd name="T73" fmla="*/ 2147483647 h 420"/>
                  <a:gd name="T74" fmla="*/ 2147483647 w 330"/>
                  <a:gd name="T75" fmla="*/ 2147483647 h 420"/>
                  <a:gd name="T76" fmla="*/ 2147483647 w 330"/>
                  <a:gd name="T77" fmla="*/ 2147483647 h 420"/>
                  <a:gd name="T78" fmla="*/ 2147483647 w 330"/>
                  <a:gd name="T79" fmla="*/ 2147483647 h 420"/>
                  <a:gd name="T80" fmla="*/ 2147483647 w 330"/>
                  <a:gd name="T81" fmla="*/ 2147483647 h 420"/>
                  <a:gd name="T82" fmla="*/ 2147483647 w 330"/>
                  <a:gd name="T83" fmla="*/ 2147483647 h 420"/>
                  <a:gd name="T84" fmla="*/ 2147483647 w 330"/>
                  <a:gd name="T85" fmla="*/ 2147483647 h 420"/>
                  <a:gd name="T86" fmla="*/ 2147483647 w 330"/>
                  <a:gd name="T87" fmla="*/ 2147483647 h 420"/>
                  <a:gd name="T88" fmla="*/ 2147483647 w 330"/>
                  <a:gd name="T89" fmla="*/ 2147483647 h 420"/>
                  <a:gd name="T90" fmla="*/ 2147483647 w 330"/>
                  <a:gd name="T91" fmla="*/ 2147483647 h 420"/>
                  <a:gd name="T92" fmla="*/ 2147483647 w 330"/>
                  <a:gd name="T93" fmla="*/ 2147483647 h 420"/>
                  <a:gd name="T94" fmla="*/ 2147483647 w 330"/>
                  <a:gd name="T95" fmla="*/ 2147483647 h 420"/>
                  <a:gd name="T96" fmla="*/ 2147483647 w 330"/>
                  <a:gd name="T97" fmla="*/ 2147483647 h 420"/>
                  <a:gd name="T98" fmla="*/ 2147483647 w 330"/>
                  <a:gd name="T99" fmla="*/ 2147483647 h 420"/>
                  <a:gd name="T100" fmla="*/ 2147483647 w 330"/>
                  <a:gd name="T101" fmla="*/ 2147483647 h 420"/>
                  <a:gd name="T102" fmla="*/ 2147483647 w 330"/>
                  <a:gd name="T103" fmla="*/ 0 h 42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330"/>
                  <a:gd name="T157" fmla="*/ 0 h 420"/>
                  <a:gd name="T158" fmla="*/ 330 w 330"/>
                  <a:gd name="T159" fmla="*/ 420 h 42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330" h="420">
                    <a:moveTo>
                      <a:pt x="270" y="0"/>
                    </a:moveTo>
                    <a:lnTo>
                      <a:pt x="240" y="0"/>
                    </a:lnTo>
                    <a:lnTo>
                      <a:pt x="240" y="6"/>
                    </a:lnTo>
                    <a:lnTo>
                      <a:pt x="246" y="12"/>
                    </a:lnTo>
                    <a:lnTo>
                      <a:pt x="252" y="24"/>
                    </a:lnTo>
                    <a:lnTo>
                      <a:pt x="252" y="42"/>
                    </a:lnTo>
                    <a:lnTo>
                      <a:pt x="228" y="42"/>
                    </a:lnTo>
                    <a:lnTo>
                      <a:pt x="234" y="54"/>
                    </a:lnTo>
                    <a:lnTo>
                      <a:pt x="234" y="60"/>
                    </a:lnTo>
                    <a:lnTo>
                      <a:pt x="228" y="72"/>
                    </a:lnTo>
                    <a:lnTo>
                      <a:pt x="216" y="78"/>
                    </a:lnTo>
                    <a:lnTo>
                      <a:pt x="204" y="72"/>
                    </a:lnTo>
                    <a:lnTo>
                      <a:pt x="180" y="72"/>
                    </a:lnTo>
                    <a:lnTo>
                      <a:pt x="174" y="66"/>
                    </a:lnTo>
                    <a:lnTo>
                      <a:pt x="168" y="72"/>
                    </a:lnTo>
                    <a:lnTo>
                      <a:pt x="168" y="84"/>
                    </a:lnTo>
                    <a:lnTo>
                      <a:pt x="192" y="108"/>
                    </a:lnTo>
                    <a:lnTo>
                      <a:pt x="198" y="108"/>
                    </a:lnTo>
                    <a:lnTo>
                      <a:pt x="198" y="120"/>
                    </a:lnTo>
                    <a:lnTo>
                      <a:pt x="150" y="120"/>
                    </a:lnTo>
                    <a:lnTo>
                      <a:pt x="138" y="114"/>
                    </a:lnTo>
                    <a:lnTo>
                      <a:pt x="126" y="114"/>
                    </a:lnTo>
                    <a:lnTo>
                      <a:pt x="114" y="102"/>
                    </a:lnTo>
                    <a:lnTo>
                      <a:pt x="102" y="96"/>
                    </a:lnTo>
                    <a:lnTo>
                      <a:pt x="90" y="96"/>
                    </a:lnTo>
                    <a:lnTo>
                      <a:pt x="90" y="102"/>
                    </a:lnTo>
                    <a:lnTo>
                      <a:pt x="84" y="108"/>
                    </a:lnTo>
                    <a:lnTo>
                      <a:pt x="84" y="138"/>
                    </a:lnTo>
                    <a:lnTo>
                      <a:pt x="66" y="174"/>
                    </a:lnTo>
                    <a:lnTo>
                      <a:pt x="54" y="186"/>
                    </a:lnTo>
                    <a:lnTo>
                      <a:pt x="18" y="204"/>
                    </a:lnTo>
                    <a:lnTo>
                      <a:pt x="12" y="216"/>
                    </a:lnTo>
                    <a:lnTo>
                      <a:pt x="6" y="222"/>
                    </a:lnTo>
                    <a:lnTo>
                      <a:pt x="6" y="234"/>
                    </a:lnTo>
                    <a:lnTo>
                      <a:pt x="0" y="246"/>
                    </a:lnTo>
                    <a:lnTo>
                      <a:pt x="12" y="228"/>
                    </a:lnTo>
                    <a:lnTo>
                      <a:pt x="18" y="246"/>
                    </a:lnTo>
                    <a:lnTo>
                      <a:pt x="36" y="270"/>
                    </a:lnTo>
                    <a:lnTo>
                      <a:pt x="48" y="252"/>
                    </a:lnTo>
                    <a:lnTo>
                      <a:pt x="54" y="258"/>
                    </a:lnTo>
                    <a:lnTo>
                      <a:pt x="60" y="270"/>
                    </a:lnTo>
                    <a:lnTo>
                      <a:pt x="96" y="270"/>
                    </a:lnTo>
                    <a:lnTo>
                      <a:pt x="96" y="282"/>
                    </a:lnTo>
                    <a:lnTo>
                      <a:pt x="102" y="294"/>
                    </a:lnTo>
                    <a:lnTo>
                      <a:pt x="102" y="336"/>
                    </a:lnTo>
                    <a:lnTo>
                      <a:pt x="138" y="336"/>
                    </a:lnTo>
                    <a:lnTo>
                      <a:pt x="144" y="348"/>
                    </a:lnTo>
                    <a:lnTo>
                      <a:pt x="132" y="342"/>
                    </a:lnTo>
                    <a:lnTo>
                      <a:pt x="108" y="342"/>
                    </a:lnTo>
                    <a:lnTo>
                      <a:pt x="102" y="348"/>
                    </a:lnTo>
                    <a:lnTo>
                      <a:pt x="102" y="360"/>
                    </a:lnTo>
                    <a:lnTo>
                      <a:pt x="108" y="378"/>
                    </a:lnTo>
                    <a:lnTo>
                      <a:pt x="114" y="384"/>
                    </a:lnTo>
                    <a:lnTo>
                      <a:pt x="126" y="408"/>
                    </a:lnTo>
                    <a:lnTo>
                      <a:pt x="156" y="396"/>
                    </a:lnTo>
                    <a:lnTo>
                      <a:pt x="162" y="402"/>
                    </a:lnTo>
                    <a:lnTo>
                      <a:pt x="174" y="408"/>
                    </a:lnTo>
                    <a:lnTo>
                      <a:pt x="180" y="414"/>
                    </a:lnTo>
                    <a:lnTo>
                      <a:pt x="192" y="420"/>
                    </a:lnTo>
                    <a:lnTo>
                      <a:pt x="198" y="420"/>
                    </a:lnTo>
                    <a:lnTo>
                      <a:pt x="216" y="414"/>
                    </a:lnTo>
                    <a:lnTo>
                      <a:pt x="228" y="414"/>
                    </a:lnTo>
                    <a:lnTo>
                      <a:pt x="240" y="408"/>
                    </a:lnTo>
                    <a:lnTo>
                      <a:pt x="246" y="402"/>
                    </a:lnTo>
                    <a:lnTo>
                      <a:pt x="246" y="396"/>
                    </a:lnTo>
                    <a:lnTo>
                      <a:pt x="240" y="390"/>
                    </a:lnTo>
                    <a:lnTo>
                      <a:pt x="240" y="384"/>
                    </a:lnTo>
                    <a:lnTo>
                      <a:pt x="246" y="384"/>
                    </a:lnTo>
                    <a:lnTo>
                      <a:pt x="252" y="378"/>
                    </a:lnTo>
                    <a:lnTo>
                      <a:pt x="276" y="366"/>
                    </a:lnTo>
                    <a:lnTo>
                      <a:pt x="306" y="366"/>
                    </a:lnTo>
                    <a:lnTo>
                      <a:pt x="324" y="354"/>
                    </a:lnTo>
                    <a:lnTo>
                      <a:pt x="312" y="342"/>
                    </a:lnTo>
                    <a:lnTo>
                      <a:pt x="312" y="336"/>
                    </a:lnTo>
                    <a:lnTo>
                      <a:pt x="264" y="312"/>
                    </a:lnTo>
                    <a:lnTo>
                      <a:pt x="240" y="312"/>
                    </a:lnTo>
                    <a:lnTo>
                      <a:pt x="240" y="300"/>
                    </a:lnTo>
                    <a:lnTo>
                      <a:pt x="246" y="288"/>
                    </a:lnTo>
                    <a:lnTo>
                      <a:pt x="252" y="282"/>
                    </a:lnTo>
                    <a:lnTo>
                      <a:pt x="246" y="276"/>
                    </a:lnTo>
                    <a:lnTo>
                      <a:pt x="234" y="270"/>
                    </a:lnTo>
                    <a:lnTo>
                      <a:pt x="228" y="264"/>
                    </a:lnTo>
                    <a:lnTo>
                      <a:pt x="228" y="252"/>
                    </a:lnTo>
                    <a:lnTo>
                      <a:pt x="240" y="246"/>
                    </a:lnTo>
                    <a:lnTo>
                      <a:pt x="246" y="240"/>
                    </a:lnTo>
                    <a:lnTo>
                      <a:pt x="258" y="234"/>
                    </a:lnTo>
                    <a:lnTo>
                      <a:pt x="270" y="234"/>
                    </a:lnTo>
                    <a:lnTo>
                      <a:pt x="276" y="228"/>
                    </a:lnTo>
                    <a:lnTo>
                      <a:pt x="288" y="204"/>
                    </a:lnTo>
                    <a:lnTo>
                      <a:pt x="288" y="192"/>
                    </a:lnTo>
                    <a:lnTo>
                      <a:pt x="294" y="186"/>
                    </a:lnTo>
                    <a:lnTo>
                      <a:pt x="300" y="174"/>
                    </a:lnTo>
                    <a:lnTo>
                      <a:pt x="324" y="162"/>
                    </a:lnTo>
                    <a:lnTo>
                      <a:pt x="312" y="132"/>
                    </a:lnTo>
                    <a:lnTo>
                      <a:pt x="306" y="126"/>
                    </a:lnTo>
                    <a:lnTo>
                      <a:pt x="294" y="102"/>
                    </a:lnTo>
                    <a:lnTo>
                      <a:pt x="294" y="90"/>
                    </a:lnTo>
                    <a:lnTo>
                      <a:pt x="306" y="66"/>
                    </a:lnTo>
                    <a:lnTo>
                      <a:pt x="318" y="60"/>
                    </a:lnTo>
                    <a:lnTo>
                      <a:pt x="324" y="54"/>
                    </a:lnTo>
                    <a:lnTo>
                      <a:pt x="330" y="54"/>
                    </a:lnTo>
                    <a:lnTo>
                      <a:pt x="312" y="36"/>
                    </a:lnTo>
                    <a:lnTo>
                      <a:pt x="288" y="24"/>
                    </a:lnTo>
                    <a:lnTo>
                      <a:pt x="270" y="0"/>
                    </a:lnTo>
                    <a:close/>
                  </a:path>
                </a:pathLst>
              </a:custGeom>
              <a:solidFill>
                <a:srgbClr val="9D90A0">
                  <a:lumMod val="40000"/>
                  <a:lumOff val="60000"/>
                </a:srgbClr>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175" name="Japan" descr="© INSCALE GmbH, 05.05.2010&#10;http://www.presentationload.com/">
                <a:extLst>
                  <a:ext uri="{FF2B5EF4-FFF2-40B4-BE49-F238E27FC236}">
                    <a16:creationId xmlns:a16="http://schemas.microsoft.com/office/drawing/2014/main" id="{E1DCE820-6152-4A69-BF85-0D367D280EA8}"/>
                  </a:ext>
                </a:extLst>
              </p:cNvPr>
              <p:cNvSpPr>
                <a:spLocks noEditPoints="1"/>
              </p:cNvSpPr>
              <p:nvPr/>
            </p:nvSpPr>
            <p:spPr bwMode="gray">
              <a:xfrm>
                <a:off x="7613749" y="2944357"/>
                <a:ext cx="346300" cy="751992"/>
              </a:xfrm>
              <a:custGeom>
                <a:avLst/>
                <a:gdLst>
                  <a:gd name="T0" fmla="*/ 2147483647 w 876"/>
                  <a:gd name="T1" fmla="*/ 2147483647 h 1710"/>
                  <a:gd name="T2" fmla="*/ 2147483647 w 876"/>
                  <a:gd name="T3" fmla="*/ 2147483647 h 1710"/>
                  <a:gd name="T4" fmla="*/ 2147483647 w 876"/>
                  <a:gd name="T5" fmla="*/ 2147483647 h 1710"/>
                  <a:gd name="T6" fmla="*/ 2147483647 w 876"/>
                  <a:gd name="T7" fmla="*/ 2147483647 h 1710"/>
                  <a:gd name="T8" fmla="*/ 2147483647 w 876"/>
                  <a:gd name="T9" fmla="*/ 2147483647 h 1710"/>
                  <a:gd name="T10" fmla="*/ 2147483647 w 876"/>
                  <a:gd name="T11" fmla="*/ 2147483647 h 1710"/>
                  <a:gd name="T12" fmla="*/ 2147483647 w 876"/>
                  <a:gd name="T13" fmla="*/ 2147483647 h 1710"/>
                  <a:gd name="T14" fmla="*/ 2147483647 w 876"/>
                  <a:gd name="T15" fmla="*/ 2147483647 h 1710"/>
                  <a:gd name="T16" fmla="*/ 2147483647 w 876"/>
                  <a:gd name="T17" fmla="*/ 2147483647 h 1710"/>
                  <a:gd name="T18" fmla="*/ 2147483647 w 876"/>
                  <a:gd name="T19" fmla="*/ 2147483647 h 1710"/>
                  <a:gd name="T20" fmla="*/ 2147483647 w 876"/>
                  <a:gd name="T21" fmla="*/ 2147483647 h 1710"/>
                  <a:gd name="T22" fmla="*/ 2147483647 w 876"/>
                  <a:gd name="T23" fmla="*/ 2147483647 h 1710"/>
                  <a:gd name="T24" fmla="*/ 2147483647 w 876"/>
                  <a:gd name="T25" fmla="*/ 2147483647 h 1710"/>
                  <a:gd name="T26" fmla="*/ 2147483647 w 876"/>
                  <a:gd name="T27" fmla="*/ 2147483647 h 1710"/>
                  <a:gd name="T28" fmla="*/ 2147483647 w 876"/>
                  <a:gd name="T29" fmla="*/ 2147483647 h 1710"/>
                  <a:gd name="T30" fmla="*/ 2147483647 w 876"/>
                  <a:gd name="T31" fmla="*/ 2147483647 h 1710"/>
                  <a:gd name="T32" fmla="*/ 2147483647 w 876"/>
                  <a:gd name="T33" fmla="*/ 2147483647 h 1710"/>
                  <a:gd name="T34" fmla="*/ 2147483647 w 876"/>
                  <a:gd name="T35" fmla="*/ 2147483647 h 1710"/>
                  <a:gd name="T36" fmla="*/ 2147483647 w 876"/>
                  <a:gd name="T37" fmla="*/ 2147483647 h 1710"/>
                  <a:gd name="T38" fmla="*/ 2147483647 w 876"/>
                  <a:gd name="T39" fmla="*/ 2147483647 h 1710"/>
                  <a:gd name="T40" fmla="*/ 2147483647 w 876"/>
                  <a:gd name="T41" fmla="*/ 2147483647 h 1710"/>
                  <a:gd name="T42" fmla="*/ 2147483647 w 876"/>
                  <a:gd name="T43" fmla="*/ 2147483647 h 1710"/>
                  <a:gd name="T44" fmla="*/ 2147483647 w 876"/>
                  <a:gd name="T45" fmla="*/ 2147483647 h 1710"/>
                  <a:gd name="T46" fmla="*/ 2147483647 w 876"/>
                  <a:gd name="T47" fmla="*/ 2147483647 h 1710"/>
                  <a:gd name="T48" fmla="*/ 2147483647 w 876"/>
                  <a:gd name="T49" fmla="*/ 2147483647 h 1710"/>
                  <a:gd name="T50" fmla="*/ 2147483647 w 876"/>
                  <a:gd name="T51" fmla="*/ 2147483647 h 1710"/>
                  <a:gd name="T52" fmla="*/ 2147483647 w 876"/>
                  <a:gd name="T53" fmla="*/ 2147483647 h 1710"/>
                  <a:gd name="T54" fmla="*/ 2147483647 w 876"/>
                  <a:gd name="T55" fmla="*/ 2147483647 h 1710"/>
                  <a:gd name="T56" fmla="*/ 2147483647 w 876"/>
                  <a:gd name="T57" fmla="*/ 2147483647 h 1710"/>
                  <a:gd name="T58" fmla="*/ 2147483647 w 876"/>
                  <a:gd name="T59" fmla="*/ 2147483647 h 1710"/>
                  <a:gd name="T60" fmla="*/ 2147483647 w 876"/>
                  <a:gd name="T61" fmla="*/ 2147483647 h 1710"/>
                  <a:gd name="T62" fmla="*/ 2147483647 w 876"/>
                  <a:gd name="T63" fmla="*/ 2147483647 h 1710"/>
                  <a:gd name="T64" fmla="*/ 2147483647 w 876"/>
                  <a:gd name="T65" fmla="*/ 2147483647 h 1710"/>
                  <a:gd name="T66" fmla="*/ 2147483647 w 876"/>
                  <a:gd name="T67" fmla="*/ 2147483647 h 1710"/>
                  <a:gd name="T68" fmla="*/ 2147483647 w 876"/>
                  <a:gd name="T69" fmla="*/ 2147483647 h 1710"/>
                  <a:gd name="T70" fmla="*/ 2147483647 w 876"/>
                  <a:gd name="T71" fmla="*/ 2147483647 h 1710"/>
                  <a:gd name="T72" fmla="*/ 2147483647 w 876"/>
                  <a:gd name="T73" fmla="*/ 2147483647 h 1710"/>
                  <a:gd name="T74" fmla="*/ 2147483647 w 876"/>
                  <a:gd name="T75" fmla="*/ 2147483647 h 1710"/>
                  <a:gd name="T76" fmla="*/ 2147483647 w 876"/>
                  <a:gd name="T77" fmla="*/ 2147483647 h 1710"/>
                  <a:gd name="T78" fmla="*/ 2147483647 w 876"/>
                  <a:gd name="T79" fmla="*/ 2147483647 h 1710"/>
                  <a:gd name="T80" fmla="*/ 2147483647 w 876"/>
                  <a:gd name="T81" fmla="*/ 2147483647 h 1710"/>
                  <a:gd name="T82" fmla="*/ 2147483647 w 876"/>
                  <a:gd name="T83" fmla="*/ 2147483647 h 1710"/>
                  <a:gd name="T84" fmla="*/ 2147483647 w 876"/>
                  <a:gd name="T85" fmla="*/ 2147483647 h 1710"/>
                  <a:gd name="T86" fmla="*/ 2147483647 w 876"/>
                  <a:gd name="T87" fmla="*/ 2147483647 h 1710"/>
                  <a:gd name="T88" fmla="*/ 2147483647 w 876"/>
                  <a:gd name="T89" fmla="*/ 2147483647 h 1710"/>
                  <a:gd name="T90" fmla="*/ 2147483647 w 876"/>
                  <a:gd name="T91" fmla="*/ 2147483647 h 1710"/>
                  <a:gd name="T92" fmla="*/ 2147483647 w 876"/>
                  <a:gd name="T93" fmla="*/ 2147483647 h 1710"/>
                  <a:gd name="T94" fmla="*/ 2147483647 w 876"/>
                  <a:gd name="T95" fmla="*/ 2147483647 h 1710"/>
                  <a:gd name="T96" fmla="*/ 2147483647 w 876"/>
                  <a:gd name="T97" fmla="*/ 2147483647 h 1710"/>
                  <a:gd name="T98" fmla="*/ 2147483647 w 876"/>
                  <a:gd name="T99" fmla="*/ 2147483647 h 1710"/>
                  <a:gd name="T100" fmla="*/ 2147483647 w 876"/>
                  <a:gd name="T101" fmla="*/ 2147483647 h 1710"/>
                  <a:gd name="T102" fmla="*/ 2147483647 w 876"/>
                  <a:gd name="T103" fmla="*/ 2147483647 h 1710"/>
                  <a:gd name="T104" fmla="*/ 2147483647 w 876"/>
                  <a:gd name="T105" fmla="*/ 2147483647 h 1710"/>
                  <a:gd name="T106" fmla="*/ 2147483647 w 876"/>
                  <a:gd name="T107" fmla="*/ 2147483647 h 1710"/>
                  <a:gd name="T108" fmla="*/ 2147483647 w 876"/>
                  <a:gd name="T109" fmla="*/ 2147483647 h 1710"/>
                  <a:gd name="T110" fmla="*/ 2147483647 w 876"/>
                  <a:gd name="T111" fmla="*/ 2147483647 h 1710"/>
                  <a:gd name="T112" fmla="*/ 2147483647 w 876"/>
                  <a:gd name="T113" fmla="*/ 2147483647 h 1710"/>
                  <a:gd name="T114" fmla="*/ 2147483647 w 876"/>
                  <a:gd name="T115" fmla="*/ 2147483647 h 1710"/>
                  <a:gd name="T116" fmla="*/ 2147483647 w 876"/>
                  <a:gd name="T117" fmla="*/ 2147483647 h 1710"/>
                  <a:gd name="T118" fmla="*/ 2147483647 w 876"/>
                  <a:gd name="T119" fmla="*/ 2147483647 h 171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76"/>
                  <a:gd name="T181" fmla="*/ 0 h 1710"/>
                  <a:gd name="T182" fmla="*/ 876 w 876"/>
                  <a:gd name="T183" fmla="*/ 1710 h 171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76" h="1710">
                    <a:moveTo>
                      <a:pt x="876" y="780"/>
                    </a:moveTo>
                    <a:lnTo>
                      <a:pt x="864" y="774"/>
                    </a:lnTo>
                    <a:lnTo>
                      <a:pt x="858" y="768"/>
                    </a:lnTo>
                    <a:lnTo>
                      <a:pt x="846" y="762"/>
                    </a:lnTo>
                    <a:lnTo>
                      <a:pt x="840" y="750"/>
                    </a:lnTo>
                    <a:lnTo>
                      <a:pt x="828" y="744"/>
                    </a:lnTo>
                    <a:lnTo>
                      <a:pt x="828" y="720"/>
                    </a:lnTo>
                    <a:lnTo>
                      <a:pt x="834" y="702"/>
                    </a:lnTo>
                    <a:lnTo>
                      <a:pt x="834" y="684"/>
                    </a:lnTo>
                    <a:lnTo>
                      <a:pt x="828" y="666"/>
                    </a:lnTo>
                    <a:lnTo>
                      <a:pt x="816" y="642"/>
                    </a:lnTo>
                    <a:lnTo>
                      <a:pt x="792" y="618"/>
                    </a:lnTo>
                    <a:lnTo>
                      <a:pt x="786" y="600"/>
                    </a:lnTo>
                    <a:lnTo>
                      <a:pt x="786" y="576"/>
                    </a:lnTo>
                    <a:lnTo>
                      <a:pt x="792" y="570"/>
                    </a:lnTo>
                    <a:lnTo>
                      <a:pt x="810" y="570"/>
                    </a:lnTo>
                    <a:lnTo>
                      <a:pt x="810" y="528"/>
                    </a:lnTo>
                    <a:lnTo>
                      <a:pt x="798" y="516"/>
                    </a:lnTo>
                    <a:lnTo>
                      <a:pt x="810" y="510"/>
                    </a:lnTo>
                    <a:lnTo>
                      <a:pt x="810" y="498"/>
                    </a:lnTo>
                    <a:lnTo>
                      <a:pt x="804" y="486"/>
                    </a:lnTo>
                    <a:lnTo>
                      <a:pt x="804" y="474"/>
                    </a:lnTo>
                    <a:lnTo>
                      <a:pt x="798" y="468"/>
                    </a:lnTo>
                    <a:lnTo>
                      <a:pt x="792" y="456"/>
                    </a:lnTo>
                    <a:lnTo>
                      <a:pt x="786" y="450"/>
                    </a:lnTo>
                    <a:lnTo>
                      <a:pt x="774" y="444"/>
                    </a:lnTo>
                    <a:lnTo>
                      <a:pt x="768" y="438"/>
                    </a:lnTo>
                    <a:lnTo>
                      <a:pt x="762" y="420"/>
                    </a:lnTo>
                    <a:lnTo>
                      <a:pt x="756" y="420"/>
                    </a:lnTo>
                    <a:lnTo>
                      <a:pt x="738" y="402"/>
                    </a:lnTo>
                    <a:lnTo>
                      <a:pt x="714" y="390"/>
                    </a:lnTo>
                    <a:lnTo>
                      <a:pt x="702" y="378"/>
                    </a:lnTo>
                    <a:lnTo>
                      <a:pt x="696" y="360"/>
                    </a:lnTo>
                    <a:lnTo>
                      <a:pt x="690" y="348"/>
                    </a:lnTo>
                    <a:lnTo>
                      <a:pt x="690" y="330"/>
                    </a:lnTo>
                    <a:lnTo>
                      <a:pt x="684" y="324"/>
                    </a:lnTo>
                    <a:lnTo>
                      <a:pt x="678" y="324"/>
                    </a:lnTo>
                    <a:lnTo>
                      <a:pt x="666" y="318"/>
                    </a:lnTo>
                    <a:lnTo>
                      <a:pt x="654" y="318"/>
                    </a:lnTo>
                    <a:lnTo>
                      <a:pt x="648" y="324"/>
                    </a:lnTo>
                    <a:lnTo>
                      <a:pt x="648" y="342"/>
                    </a:lnTo>
                    <a:lnTo>
                      <a:pt x="654" y="342"/>
                    </a:lnTo>
                    <a:lnTo>
                      <a:pt x="660" y="348"/>
                    </a:lnTo>
                    <a:lnTo>
                      <a:pt x="672" y="342"/>
                    </a:lnTo>
                    <a:lnTo>
                      <a:pt x="678" y="348"/>
                    </a:lnTo>
                    <a:lnTo>
                      <a:pt x="678" y="366"/>
                    </a:lnTo>
                    <a:lnTo>
                      <a:pt x="672" y="366"/>
                    </a:lnTo>
                    <a:lnTo>
                      <a:pt x="666" y="360"/>
                    </a:lnTo>
                    <a:lnTo>
                      <a:pt x="654" y="372"/>
                    </a:lnTo>
                    <a:lnTo>
                      <a:pt x="630" y="342"/>
                    </a:lnTo>
                    <a:lnTo>
                      <a:pt x="612" y="342"/>
                    </a:lnTo>
                    <a:lnTo>
                      <a:pt x="636" y="378"/>
                    </a:lnTo>
                    <a:lnTo>
                      <a:pt x="618" y="378"/>
                    </a:lnTo>
                    <a:lnTo>
                      <a:pt x="648" y="426"/>
                    </a:lnTo>
                    <a:lnTo>
                      <a:pt x="636" y="438"/>
                    </a:lnTo>
                    <a:lnTo>
                      <a:pt x="648" y="444"/>
                    </a:lnTo>
                    <a:lnTo>
                      <a:pt x="666" y="462"/>
                    </a:lnTo>
                    <a:lnTo>
                      <a:pt x="678" y="468"/>
                    </a:lnTo>
                    <a:lnTo>
                      <a:pt x="684" y="480"/>
                    </a:lnTo>
                    <a:lnTo>
                      <a:pt x="684" y="504"/>
                    </a:lnTo>
                    <a:lnTo>
                      <a:pt x="678" y="516"/>
                    </a:lnTo>
                    <a:lnTo>
                      <a:pt x="678" y="534"/>
                    </a:lnTo>
                    <a:lnTo>
                      <a:pt x="672" y="540"/>
                    </a:lnTo>
                    <a:lnTo>
                      <a:pt x="672" y="570"/>
                    </a:lnTo>
                    <a:lnTo>
                      <a:pt x="678" y="570"/>
                    </a:lnTo>
                    <a:lnTo>
                      <a:pt x="690" y="582"/>
                    </a:lnTo>
                    <a:lnTo>
                      <a:pt x="690" y="600"/>
                    </a:lnTo>
                    <a:lnTo>
                      <a:pt x="678" y="606"/>
                    </a:lnTo>
                    <a:lnTo>
                      <a:pt x="660" y="606"/>
                    </a:lnTo>
                    <a:lnTo>
                      <a:pt x="660" y="618"/>
                    </a:lnTo>
                    <a:lnTo>
                      <a:pt x="666" y="630"/>
                    </a:lnTo>
                    <a:lnTo>
                      <a:pt x="666" y="642"/>
                    </a:lnTo>
                    <a:lnTo>
                      <a:pt x="660" y="654"/>
                    </a:lnTo>
                    <a:lnTo>
                      <a:pt x="654" y="660"/>
                    </a:lnTo>
                    <a:lnTo>
                      <a:pt x="642" y="666"/>
                    </a:lnTo>
                    <a:lnTo>
                      <a:pt x="630" y="666"/>
                    </a:lnTo>
                    <a:lnTo>
                      <a:pt x="618" y="672"/>
                    </a:lnTo>
                    <a:lnTo>
                      <a:pt x="612" y="678"/>
                    </a:lnTo>
                    <a:lnTo>
                      <a:pt x="606" y="678"/>
                    </a:lnTo>
                    <a:lnTo>
                      <a:pt x="606" y="696"/>
                    </a:lnTo>
                    <a:lnTo>
                      <a:pt x="588" y="696"/>
                    </a:lnTo>
                    <a:lnTo>
                      <a:pt x="564" y="672"/>
                    </a:lnTo>
                    <a:lnTo>
                      <a:pt x="564" y="654"/>
                    </a:lnTo>
                    <a:lnTo>
                      <a:pt x="570" y="636"/>
                    </a:lnTo>
                    <a:lnTo>
                      <a:pt x="558" y="636"/>
                    </a:lnTo>
                    <a:lnTo>
                      <a:pt x="552" y="642"/>
                    </a:lnTo>
                    <a:lnTo>
                      <a:pt x="540" y="648"/>
                    </a:lnTo>
                    <a:lnTo>
                      <a:pt x="534" y="654"/>
                    </a:lnTo>
                    <a:lnTo>
                      <a:pt x="534" y="660"/>
                    </a:lnTo>
                    <a:lnTo>
                      <a:pt x="540" y="666"/>
                    </a:lnTo>
                    <a:lnTo>
                      <a:pt x="558" y="702"/>
                    </a:lnTo>
                    <a:lnTo>
                      <a:pt x="558" y="714"/>
                    </a:lnTo>
                    <a:lnTo>
                      <a:pt x="552" y="720"/>
                    </a:lnTo>
                    <a:lnTo>
                      <a:pt x="540" y="744"/>
                    </a:lnTo>
                    <a:lnTo>
                      <a:pt x="540" y="756"/>
                    </a:lnTo>
                    <a:lnTo>
                      <a:pt x="546" y="762"/>
                    </a:lnTo>
                    <a:lnTo>
                      <a:pt x="546" y="768"/>
                    </a:lnTo>
                    <a:lnTo>
                      <a:pt x="552" y="780"/>
                    </a:lnTo>
                    <a:lnTo>
                      <a:pt x="558" y="786"/>
                    </a:lnTo>
                    <a:lnTo>
                      <a:pt x="558" y="792"/>
                    </a:lnTo>
                    <a:lnTo>
                      <a:pt x="522" y="792"/>
                    </a:lnTo>
                    <a:lnTo>
                      <a:pt x="498" y="780"/>
                    </a:lnTo>
                    <a:lnTo>
                      <a:pt x="474" y="780"/>
                    </a:lnTo>
                    <a:lnTo>
                      <a:pt x="450" y="792"/>
                    </a:lnTo>
                    <a:lnTo>
                      <a:pt x="438" y="792"/>
                    </a:lnTo>
                    <a:lnTo>
                      <a:pt x="420" y="798"/>
                    </a:lnTo>
                    <a:lnTo>
                      <a:pt x="414" y="804"/>
                    </a:lnTo>
                    <a:lnTo>
                      <a:pt x="378" y="804"/>
                    </a:lnTo>
                    <a:lnTo>
                      <a:pt x="366" y="792"/>
                    </a:lnTo>
                    <a:lnTo>
                      <a:pt x="336" y="816"/>
                    </a:lnTo>
                    <a:lnTo>
                      <a:pt x="330" y="828"/>
                    </a:lnTo>
                    <a:lnTo>
                      <a:pt x="312" y="846"/>
                    </a:lnTo>
                    <a:lnTo>
                      <a:pt x="306" y="864"/>
                    </a:lnTo>
                    <a:lnTo>
                      <a:pt x="300" y="870"/>
                    </a:lnTo>
                    <a:lnTo>
                      <a:pt x="294" y="882"/>
                    </a:lnTo>
                    <a:lnTo>
                      <a:pt x="270" y="882"/>
                    </a:lnTo>
                    <a:lnTo>
                      <a:pt x="264" y="888"/>
                    </a:lnTo>
                    <a:lnTo>
                      <a:pt x="258" y="888"/>
                    </a:lnTo>
                    <a:lnTo>
                      <a:pt x="258" y="900"/>
                    </a:lnTo>
                    <a:lnTo>
                      <a:pt x="264" y="912"/>
                    </a:lnTo>
                    <a:lnTo>
                      <a:pt x="276" y="924"/>
                    </a:lnTo>
                    <a:lnTo>
                      <a:pt x="288" y="924"/>
                    </a:lnTo>
                    <a:lnTo>
                      <a:pt x="294" y="918"/>
                    </a:lnTo>
                    <a:lnTo>
                      <a:pt x="312" y="918"/>
                    </a:lnTo>
                    <a:lnTo>
                      <a:pt x="318" y="924"/>
                    </a:lnTo>
                    <a:lnTo>
                      <a:pt x="324" y="924"/>
                    </a:lnTo>
                    <a:lnTo>
                      <a:pt x="336" y="930"/>
                    </a:lnTo>
                    <a:lnTo>
                      <a:pt x="342" y="930"/>
                    </a:lnTo>
                    <a:lnTo>
                      <a:pt x="348" y="924"/>
                    </a:lnTo>
                    <a:lnTo>
                      <a:pt x="348" y="912"/>
                    </a:lnTo>
                    <a:lnTo>
                      <a:pt x="354" y="906"/>
                    </a:lnTo>
                    <a:lnTo>
                      <a:pt x="354" y="894"/>
                    </a:lnTo>
                    <a:lnTo>
                      <a:pt x="372" y="906"/>
                    </a:lnTo>
                    <a:lnTo>
                      <a:pt x="378" y="906"/>
                    </a:lnTo>
                    <a:lnTo>
                      <a:pt x="384" y="900"/>
                    </a:lnTo>
                    <a:lnTo>
                      <a:pt x="420" y="882"/>
                    </a:lnTo>
                    <a:lnTo>
                      <a:pt x="426" y="882"/>
                    </a:lnTo>
                    <a:lnTo>
                      <a:pt x="432" y="876"/>
                    </a:lnTo>
                    <a:lnTo>
                      <a:pt x="444" y="876"/>
                    </a:lnTo>
                    <a:lnTo>
                      <a:pt x="456" y="882"/>
                    </a:lnTo>
                    <a:lnTo>
                      <a:pt x="480" y="882"/>
                    </a:lnTo>
                    <a:lnTo>
                      <a:pt x="480" y="876"/>
                    </a:lnTo>
                    <a:lnTo>
                      <a:pt x="474" y="870"/>
                    </a:lnTo>
                    <a:lnTo>
                      <a:pt x="474" y="864"/>
                    </a:lnTo>
                    <a:lnTo>
                      <a:pt x="480" y="858"/>
                    </a:lnTo>
                    <a:lnTo>
                      <a:pt x="498" y="858"/>
                    </a:lnTo>
                    <a:lnTo>
                      <a:pt x="516" y="876"/>
                    </a:lnTo>
                    <a:lnTo>
                      <a:pt x="522" y="870"/>
                    </a:lnTo>
                    <a:lnTo>
                      <a:pt x="534" y="864"/>
                    </a:lnTo>
                    <a:lnTo>
                      <a:pt x="540" y="864"/>
                    </a:lnTo>
                    <a:lnTo>
                      <a:pt x="546" y="858"/>
                    </a:lnTo>
                    <a:lnTo>
                      <a:pt x="552" y="864"/>
                    </a:lnTo>
                    <a:lnTo>
                      <a:pt x="552" y="882"/>
                    </a:lnTo>
                    <a:lnTo>
                      <a:pt x="546" y="894"/>
                    </a:lnTo>
                    <a:lnTo>
                      <a:pt x="540" y="900"/>
                    </a:lnTo>
                    <a:lnTo>
                      <a:pt x="540" y="912"/>
                    </a:lnTo>
                    <a:lnTo>
                      <a:pt x="546" y="918"/>
                    </a:lnTo>
                    <a:lnTo>
                      <a:pt x="552" y="930"/>
                    </a:lnTo>
                    <a:lnTo>
                      <a:pt x="576" y="954"/>
                    </a:lnTo>
                    <a:lnTo>
                      <a:pt x="600" y="966"/>
                    </a:lnTo>
                    <a:lnTo>
                      <a:pt x="612" y="960"/>
                    </a:lnTo>
                    <a:lnTo>
                      <a:pt x="618" y="954"/>
                    </a:lnTo>
                    <a:lnTo>
                      <a:pt x="630" y="930"/>
                    </a:lnTo>
                    <a:lnTo>
                      <a:pt x="630" y="906"/>
                    </a:lnTo>
                    <a:lnTo>
                      <a:pt x="660" y="900"/>
                    </a:lnTo>
                    <a:lnTo>
                      <a:pt x="654" y="894"/>
                    </a:lnTo>
                    <a:lnTo>
                      <a:pt x="648" y="882"/>
                    </a:lnTo>
                    <a:lnTo>
                      <a:pt x="636" y="870"/>
                    </a:lnTo>
                    <a:lnTo>
                      <a:pt x="624" y="870"/>
                    </a:lnTo>
                    <a:lnTo>
                      <a:pt x="612" y="858"/>
                    </a:lnTo>
                    <a:lnTo>
                      <a:pt x="630" y="834"/>
                    </a:lnTo>
                    <a:lnTo>
                      <a:pt x="636" y="834"/>
                    </a:lnTo>
                    <a:lnTo>
                      <a:pt x="636" y="840"/>
                    </a:lnTo>
                    <a:lnTo>
                      <a:pt x="642" y="852"/>
                    </a:lnTo>
                    <a:lnTo>
                      <a:pt x="642" y="858"/>
                    </a:lnTo>
                    <a:lnTo>
                      <a:pt x="654" y="858"/>
                    </a:lnTo>
                    <a:lnTo>
                      <a:pt x="666" y="870"/>
                    </a:lnTo>
                    <a:lnTo>
                      <a:pt x="666" y="876"/>
                    </a:lnTo>
                    <a:lnTo>
                      <a:pt x="684" y="864"/>
                    </a:lnTo>
                    <a:lnTo>
                      <a:pt x="696" y="870"/>
                    </a:lnTo>
                    <a:lnTo>
                      <a:pt x="732" y="870"/>
                    </a:lnTo>
                    <a:lnTo>
                      <a:pt x="744" y="858"/>
                    </a:lnTo>
                    <a:lnTo>
                      <a:pt x="744" y="852"/>
                    </a:lnTo>
                    <a:lnTo>
                      <a:pt x="738" y="846"/>
                    </a:lnTo>
                    <a:lnTo>
                      <a:pt x="738" y="840"/>
                    </a:lnTo>
                    <a:lnTo>
                      <a:pt x="744" y="834"/>
                    </a:lnTo>
                    <a:lnTo>
                      <a:pt x="762" y="834"/>
                    </a:lnTo>
                    <a:lnTo>
                      <a:pt x="768" y="840"/>
                    </a:lnTo>
                    <a:lnTo>
                      <a:pt x="768" y="858"/>
                    </a:lnTo>
                    <a:lnTo>
                      <a:pt x="774" y="864"/>
                    </a:lnTo>
                    <a:lnTo>
                      <a:pt x="774" y="870"/>
                    </a:lnTo>
                    <a:lnTo>
                      <a:pt x="780" y="870"/>
                    </a:lnTo>
                    <a:lnTo>
                      <a:pt x="786" y="864"/>
                    </a:lnTo>
                    <a:lnTo>
                      <a:pt x="786" y="852"/>
                    </a:lnTo>
                    <a:lnTo>
                      <a:pt x="780" y="840"/>
                    </a:lnTo>
                    <a:lnTo>
                      <a:pt x="780" y="816"/>
                    </a:lnTo>
                    <a:lnTo>
                      <a:pt x="804" y="816"/>
                    </a:lnTo>
                    <a:lnTo>
                      <a:pt x="804" y="798"/>
                    </a:lnTo>
                    <a:lnTo>
                      <a:pt x="810" y="792"/>
                    </a:lnTo>
                    <a:lnTo>
                      <a:pt x="810" y="786"/>
                    </a:lnTo>
                    <a:lnTo>
                      <a:pt x="816" y="780"/>
                    </a:lnTo>
                    <a:lnTo>
                      <a:pt x="828" y="792"/>
                    </a:lnTo>
                    <a:lnTo>
                      <a:pt x="828" y="840"/>
                    </a:lnTo>
                    <a:lnTo>
                      <a:pt x="852" y="840"/>
                    </a:lnTo>
                    <a:lnTo>
                      <a:pt x="858" y="828"/>
                    </a:lnTo>
                    <a:lnTo>
                      <a:pt x="858" y="792"/>
                    </a:lnTo>
                    <a:lnTo>
                      <a:pt x="876" y="780"/>
                    </a:lnTo>
                    <a:close/>
                    <a:moveTo>
                      <a:pt x="498" y="912"/>
                    </a:moveTo>
                    <a:lnTo>
                      <a:pt x="486" y="906"/>
                    </a:lnTo>
                    <a:lnTo>
                      <a:pt x="480" y="900"/>
                    </a:lnTo>
                    <a:lnTo>
                      <a:pt x="468" y="894"/>
                    </a:lnTo>
                    <a:lnTo>
                      <a:pt x="444" y="894"/>
                    </a:lnTo>
                    <a:lnTo>
                      <a:pt x="438" y="900"/>
                    </a:lnTo>
                    <a:lnTo>
                      <a:pt x="438" y="924"/>
                    </a:lnTo>
                    <a:lnTo>
                      <a:pt x="432" y="924"/>
                    </a:lnTo>
                    <a:lnTo>
                      <a:pt x="426" y="918"/>
                    </a:lnTo>
                    <a:lnTo>
                      <a:pt x="396" y="918"/>
                    </a:lnTo>
                    <a:lnTo>
                      <a:pt x="390" y="924"/>
                    </a:lnTo>
                    <a:lnTo>
                      <a:pt x="390" y="942"/>
                    </a:lnTo>
                    <a:lnTo>
                      <a:pt x="396" y="948"/>
                    </a:lnTo>
                    <a:lnTo>
                      <a:pt x="396" y="954"/>
                    </a:lnTo>
                    <a:lnTo>
                      <a:pt x="378" y="972"/>
                    </a:lnTo>
                    <a:lnTo>
                      <a:pt x="390" y="978"/>
                    </a:lnTo>
                    <a:lnTo>
                      <a:pt x="396" y="990"/>
                    </a:lnTo>
                    <a:lnTo>
                      <a:pt x="408" y="1002"/>
                    </a:lnTo>
                    <a:lnTo>
                      <a:pt x="432" y="1014"/>
                    </a:lnTo>
                    <a:lnTo>
                      <a:pt x="438" y="1020"/>
                    </a:lnTo>
                    <a:lnTo>
                      <a:pt x="450" y="1026"/>
                    </a:lnTo>
                    <a:lnTo>
                      <a:pt x="450" y="984"/>
                    </a:lnTo>
                    <a:lnTo>
                      <a:pt x="456" y="972"/>
                    </a:lnTo>
                    <a:lnTo>
                      <a:pt x="462" y="966"/>
                    </a:lnTo>
                    <a:lnTo>
                      <a:pt x="474" y="960"/>
                    </a:lnTo>
                    <a:lnTo>
                      <a:pt x="486" y="960"/>
                    </a:lnTo>
                    <a:lnTo>
                      <a:pt x="492" y="966"/>
                    </a:lnTo>
                    <a:lnTo>
                      <a:pt x="504" y="972"/>
                    </a:lnTo>
                    <a:lnTo>
                      <a:pt x="510" y="984"/>
                    </a:lnTo>
                    <a:lnTo>
                      <a:pt x="516" y="990"/>
                    </a:lnTo>
                    <a:lnTo>
                      <a:pt x="516" y="978"/>
                    </a:lnTo>
                    <a:lnTo>
                      <a:pt x="522" y="966"/>
                    </a:lnTo>
                    <a:lnTo>
                      <a:pt x="522" y="954"/>
                    </a:lnTo>
                    <a:lnTo>
                      <a:pt x="528" y="942"/>
                    </a:lnTo>
                    <a:lnTo>
                      <a:pt x="528" y="930"/>
                    </a:lnTo>
                    <a:lnTo>
                      <a:pt x="522" y="918"/>
                    </a:lnTo>
                    <a:lnTo>
                      <a:pt x="516" y="912"/>
                    </a:lnTo>
                    <a:lnTo>
                      <a:pt x="516" y="906"/>
                    </a:lnTo>
                    <a:lnTo>
                      <a:pt x="498" y="912"/>
                    </a:lnTo>
                    <a:close/>
                    <a:moveTo>
                      <a:pt x="354" y="1050"/>
                    </a:moveTo>
                    <a:lnTo>
                      <a:pt x="354" y="1038"/>
                    </a:lnTo>
                    <a:lnTo>
                      <a:pt x="372" y="1020"/>
                    </a:lnTo>
                    <a:lnTo>
                      <a:pt x="372" y="1008"/>
                    </a:lnTo>
                    <a:lnTo>
                      <a:pt x="360" y="1002"/>
                    </a:lnTo>
                    <a:lnTo>
                      <a:pt x="354" y="990"/>
                    </a:lnTo>
                    <a:lnTo>
                      <a:pt x="348" y="984"/>
                    </a:lnTo>
                    <a:lnTo>
                      <a:pt x="336" y="978"/>
                    </a:lnTo>
                    <a:lnTo>
                      <a:pt x="336" y="966"/>
                    </a:lnTo>
                    <a:lnTo>
                      <a:pt x="330" y="960"/>
                    </a:lnTo>
                    <a:lnTo>
                      <a:pt x="324" y="960"/>
                    </a:lnTo>
                    <a:lnTo>
                      <a:pt x="318" y="954"/>
                    </a:lnTo>
                    <a:lnTo>
                      <a:pt x="300" y="954"/>
                    </a:lnTo>
                    <a:lnTo>
                      <a:pt x="294" y="948"/>
                    </a:lnTo>
                    <a:lnTo>
                      <a:pt x="270" y="936"/>
                    </a:lnTo>
                    <a:lnTo>
                      <a:pt x="258" y="936"/>
                    </a:lnTo>
                    <a:lnTo>
                      <a:pt x="240" y="954"/>
                    </a:lnTo>
                    <a:lnTo>
                      <a:pt x="204" y="972"/>
                    </a:lnTo>
                    <a:lnTo>
                      <a:pt x="234" y="1026"/>
                    </a:lnTo>
                    <a:lnTo>
                      <a:pt x="252" y="1014"/>
                    </a:lnTo>
                    <a:lnTo>
                      <a:pt x="252" y="1008"/>
                    </a:lnTo>
                    <a:lnTo>
                      <a:pt x="246" y="1002"/>
                    </a:lnTo>
                    <a:lnTo>
                      <a:pt x="246" y="990"/>
                    </a:lnTo>
                    <a:lnTo>
                      <a:pt x="252" y="990"/>
                    </a:lnTo>
                    <a:lnTo>
                      <a:pt x="264" y="1002"/>
                    </a:lnTo>
                    <a:lnTo>
                      <a:pt x="270" y="1014"/>
                    </a:lnTo>
                    <a:lnTo>
                      <a:pt x="276" y="1020"/>
                    </a:lnTo>
                    <a:lnTo>
                      <a:pt x="282" y="1032"/>
                    </a:lnTo>
                    <a:lnTo>
                      <a:pt x="282" y="1068"/>
                    </a:lnTo>
                    <a:lnTo>
                      <a:pt x="264" y="1074"/>
                    </a:lnTo>
                    <a:lnTo>
                      <a:pt x="264" y="1080"/>
                    </a:lnTo>
                    <a:lnTo>
                      <a:pt x="270" y="1086"/>
                    </a:lnTo>
                    <a:lnTo>
                      <a:pt x="270" y="1104"/>
                    </a:lnTo>
                    <a:lnTo>
                      <a:pt x="276" y="1116"/>
                    </a:lnTo>
                    <a:lnTo>
                      <a:pt x="282" y="1134"/>
                    </a:lnTo>
                    <a:lnTo>
                      <a:pt x="294" y="1146"/>
                    </a:lnTo>
                    <a:lnTo>
                      <a:pt x="300" y="1146"/>
                    </a:lnTo>
                    <a:lnTo>
                      <a:pt x="306" y="1140"/>
                    </a:lnTo>
                    <a:lnTo>
                      <a:pt x="306" y="1104"/>
                    </a:lnTo>
                    <a:lnTo>
                      <a:pt x="336" y="1116"/>
                    </a:lnTo>
                    <a:lnTo>
                      <a:pt x="336" y="1140"/>
                    </a:lnTo>
                    <a:lnTo>
                      <a:pt x="342" y="1146"/>
                    </a:lnTo>
                    <a:lnTo>
                      <a:pt x="342" y="1152"/>
                    </a:lnTo>
                    <a:lnTo>
                      <a:pt x="348" y="1152"/>
                    </a:lnTo>
                    <a:lnTo>
                      <a:pt x="348" y="1140"/>
                    </a:lnTo>
                    <a:lnTo>
                      <a:pt x="360" y="1128"/>
                    </a:lnTo>
                    <a:lnTo>
                      <a:pt x="366" y="1116"/>
                    </a:lnTo>
                    <a:lnTo>
                      <a:pt x="366" y="1110"/>
                    </a:lnTo>
                    <a:lnTo>
                      <a:pt x="360" y="1104"/>
                    </a:lnTo>
                    <a:lnTo>
                      <a:pt x="360" y="1074"/>
                    </a:lnTo>
                    <a:lnTo>
                      <a:pt x="354" y="1062"/>
                    </a:lnTo>
                    <a:lnTo>
                      <a:pt x="354" y="1050"/>
                    </a:lnTo>
                    <a:close/>
                    <a:moveTo>
                      <a:pt x="264" y="1026"/>
                    </a:moveTo>
                    <a:lnTo>
                      <a:pt x="246" y="1062"/>
                    </a:lnTo>
                    <a:lnTo>
                      <a:pt x="264" y="1056"/>
                    </a:lnTo>
                    <a:lnTo>
                      <a:pt x="264" y="1026"/>
                    </a:lnTo>
                    <a:close/>
                    <a:moveTo>
                      <a:pt x="624" y="618"/>
                    </a:moveTo>
                    <a:lnTo>
                      <a:pt x="636" y="618"/>
                    </a:lnTo>
                    <a:lnTo>
                      <a:pt x="636" y="594"/>
                    </a:lnTo>
                    <a:lnTo>
                      <a:pt x="630" y="594"/>
                    </a:lnTo>
                    <a:lnTo>
                      <a:pt x="612" y="570"/>
                    </a:lnTo>
                    <a:lnTo>
                      <a:pt x="606" y="582"/>
                    </a:lnTo>
                    <a:lnTo>
                      <a:pt x="618" y="600"/>
                    </a:lnTo>
                    <a:lnTo>
                      <a:pt x="624" y="618"/>
                    </a:lnTo>
                    <a:close/>
                    <a:moveTo>
                      <a:pt x="546" y="72"/>
                    </a:moveTo>
                    <a:lnTo>
                      <a:pt x="552" y="96"/>
                    </a:lnTo>
                    <a:lnTo>
                      <a:pt x="558" y="102"/>
                    </a:lnTo>
                    <a:lnTo>
                      <a:pt x="570" y="108"/>
                    </a:lnTo>
                    <a:lnTo>
                      <a:pt x="576" y="114"/>
                    </a:lnTo>
                    <a:lnTo>
                      <a:pt x="576" y="132"/>
                    </a:lnTo>
                    <a:lnTo>
                      <a:pt x="564" y="144"/>
                    </a:lnTo>
                    <a:lnTo>
                      <a:pt x="564" y="150"/>
                    </a:lnTo>
                    <a:lnTo>
                      <a:pt x="570" y="156"/>
                    </a:lnTo>
                    <a:lnTo>
                      <a:pt x="576" y="168"/>
                    </a:lnTo>
                    <a:lnTo>
                      <a:pt x="582" y="174"/>
                    </a:lnTo>
                    <a:lnTo>
                      <a:pt x="582" y="186"/>
                    </a:lnTo>
                    <a:lnTo>
                      <a:pt x="576" y="186"/>
                    </a:lnTo>
                    <a:lnTo>
                      <a:pt x="564" y="180"/>
                    </a:lnTo>
                    <a:lnTo>
                      <a:pt x="552" y="180"/>
                    </a:lnTo>
                    <a:lnTo>
                      <a:pt x="540" y="174"/>
                    </a:lnTo>
                    <a:lnTo>
                      <a:pt x="528" y="174"/>
                    </a:lnTo>
                    <a:lnTo>
                      <a:pt x="522" y="168"/>
                    </a:lnTo>
                    <a:lnTo>
                      <a:pt x="522" y="180"/>
                    </a:lnTo>
                    <a:lnTo>
                      <a:pt x="540" y="198"/>
                    </a:lnTo>
                    <a:lnTo>
                      <a:pt x="516" y="228"/>
                    </a:lnTo>
                    <a:lnTo>
                      <a:pt x="522" y="240"/>
                    </a:lnTo>
                    <a:lnTo>
                      <a:pt x="528" y="246"/>
                    </a:lnTo>
                    <a:lnTo>
                      <a:pt x="528" y="252"/>
                    </a:lnTo>
                    <a:lnTo>
                      <a:pt x="534" y="258"/>
                    </a:lnTo>
                    <a:lnTo>
                      <a:pt x="546" y="264"/>
                    </a:lnTo>
                    <a:lnTo>
                      <a:pt x="552" y="270"/>
                    </a:lnTo>
                    <a:lnTo>
                      <a:pt x="564" y="276"/>
                    </a:lnTo>
                    <a:lnTo>
                      <a:pt x="570" y="282"/>
                    </a:lnTo>
                    <a:lnTo>
                      <a:pt x="576" y="282"/>
                    </a:lnTo>
                    <a:lnTo>
                      <a:pt x="576" y="318"/>
                    </a:lnTo>
                    <a:lnTo>
                      <a:pt x="582" y="330"/>
                    </a:lnTo>
                    <a:lnTo>
                      <a:pt x="600" y="330"/>
                    </a:lnTo>
                    <a:lnTo>
                      <a:pt x="600" y="300"/>
                    </a:lnTo>
                    <a:lnTo>
                      <a:pt x="636" y="300"/>
                    </a:lnTo>
                    <a:lnTo>
                      <a:pt x="642" y="294"/>
                    </a:lnTo>
                    <a:lnTo>
                      <a:pt x="606" y="270"/>
                    </a:lnTo>
                    <a:lnTo>
                      <a:pt x="588" y="270"/>
                    </a:lnTo>
                    <a:lnTo>
                      <a:pt x="576" y="264"/>
                    </a:lnTo>
                    <a:lnTo>
                      <a:pt x="570" y="264"/>
                    </a:lnTo>
                    <a:lnTo>
                      <a:pt x="558" y="258"/>
                    </a:lnTo>
                    <a:lnTo>
                      <a:pt x="558" y="246"/>
                    </a:lnTo>
                    <a:lnTo>
                      <a:pt x="564" y="240"/>
                    </a:lnTo>
                    <a:lnTo>
                      <a:pt x="576" y="234"/>
                    </a:lnTo>
                    <a:lnTo>
                      <a:pt x="600" y="246"/>
                    </a:lnTo>
                    <a:lnTo>
                      <a:pt x="606" y="252"/>
                    </a:lnTo>
                    <a:lnTo>
                      <a:pt x="618" y="240"/>
                    </a:lnTo>
                    <a:lnTo>
                      <a:pt x="630" y="234"/>
                    </a:lnTo>
                    <a:lnTo>
                      <a:pt x="636" y="234"/>
                    </a:lnTo>
                    <a:lnTo>
                      <a:pt x="690" y="252"/>
                    </a:lnTo>
                    <a:lnTo>
                      <a:pt x="726" y="270"/>
                    </a:lnTo>
                    <a:lnTo>
                      <a:pt x="756" y="282"/>
                    </a:lnTo>
                    <a:lnTo>
                      <a:pt x="768" y="282"/>
                    </a:lnTo>
                    <a:lnTo>
                      <a:pt x="768" y="270"/>
                    </a:lnTo>
                    <a:lnTo>
                      <a:pt x="762" y="258"/>
                    </a:lnTo>
                    <a:lnTo>
                      <a:pt x="762" y="222"/>
                    </a:lnTo>
                    <a:lnTo>
                      <a:pt x="780" y="204"/>
                    </a:lnTo>
                    <a:lnTo>
                      <a:pt x="792" y="204"/>
                    </a:lnTo>
                    <a:lnTo>
                      <a:pt x="798" y="210"/>
                    </a:lnTo>
                    <a:lnTo>
                      <a:pt x="816" y="210"/>
                    </a:lnTo>
                    <a:lnTo>
                      <a:pt x="840" y="198"/>
                    </a:lnTo>
                    <a:lnTo>
                      <a:pt x="858" y="180"/>
                    </a:lnTo>
                    <a:lnTo>
                      <a:pt x="804" y="144"/>
                    </a:lnTo>
                    <a:lnTo>
                      <a:pt x="804" y="120"/>
                    </a:lnTo>
                    <a:lnTo>
                      <a:pt x="798" y="108"/>
                    </a:lnTo>
                    <a:lnTo>
                      <a:pt x="792" y="102"/>
                    </a:lnTo>
                    <a:lnTo>
                      <a:pt x="786" y="102"/>
                    </a:lnTo>
                    <a:lnTo>
                      <a:pt x="774" y="114"/>
                    </a:lnTo>
                    <a:lnTo>
                      <a:pt x="774" y="126"/>
                    </a:lnTo>
                    <a:lnTo>
                      <a:pt x="756" y="120"/>
                    </a:lnTo>
                    <a:lnTo>
                      <a:pt x="720" y="114"/>
                    </a:lnTo>
                    <a:lnTo>
                      <a:pt x="678" y="102"/>
                    </a:lnTo>
                    <a:lnTo>
                      <a:pt x="648" y="90"/>
                    </a:lnTo>
                    <a:lnTo>
                      <a:pt x="624" y="72"/>
                    </a:lnTo>
                    <a:lnTo>
                      <a:pt x="552" y="24"/>
                    </a:lnTo>
                    <a:lnTo>
                      <a:pt x="516" y="6"/>
                    </a:lnTo>
                    <a:lnTo>
                      <a:pt x="498" y="0"/>
                    </a:lnTo>
                    <a:lnTo>
                      <a:pt x="498" y="18"/>
                    </a:lnTo>
                    <a:lnTo>
                      <a:pt x="510" y="30"/>
                    </a:lnTo>
                    <a:lnTo>
                      <a:pt x="516" y="42"/>
                    </a:lnTo>
                    <a:lnTo>
                      <a:pt x="528" y="54"/>
                    </a:lnTo>
                    <a:lnTo>
                      <a:pt x="534" y="66"/>
                    </a:lnTo>
                    <a:lnTo>
                      <a:pt x="546" y="72"/>
                    </a:lnTo>
                    <a:close/>
                    <a:moveTo>
                      <a:pt x="282" y="1458"/>
                    </a:moveTo>
                    <a:lnTo>
                      <a:pt x="306" y="1458"/>
                    </a:lnTo>
                    <a:lnTo>
                      <a:pt x="276" y="1440"/>
                    </a:lnTo>
                    <a:lnTo>
                      <a:pt x="282" y="1458"/>
                    </a:lnTo>
                    <a:close/>
                    <a:moveTo>
                      <a:pt x="300" y="1386"/>
                    </a:moveTo>
                    <a:lnTo>
                      <a:pt x="312" y="1398"/>
                    </a:lnTo>
                    <a:lnTo>
                      <a:pt x="318" y="1398"/>
                    </a:lnTo>
                    <a:lnTo>
                      <a:pt x="330" y="1386"/>
                    </a:lnTo>
                    <a:lnTo>
                      <a:pt x="336" y="1386"/>
                    </a:lnTo>
                    <a:lnTo>
                      <a:pt x="342" y="1380"/>
                    </a:lnTo>
                    <a:lnTo>
                      <a:pt x="342" y="1368"/>
                    </a:lnTo>
                    <a:lnTo>
                      <a:pt x="336" y="1362"/>
                    </a:lnTo>
                    <a:lnTo>
                      <a:pt x="318" y="1362"/>
                    </a:lnTo>
                    <a:lnTo>
                      <a:pt x="306" y="1368"/>
                    </a:lnTo>
                    <a:lnTo>
                      <a:pt x="300" y="1380"/>
                    </a:lnTo>
                    <a:lnTo>
                      <a:pt x="300" y="1386"/>
                    </a:lnTo>
                    <a:close/>
                    <a:moveTo>
                      <a:pt x="312" y="1416"/>
                    </a:moveTo>
                    <a:lnTo>
                      <a:pt x="300" y="1416"/>
                    </a:lnTo>
                    <a:lnTo>
                      <a:pt x="300" y="1428"/>
                    </a:lnTo>
                    <a:lnTo>
                      <a:pt x="318" y="1428"/>
                    </a:lnTo>
                    <a:lnTo>
                      <a:pt x="318" y="1422"/>
                    </a:lnTo>
                    <a:lnTo>
                      <a:pt x="312" y="1416"/>
                    </a:lnTo>
                    <a:close/>
                    <a:moveTo>
                      <a:pt x="336" y="1200"/>
                    </a:moveTo>
                    <a:lnTo>
                      <a:pt x="336" y="1206"/>
                    </a:lnTo>
                    <a:lnTo>
                      <a:pt x="330" y="1206"/>
                    </a:lnTo>
                    <a:lnTo>
                      <a:pt x="318" y="1212"/>
                    </a:lnTo>
                    <a:lnTo>
                      <a:pt x="342" y="1230"/>
                    </a:lnTo>
                    <a:lnTo>
                      <a:pt x="342" y="1218"/>
                    </a:lnTo>
                    <a:lnTo>
                      <a:pt x="336" y="1206"/>
                    </a:lnTo>
                    <a:lnTo>
                      <a:pt x="336" y="1200"/>
                    </a:lnTo>
                    <a:close/>
                    <a:moveTo>
                      <a:pt x="366" y="1170"/>
                    </a:moveTo>
                    <a:lnTo>
                      <a:pt x="366" y="1182"/>
                    </a:lnTo>
                    <a:lnTo>
                      <a:pt x="360" y="1194"/>
                    </a:lnTo>
                    <a:lnTo>
                      <a:pt x="378" y="1224"/>
                    </a:lnTo>
                    <a:lnTo>
                      <a:pt x="378" y="1200"/>
                    </a:lnTo>
                    <a:lnTo>
                      <a:pt x="372" y="1194"/>
                    </a:lnTo>
                    <a:lnTo>
                      <a:pt x="372" y="1176"/>
                    </a:lnTo>
                    <a:lnTo>
                      <a:pt x="366" y="1170"/>
                    </a:lnTo>
                    <a:close/>
                    <a:moveTo>
                      <a:pt x="36" y="1698"/>
                    </a:moveTo>
                    <a:lnTo>
                      <a:pt x="54" y="1698"/>
                    </a:lnTo>
                    <a:lnTo>
                      <a:pt x="60" y="1692"/>
                    </a:lnTo>
                    <a:lnTo>
                      <a:pt x="72" y="1692"/>
                    </a:lnTo>
                    <a:lnTo>
                      <a:pt x="42" y="1680"/>
                    </a:lnTo>
                    <a:lnTo>
                      <a:pt x="36" y="1686"/>
                    </a:lnTo>
                    <a:lnTo>
                      <a:pt x="36" y="1698"/>
                    </a:lnTo>
                    <a:close/>
                    <a:moveTo>
                      <a:pt x="114" y="1662"/>
                    </a:moveTo>
                    <a:lnTo>
                      <a:pt x="96" y="1632"/>
                    </a:lnTo>
                    <a:lnTo>
                      <a:pt x="96" y="1662"/>
                    </a:lnTo>
                    <a:lnTo>
                      <a:pt x="102" y="1674"/>
                    </a:lnTo>
                    <a:lnTo>
                      <a:pt x="114" y="1680"/>
                    </a:lnTo>
                    <a:lnTo>
                      <a:pt x="120" y="1680"/>
                    </a:lnTo>
                    <a:lnTo>
                      <a:pt x="126" y="1674"/>
                    </a:lnTo>
                    <a:lnTo>
                      <a:pt x="126" y="1662"/>
                    </a:lnTo>
                    <a:lnTo>
                      <a:pt x="114" y="1662"/>
                    </a:lnTo>
                    <a:close/>
                    <a:moveTo>
                      <a:pt x="12" y="1686"/>
                    </a:moveTo>
                    <a:lnTo>
                      <a:pt x="6" y="1686"/>
                    </a:lnTo>
                    <a:lnTo>
                      <a:pt x="0" y="1692"/>
                    </a:lnTo>
                    <a:lnTo>
                      <a:pt x="0" y="1704"/>
                    </a:lnTo>
                    <a:lnTo>
                      <a:pt x="6" y="1710"/>
                    </a:lnTo>
                    <a:lnTo>
                      <a:pt x="12" y="1710"/>
                    </a:lnTo>
                    <a:lnTo>
                      <a:pt x="24" y="1698"/>
                    </a:lnTo>
                    <a:lnTo>
                      <a:pt x="24" y="1686"/>
                    </a:lnTo>
                    <a:lnTo>
                      <a:pt x="12" y="1686"/>
                    </a:lnTo>
                    <a:close/>
                    <a:moveTo>
                      <a:pt x="168" y="1536"/>
                    </a:moveTo>
                    <a:lnTo>
                      <a:pt x="168" y="1542"/>
                    </a:lnTo>
                    <a:lnTo>
                      <a:pt x="180" y="1548"/>
                    </a:lnTo>
                    <a:lnTo>
                      <a:pt x="186" y="1548"/>
                    </a:lnTo>
                    <a:lnTo>
                      <a:pt x="186" y="1536"/>
                    </a:lnTo>
                    <a:lnTo>
                      <a:pt x="180" y="1530"/>
                    </a:lnTo>
                    <a:lnTo>
                      <a:pt x="168" y="1530"/>
                    </a:lnTo>
                    <a:lnTo>
                      <a:pt x="168" y="1536"/>
                    </a:lnTo>
                    <a:close/>
                    <a:moveTo>
                      <a:pt x="264" y="1494"/>
                    </a:moveTo>
                    <a:lnTo>
                      <a:pt x="252" y="1518"/>
                    </a:lnTo>
                    <a:lnTo>
                      <a:pt x="246" y="1536"/>
                    </a:lnTo>
                    <a:lnTo>
                      <a:pt x="246" y="1548"/>
                    </a:lnTo>
                    <a:lnTo>
                      <a:pt x="240" y="1554"/>
                    </a:lnTo>
                    <a:lnTo>
                      <a:pt x="240" y="1560"/>
                    </a:lnTo>
                    <a:lnTo>
                      <a:pt x="258" y="1566"/>
                    </a:lnTo>
                    <a:lnTo>
                      <a:pt x="264" y="1554"/>
                    </a:lnTo>
                    <a:lnTo>
                      <a:pt x="264" y="1548"/>
                    </a:lnTo>
                    <a:lnTo>
                      <a:pt x="270" y="1542"/>
                    </a:lnTo>
                    <a:lnTo>
                      <a:pt x="270" y="1524"/>
                    </a:lnTo>
                    <a:lnTo>
                      <a:pt x="288" y="1506"/>
                    </a:lnTo>
                    <a:lnTo>
                      <a:pt x="282" y="1500"/>
                    </a:lnTo>
                    <a:lnTo>
                      <a:pt x="282" y="1494"/>
                    </a:lnTo>
                    <a:lnTo>
                      <a:pt x="276" y="1488"/>
                    </a:lnTo>
                    <a:lnTo>
                      <a:pt x="264" y="1494"/>
                    </a:lnTo>
                    <a:close/>
                  </a:path>
                </a:pathLst>
              </a:custGeom>
              <a:solidFill>
                <a:srgbClr val="9D90A0">
                  <a:lumMod val="40000"/>
                  <a:lumOff val="60000"/>
                </a:srgbClr>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176" name="India" descr="© INSCALE GmbH, 05.05.2010&#10;http://www.presentationload.com/">
                <a:extLst>
                  <a:ext uri="{FF2B5EF4-FFF2-40B4-BE49-F238E27FC236}">
                    <a16:creationId xmlns:a16="http://schemas.microsoft.com/office/drawing/2014/main" id="{A0C2CD54-414B-4157-B9C6-C7402A4559AE}"/>
                  </a:ext>
                </a:extLst>
              </p:cNvPr>
              <p:cNvSpPr>
                <a:spLocks noEditPoints="1"/>
              </p:cNvSpPr>
              <p:nvPr/>
            </p:nvSpPr>
            <p:spPr bwMode="gray">
              <a:xfrm>
                <a:off x="6100635" y="3278768"/>
                <a:ext cx="773716" cy="1036154"/>
              </a:xfrm>
              <a:custGeom>
                <a:avLst/>
                <a:gdLst>
                  <a:gd name="T0" fmla="*/ 2147483647 w 1956"/>
                  <a:gd name="T1" fmla="*/ 2147483647 h 2358"/>
                  <a:gd name="T2" fmla="*/ 2147483647 w 1956"/>
                  <a:gd name="T3" fmla="*/ 2147483647 h 2358"/>
                  <a:gd name="T4" fmla="*/ 2147483647 w 1956"/>
                  <a:gd name="T5" fmla="*/ 2147483647 h 2358"/>
                  <a:gd name="T6" fmla="*/ 2147483647 w 1956"/>
                  <a:gd name="T7" fmla="*/ 2147483647 h 2358"/>
                  <a:gd name="T8" fmla="*/ 2147483647 w 1956"/>
                  <a:gd name="T9" fmla="*/ 2147483647 h 2358"/>
                  <a:gd name="T10" fmla="*/ 2147483647 w 1956"/>
                  <a:gd name="T11" fmla="*/ 2147483647 h 2358"/>
                  <a:gd name="T12" fmla="*/ 2147483647 w 1956"/>
                  <a:gd name="T13" fmla="*/ 2147483647 h 2358"/>
                  <a:gd name="T14" fmla="*/ 2147483647 w 1956"/>
                  <a:gd name="T15" fmla="*/ 2147483647 h 2358"/>
                  <a:gd name="T16" fmla="*/ 2147483647 w 1956"/>
                  <a:gd name="T17" fmla="*/ 2147483647 h 2358"/>
                  <a:gd name="T18" fmla="*/ 2147483647 w 1956"/>
                  <a:gd name="T19" fmla="*/ 2147483647 h 2358"/>
                  <a:gd name="T20" fmla="*/ 2147483647 w 1956"/>
                  <a:gd name="T21" fmla="*/ 2147483647 h 2358"/>
                  <a:gd name="T22" fmla="*/ 2147483647 w 1956"/>
                  <a:gd name="T23" fmla="*/ 2147483647 h 2358"/>
                  <a:gd name="T24" fmla="*/ 2147483647 w 1956"/>
                  <a:gd name="T25" fmla="*/ 2147483647 h 2358"/>
                  <a:gd name="T26" fmla="*/ 2147483647 w 1956"/>
                  <a:gd name="T27" fmla="*/ 2147483647 h 2358"/>
                  <a:gd name="T28" fmla="*/ 2147483647 w 1956"/>
                  <a:gd name="T29" fmla="*/ 2147483647 h 2358"/>
                  <a:gd name="T30" fmla="*/ 2147483647 w 1956"/>
                  <a:gd name="T31" fmla="*/ 2147483647 h 2358"/>
                  <a:gd name="T32" fmla="*/ 2147483647 w 1956"/>
                  <a:gd name="T33" fmla="*/ 2147483647 h 2358"/>
                  <a:gd name="T34" fmla="*/ 2147483647 w 1956"/>
                  <a:gd name="T35" fmla="*/ 2147483647 h 2358"/>
                  <a:gd name="T36" fmla="*/ 2147483647 w 1956"/>
                  <a:gd name="T37" fmla="*/ 2147483647 h 2358"/>
                  <a:gd name="T38" fmla="*/ 2147483647 w 1956"/>
                  <a:gd name="T39" fmla="*/ 2147483647 h 2358"/>
                  <a:gd name="T40" fmla="*/ 2147483647 w 1956"/>
                  <a:gd name="T41" fmla="*/ 2147483647 h 2358"/>
                  <a:gd name="T42" fmla="*/ 2147483647 w 1956"/>
                  <a:gd name="T43" fmla="*/ 2147483647 h 2358"/>
                  <a:gd name="T44" fmla="*/ 2147483647 w 1956"/>
                  <a:gd name="T45" fmla="*/ 2147483647 h 2358"/>
                  <a:gd name="T46" fmla="*/ 2147483647 w 1956"/>
                  <a:gd name="T47" fmla="*/ 2147483647 h 2358"/>
                  <a:gd name="T48" fmla="*/ 2147483647 w 1956"/>
                  <a:gd name="T49" fmla="*/ 2147483647 h 2358"/>
                  <a:gd name="T50" fmla="*/ 2147483647 w 1956"/>
                  <a:gd name="T51" fmla="*/ 2147483647 h 2358"/>
                  <a:gd name="T52" fmla="*/ 2147483647 w 1956"/>
                  <a:gd name="T53" fmla="*/ 2147483647 h 2358"/>
                  <a:gd name="T54" fmla="*/ 2147483647 w 1956"/>
                  <a:gd name="T55" fmla="*/ 2147483647 h 2358"/>
                  <a:gd name="T56" fmla="*/ 2147483647 w 1956"/>
                  <a:gd name="T57" fmla="*/ 2147483647 h 2358"/>
                  <a:gd name="T58" fmla="*/ 2147483647 w 1956"/>
                  <a:gd name="T59" fmla="*/ 2147483647 h 2358"/>
                  <a:gd name="T60" fmla="*/ 2147483647 w 1956"/>
                  <a:gd name="T61" fmla="*/ 2147483647 h 2358"/>
                  <a:gd name="T62" fmla="*/ 2147483647 w 1956"/>
                  <a:gd name="T63" fmla="*/ 2147483647 h 2358"/>
                  <a:gd name="T64" fmla="*/ 2147483647 w 1956"/>
                  <a:gd name="T65" fmla="*/ 2147483647 h 2358"/>
                  <a:gd name="T66" fmla="*/ 2147483647 w 1956"/>
                  <a:gd name="T67" fmla="*/ 2147483647 h 2358"/>
                  <a:gd name="T68" fmla="*/ 2147483647 w 1956"/>
                  <a:gd name="T69" fmla="*/ 2147483647 h 2358"/>
                  <a:gd name="T70" fmla="*/ 2147483647 w 1956"/>
                  <a:gd name="T71" fmla="*/ 2147483647 h 2358"/>
                  <a:gd name="T72" fmla="*/ 2147483647 w 1956"/>
                  <a:gd name="T73" fmla="*/ 2147483647 h 2358"/>
                  <a:gd name="T74" fmla="*/ 2147483647 w 1956"/>
                  <a:gd name="T75" fmla="*/ 2147483647 h 2358"/>
                  <a:gd name="T76" fmla="*/ 2147483647 w 1956"/>
                  <a:gd name="T77" fmla="*/ 2147483647 h 2358"/>
                  <a:gd name="T78" fmla="*/ 2147483647 w 1956"/>
                  <a:gd name="T79" fmla="*/ 2147483647 h 2358"/>
                  <a:gd name="T80" fmla="*/ 2147483647 w 1956"/>
                  <a:gd name="T81" fmla="*/ 2147483647 h 2358"/>
                  <a:gd name="T82" fmla="*/ 2147483647 w 1956"/>
                  <a:gd name="T83" fmla="*/ 2147483647 h 2358"/>
                  <a:gd name="T84" fmla="*/ 2147483647 w 1956"/>
                  <a:gd name="T85" fmla="*/ 2147483647 h 2358"/>
                  <a:gd name="T86" fmla="*/ 2147483647 w 1956"/>
                  <a:gd name="T87" fmla="*/ 2147483647 h 2358"/>
                  <a:gd name="T88" fmla="*/ 2147483647 w 1956"/>
                  <a:gd name="T89" fmla="*/ 2147483647 h 2358"/>
                  <a:gd name="T90" fmla="*/ 2147483647 w 1956"/>
                  <a:gd name="T91" fmla="*/ 2147483647 h 2358"/>
                  <a:gd name="T92" fmla="*/ 2147483647 w 1956"/>
                  <a:gd name="T93" fmla="*/ 2147483647 h 2358"/>
                  <a:gd name="T94" fmla="*/ 2147483647 w 1956"/>
                  <a:gd name="T95" fmla="*/ 2147483647 h 2358"/>
                  <a:gd name="T96" fmla="*/ 2147483647 w 1956"/>
                  <a:gd name="T97" fmla="*/ 2147483647 h 2358"/>
                  <a:gd name="T98" fmla="*/ 2147483647 w 1956"/>
                  <a:gd name="T99" fmla="*/ 2147483647 h 2358"/>
                  <a:gd name="T100" fmla="*/ 2147483647 w 1956"/>
                  <a:gd name="T101" fmla="*/ 2147483647 h 2358"/>
                  <a:gd name="T102" fmla="*/ 2147483647 w 1956"/>
                  <a:gd name="T103" fmla="*/ 2147483647 h 2358"/>
                  <a:gd name="T104" fmla="*/ 2147483647 w 1956"/>
                  <a:gd name="T105" fmla="*/ 2147483647 h 2358"/>
                  <a:gd name="T106" fmla="*/ 2147483647 w 1956"/>
                  <a:gd name="T107" fmla="*/ 2147483647 h 2358"/>
                  <a:gd name="T108" fmla="*/ 2147483647 w 1956"/>
                  <a:gd name="T109" fmla="*/ 2147483647 h 2358"/>
                  <a:gd name="T110" fmla="*/ 2147483647 w 1956"/>
                  <a:gd name="T111" fmla="*/ 2147483647 h 2358"/>
                  <a:gd name="T112" fmla="*/ 2147483647 w 1956"/>
                  <a:gd name="T113" fmla="*/ 2147483647 h 2358"/>
                  <a:gd name="T114" fmla="*/ 2147483647 w 1956"/>
                  <a:gd name="T115" fmla="*/ 2147483647 h 2358"/>
                  <a:gd name="T116" fmla="*/ 2147483647 w 1956"/>
                  <a:gd name="T117" fmla="*/ 2147483647 h 2358"/>
                  <a:gd name="T118" fmla="*/ 2147483647 w 1956"/>
                  <a:gd name="T119" fmla="*/ 2147483647 h 235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956"/>
                  <a:gd name="T181" fmla="*/ 0 h 2358"/>
                  <a:gd name="T182" fmla="*/ 1956 w 1956"/>
                  <a:gd name="T183" fmla="*/ 2358 h 235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956" h="2358">
                    <a:moveTo>
                      <a:pt x="1806" y="1788"/>
                    </a:moveTo>
                    <a:lnTo>
                      <a:pt x="1794" y="1800"/>
                    </a:lnTo>
                    <a:lnTo>
                      <a:pt x="1782" y="1824"/>
                    </a:lnTo>
                    <a:lnTo>
                      <a:pt x="1782" y="1884"/>
                    </a:lnTo>
                    <a:lnTo>
                      <a:pt x="1788" y="1980"/>
                    </a:lnTo>
                    <a:lnTo>
                      <a:pt x="1800" y="1950"/>
                    </a:lnTo>
                    <a:lnTo>
                      <a:pt x="1800" y="1848"/>
                    </a:lnTo>
                    <a:lnTo>
                      <a:pt x="1806" y="1836"/>
                    </a:lnTo>
                    <a:lnTo>
                      <a:pt x="1806" y="1830"/>
                    </a:lnTo>
                    <a:lnTo>
                      <a:pt x="1812" y="1818"/>
                    </a:lnTo>
                    <a:lnTo>
                      <a:pt x="1812" y="1806"/>
                    </a:lnTo>
                    <a:lnTo>
                      <a:pt x="1818" y="1800"/>
                    </a:lnTo>
                    <a:lnTo>
                      <a:pt x="1812" y="1788"/>
                    </a:lnTo>
                    <a:lnTo>
                      <a:pt x="1806" y="1788"/>
                    </a:lnTo>
                    <a:close/>
                    <a:moveTo>
                      <a:pt x="1794" y="2028"/>
                    </a:moveTo>
                    <a:lnTo>
                      <a:pt x="1788" y="2028"/>
                    </a:lnTo>
                    <a:lnTo>
                      <a:pt x="1782" y="2040"/>
                    </a:lnTo>
                    <a:lnTo>
                      <a:pt x="1782" y="2046"/>
                    </a:lnTo>
                    <a:lnTo>
                      <a:pt x="1788" y="2058"/>
                    </a:lnTo>
                    <a:lnTo>
                      <a:pt x="1788" y="2064"/>
                    </a:lnTo>
                    <a:lnTo>
                      <a:pt x="1794" y="2076"/>
                    </a:lnTo>
                    <a:lnTo>
                      <a:pt x="1800" y="2064"/>
                    </a:lnTo>
                    <a:lnTo>
                      <a:pt x="1800" y="2028"/>
                    </a:lnTo>
                    <a:lnTo>
                      <a:pt x="1794" y="2028"/>
                    </a:lnTo>
                    <a:close/>
                    <a:moveTo>
                      <a:pt x="1890" y="2310"/>
                    </a:moveTo>
                    <a:lnTo>
                      <a:pt x="1884" y="2316"/>
                    </a:lnTo>
                    <a:lnTo>
                      <a:pt x="1884" y="2334"/>
                    </a:lnTo>
                    <a:lnTo>
                      <a:pt x="1890" y="2346"/>
                    </a:lnTo>
                    <a:lnTo>
                      <a:pt x="1896" y="2352"/>
                    </a:lnTo>
                    <a:lnTo>
                      <a:pt x="1908" y="2358"/>
                    </a:lnTo>
                    <a:lnTo>
                      <a:pt x="1908" y="2346"/>
                    </a:lnTo>
                    <a:lnTo>
                      <a:pt x="1902" y="2334"/>
                    </a:lnTo>
                    <a:lnTo>
                      <a:pt x="1902" y="2322"/>
                    </a:lnTo>
                    <a:lnTo>
                      <a:pt x="1896" y="2310"/>
                    </a:lnTo>
                    <a:lnTo>
                      <a:pt x="1890" y="2310"/>
                    </a:lnTo>
                    <a:close/>
                    <a:moveTo>
                      <a:pt x="1920" y="672"/>
                    </a:moveTo>
                    <a:lnTo>
                      <a:pt x="1932" y="660"/>
                    </a:lnTo>
                    <a:lnTo>
                      <a:pt x="1944" y="654"/>
                    </a:lnTo>
                    <a:lnTo>
                      <a:pt x="1950" y="648"/>
                    </a:lnTo>
                    <a:lnTo>
                      <a:pt x="1956" y="648"/>
                    </a:lnTo>
                    <a:lnTo>
                      <a:pt x="1956" y="618"/>
                    </a:lnTo>
                    <a:lnTo>
                      <a:pt x="1950" y="618"/>
                    </a:lnTo>
                    <a:lnTo>
                      <a:pt x="1944" y="612"/>
                    </a:lnTo>
                    <a:lnTo>
                      <a:pt x="1878" y="612"/>
                    </a:lnTo>
                    <a:lnTo>
                      <a:pt x="1878" y="606"/>
                    </a:lnTo>
                    <a:lnTo>
                      <a:pt x="1890" y="594"/>
                    </a:lnTo>
                    <a:lnTo>
                      <a:pt x="1896" y="594"/>
                    </a:lnTo>
                    <a:lnTo>
                      <a:pt x="1878" y="564"/>
                    </a:lnTo>
                    <a:lnTo>
                      <a:pt x="1848" y="564"/>
                    </a:lnTo>
                    <a:lnTo>
                      <a:pt x="1842" y="558"/>
                    </a:lnTo>
                    <a:lnTo>
                      <a:pt x="1848" y="558"/>
                    </a:lnTo>
                    <a:lnTo>
                      <a:pt x="1860" y="546"/>
                    </a:lnTo>
                    <a:lnTo>
                      <a:pt x="1854" y="540"/>
                    </a:lnTo>
                    <a:lnTo>
                      <a:pt x="1818" y="522"/>
                    </a:lnTo>
                    <a:lnTo>
                      <a:pt x="1806" y="534"/>
                    </a:lnTo>
                    <a:lnTo>
                      <a:pt x="1806" y="558"/>
                    </a:lnTo>
                    <a:lnTo>
                      <a:pt x="1788" y="558"/>
                    </a:lnTo>
                    <a:lnTo>
                      <a:pt x="1770" y="546"/>
                    </a:lnTo>
                    <a:lnTo>
                      <a:pt x="1758" y="540"/>
                    </a:lnTo>
                    <a:lnTo>
                      <a:pt x="1740" y="540"/>
                    </a:lnTo>
                    <a:lnTo>
                      <a:pt x="1728" y="552"/>
                    </a:lnTo>
                    <a:lnTo>
                      <a:pt x="1716" y="558"/>
                    </a:lnTo>
                    <a:lnTo>
                      <a:pt x="1692" y="582"/>
                    </a:lnTo>
                    <a:lnTo>
                      <a:pt x="1656" y="582"/>
                    </a:lnTo>
                    <a:lnTo>
                      <a:pt x="1656" y="588"/>
                    </a:lnTo>
                    <a:lnTo>
                      <a:pt x="1662" y="594"/>
                    </a:lnTo>
                    <a:lnTo>
                      <a:pt x="1662" y="618"/>
                    </a:lnTo>
                    <a:lnTo>
                      <a:pt x="1656" y="624"/>
                    </a:lnTo>
                    <a:lnTo>
                      <a:pt x="1626" y="624"/>
                    </a:lnTo>
                    <a:lnTo>
                      <a:pt x="1632" y="636"/>
                    </a:lnTo>
                    <a:lnTo>
                      <a:pt x="1632" y="654"/>
                    </a:lnTo>
                    <a:lnTo>
                      <a:pt x="1620" y="666"/>
                    </a:lnTo>
                    <a:lnTo>
                      <a:pt x="1566" y="666"/>
                    </a:lnTo>
                    <a:lnTo>
                      <a:pt x="1566" y="684"/>
                    </a:lnTo>
                    <a:lnTo>
                      <a:pt x="1572" y="690"/>
                    </a:lnTo>
                    <a:lnTo>
                      <a:pt x="1596" y="690"/>
                    </a:lnTo>
                    <a:lnTo>
                      <a:pt x="1596" y="714"/>
                    </a:lnTo>
                    <a:lnTo>
                      <a:pt x="1608" y="726"/>
                    </a:lnTo>
                    <a:lnTo>
                      <a:pt x="1608" y="732"/>
                    </a:lnTo>
                    <a:lnTo>
                      <a:pt x="1584" y="744"/>
                    </a:lnTo>
                    <a:lnTo>
                      <a:pt x="1572" y="744"/>
                    </a:lnTo>
                    <a:lnTo>
                      <a:pt x="1566" y="738"/>
                    </a:lnTo>
                    <a:lnTo>
                      <a:pt x="1554" y="738"/>
                    </a:lnTo>
                    <a:lnTo>
                      <a:pt x="1542" y="744"/>
                    </a:lnTo>
                    <a:lnTo>
                      <a:pt x="1512" y="744"/>
                    </a:lnTo>
                    <a:lnTo>
                      <a:pt x="1500" y="738"/>
                    </a:lnTo>
                    <a:lnTo>
                      <a:pt x="1482" y="738"/>
                    </a:lnTo>
                    <a:lnTo>
                      <a:pt x="1476" y="744"/>
                    </a:lnTo>
                    <a:lnTo>
                      <a:pt x="1464" y="750"/>
                    </a:lnTo>
                    <a:lnTo>
                      <a:pt x="1440" y="750"/>
                    </a:lnTo>
                    <a:lnTo>
                      <a:pt x="1428" y="738"/>
                    </a:lnTo>
                    <a:lnTo>
                      <a:pt x="1428" y="732"/>
                    </a:lnTo>
                    <a:lnTo>
                      <a:pt x="1428" y="738"/>
                    </a:lnTo>
                    <a:lnTo>
                      <a:pt x="1416" y="738"/>
                    </a:lnTo>
                    <a:lnTo>
                      <a:pt x="1392" y="726"/>
                    </a:lnTo>
                    <a:lnTo>
                      <a:pt x="1374" y="708"/>
                    </a:lnTo>
                    <a:lnTo>
                      <a:pt x="1374" y="696"/>
                    </a:lnTo>
                    <a:lnTo>
                      <a:pt x="1380" y="696"/>
                    </a:lnTo>
                    <a:lnTo>
                      <a:pt x="1374" y="696"/>
                    </a:lnTo>
                    <a:lnTo>
                      <a:pt x="1368" y="690"/>
                    </a:lnTo>
                    <a:lnTo>
                      <a:pt x="1368" y="642"/>
                    </a:lnTo>
                    <a:lnTo>
                      <a:pt x="1362" y="636"/>
                    </a:lnTo>
                    <a:lnTo>
                      <a:pt x="1350" y="630"/>
                    </a:lnTo>
                    <a:lnTo>
                      <a:pt x="1338" y="630"/>
                    </a:lnTo>
                    <a:lnTo>
                      <a:pt x="1326" y="642"/>
                    </a:lnTo>
                    <a:lnTo>
                      <a:pt x="1314" y="648"/>
                    </a:lnTo>
                    <a:lnTo>
                      <a:pt x="1326" y="666"/>
                    </a:lnTo>
                    <a:lnTo>
                      <a:pt x="1326" y="714"/>
                    </a:lnTo>
                    <a:lnTo>
                      <a:pt x="1338" y="738"/>
                    </a:lnTo>
                    <a:lnTo>
                      <a:pt x="1338" y="774"/>
                    </a:lnTo>
                    <a:lnTo>
                      <a:pt x="1272" y="774"/>
                    </a:lnTo>
                    <a:lnTo>
                      <a:pt x="1272" y="762"/>
                    </a:lnTo>
                    <a:lnTo>
                      <a:pt x="1266" y="756"/>
                    </a:lnTo>
                    <a:lnTo>
                      <a:pt x="1260" y="756"/>
                    </a:lnTo>
                    <a:lnTo>
                      <a:pt x="1248" y="762"/>
                    </a:lnTo>
                    <a:lnTo>
                      <a:pt x="1242" y="774"/>
                    </a:lnTo>
                    <a:lnTo>
                      <a:pt x="1236" y="762"/>
                    </a:lnTo>
                    <a:lnTo>
                      <a:pt x="1224" y="756"/>
                    </a:lnTo>
                    <a:lnTo>
                      <a:pt x="1206" y="750"/>
                    </a:lnTo>
                    <a:lnTo>
                      <a:pt x="1188" y="750"/>
                    </a:lnTo>
                    <a:lnTo>
                      <a:pt x="1182" y="756"/>
                    </a:lnTo>
                    <a:lnTo>
                      <a:pt x="1152" y="738"/>
                    </a:lnTo>
                    <a:lnTo>
                      <a:pt x="1134" y="750"/>
                    </a:lnTo>
                    <a:lnTo>
                      <a:pt x="1080" y="696"/>
                    </a:lnTo>
                    <a:lnTo>
                      <a:pt x="1056" y="696"/>
                    </a:lnTo>
                    <a:lnTo>
                      <a:pt x="1056" y="690"/>
                    </a:lnTo>
                    <a:lnTo>
                      <a:pt x="1044" y="678"/>
                    </a:lnTo>
                    <a:lnTo>
                      <a:pt x="1038" y="678"/>
                    </a:lnTo>
                    <a:lnTo>
                      <a:pt x="1032" y="684"/>
                    </a:lnTo>
                    <a:lnTo>
                      <a:pt x="1032" y="702"/>
                    </a:lnTo>
                    <a:lnTo>
                      <a:pt x="1032" y="696"/>
                    </a:lnTo>
                    <a:lnTo>
                      <a:pt x="1026" y="690"/>
                    </a:lnTo>
                    <a:lnTo>
                      <a:pt x="1008" y="690"/>
                    </a:lnTo>
                    <a:lnTo>
                      <a:pt x="996" y="702"/>
                    </a:lnTo>
                    <a:lnTo>
                      <a:pt x="990" y="690"/>
                    </a:lnTo>
                    <a:lnTo>
                      <a:pt x="984" y="684"/>
                    </a:lnTo>
                    <a:lnTo>
                      <a:pt x="960" y="684"/>
                    </a:lnTo>
                    <a:lnTo>
                      <a:pt x="954" y="678"/>
                    </a:lnTo>
                    <a:lnTo>
                      <a:pt x="954" y="666"/>
                    </a:lnTo>
                    <a:lnTo>
                      <a:pt x="942" y="666"/>
                    </a:lnTo>
                    <a:lnTo>
                      <a:pt x="936" y="672"/>
                    </a:lnTo>
                    <a:lnTo>
                      <a:pt x="918" y="672"/>
                    </a:lnTo>
                    <a:lnTo>
                      <a:pt x="912" y="666"/>
                    </a:lnTo>
                    <a:lnTo>
                      <a:pt x="906" y="654"/>
                    </a:lnTo>
                    <a:lnTo>
                      <a:pt x="900" y="648"/>
                    </a:lnTo>
                    <a:lnTo>
                      <a:pt x="888" y="648"/>
                    </a:lnTo>
                    <a:lnTo>
                      <a:pt x="846" y="630"/>
                    </a:lnTo>
                    <a:lnTo>
                      <a:pt x="834" y="612"/>
                    </a:lnTo>
                    <a:lnTo>
                      <a:pt x="810" y="612"/>
                    </a:lnTo>
                    <a:lnTo>
                      <a:pt x="792" y="588"/>
                    </a:lnTo>
                    <a:lnTo>
                      <a:pt x="780" y="594"/>
                    </a:lnTo>
                    <a:lnTo>
                      <a:pt x="750" y="564"/>
                    </a:lnTo>
                    <a:lnTo>
                      <a:pt x="750" y="552"/>
                    </a:lnTo>
                    <a:lnTo>
                      <a:pt x="762" y="540"/>
                    </a:lnTo>
                    <a:lnTo>
                      <a:pt x="768" y="540"/>
                    </a:lnTo>
                    <a:lnTo>
                      <a:pt x="756" y="528"/>
                    </a:lnTo>
                    <a:lnTo>
                      <a:pt x="756" y="522"/>
                    </a:lnTo>
                    <a:lnTo>
                      <a:pt x="762" y="516"/>
                    </a:lnTo>
                    <a:lnTo>
                      <a:pt x="756" y="504"/>
                    </a:lnTo>
                    <a:lnTo>
                      <a:pt x="780" y="480"/>
                    </a:lnTo>
                    <a:lnTo>
                      <a:pt x="786" y="456"/>
                    </a:lnTo>
                    <a:lnTo>
                      <a:pt x="762" y="438"/>
                    </a:lnTo>
                    <a:lnTo>
                      <a:pt x="750" y="438"/>
                    </a:lnTo>
                    <a:lnTo>
                      <a:pt x="738" y="432"/>
                    </a:lnTo>
                    <a:lnTo>
                      <a:pt x="738" y="414"/>
                    </a:lnTo>
                    <a:lnTo>
                      <a:pt x="720" y="420"/>
                    </a:lnTo>
                    <a:lnTo>
                      <a:pt x="702" y="402"/>
                    </a:lnTo>
                    <a:lnTo>
                      <a:pt x="696" y="402"/>
                    </a:lnTo>
                    <a:lnTo>
                      <a:pt x="690" y="396"/>
                    </a:lnTo>
                    <a:lnTo>
                      <a:pt x="678" y="396"/>
                    </a:lnTo>
                    <a:lnTo>
                      <a:pt x="666" y="390"/>
                    </a:lnTo>
                    <a:lnTo>
                      <a:pt x="654" y="378"/>
                    </a:lnTo>
                    <a:lnTo>
                      <a:pt x="648" y="366"/>
                    </a:lnTo>
                    <a:lnTo>
                      <a:pt x="618" y="366"/>
                    </a:lnTo>
                    <a:lnTo>
                      <a:pt x="612" y="360"/>
                    </a:lnTo>
                    <a:lnTo>
                      <a:pt x="612" y="342"/>
                    </a:lnTo>
                    <a:lnTo>
                      <a:pt x="618" y="336"/>
                    </a:lnTo>
                    <a:lnTo>
                      <a:pt x="618" y="324"/>
                    </a:lnTo>
                    <a:lnTo>
                      <a:pt x="612" y="324"/>
                    </a:lnTo>
                    <a:lnTo>
                      <a:pt x="600" y="312"/>
                    </a:lnTo>
                    <a:lnTo>
                      <a:pt x="594" y="300"/>
                    </a:lnTo>
                    <a:lnTo>
                      <a:pt x="588" y="294"/>
                    </a:lnTo>
                    <a:lnTo>
                      <a:pt x="588" y="276"/>
                    </a:lnTo>
                    <a:lnTo>
                      <a:pt x="594" y="276"/>
                    </a:lnTo>
                    <a:lnTo>
                      <a:pt x="600" y="270"/>
                    </a:lnTo>
                    <a:lnTo>
                      <a:pt x="612" y="270"/>
                    </a:lnTo>
                    <a:lnTo>
                      <a:pt x="612" y="288"/>
                    </a:lnTo>
                    <a:lnTo>
                      <a:pt x="624" y="300"/>
                    </a:lnTo>
                    <a:lnTo>
                      <a:pt x="636" y="282"/>
                    </a:lnTo>
                    <a:lnTo>
                      <a:pt x="642" y="282"/>
                    </a:lnTo>
                    <a:lnTo>
                      <a:pt x="648" y="276"/>
                    </a:lnTo>
                    <a:lnTo>
                      <a:pt x="660" y="270"/>
                    </a:lnTo>
                    <a:lnTo>
                      <a:pt x="660" y="258"/>
                    </a:lnTo>
                    <a:lnTo>
                      <a:pt x="642" y="240"/>
                    </a:lnTo>
                    <a:lnTo>
                      <a:pt x="636" y="228"/>
                    </a:lnTo>
                    <a:lnTo>
                      <a:pt x="630" y="222"/>
                    </a:lnTo>
                    <a:lnTo>
                      <a:pt x="618" y="222"/>
                    </a:lnTo>
                    <a:lnTo>
                      <a:pt x="594" y="210"/>
                    </a:lnTo>
                    <a:lnTo>
                      <a:pt x="594" y="186"/>
                    </a:lnTo>
                    <a:lnTo>
                      <a:pt x="612" y="180"/>
                    </a:lnTo>
                    <a:lnTo>
                      <a:pt x="594" y="156"/>
                    </a:lnTo>
                    <a:lnTo>
                      <a:pt x="624" y="156"/>
                    </a:lnTo>
                    <a:lnTo>
                      <a:pt x="636" y="150"/>
                    </a:lnTo>
                    <a:lnTo>
                      <a:pt x="642" y="138"/>
                    </a:lnTo>
                    <a:lnTo>
                      <a:pt x="642" y="114"/>
                    </a:lnTo>
                    <a:lnTo>
                      <a:pt x="636" y="108"/>
                    </a:lnTo>
                    <a:lnTo>
                      <a:pt x="636" y="102"/>
                    </a:lnTo>
                    <a:lnTo>
                      <a:pt x="654" y="102"/>
                    </a:lnTo>
                    <a:lnTo>
                      <a:pt x="660" y="96"/>
                    </a:lnTo>
                    <a:lnTo>
                      <a:pt x="660" y="36"/>
                    </a:lnTo>
                    <a:lnTo>
                      <a:pt x="618" y="36"/>
                    </a:lnTo>
                    <a:lnTo>
                      <a:pt x="594" y="12"/>
                    </a:lnTo>
                    <a:lnTo>
                      <a:pt x="576" y="0"/>
                    </a:lnTo>
                    <a:lnTo>
                      <a:pt x="564" y="0"/>
                    </a:lnTo>
                    <a:lnTo>
                      <a:pt x="540" y="12"/>
                    </a:lnTo>
                    <a:lnTo>
                      <a:pt x="522" y="18"/>
                    </a:lnTo>
                    <a:lnTo>
                      <a:pt x="516" y="30"/>
                    </a:lnTo>
                    <a:lnTo>
                      <a:pt x="504" y="36"/>
                    </a:lnTo>
                    <a:lnTo>
                      <a:pt x="480" y="36"/>
                    </a:lnTo>
                    <a:lnTo>
                      <a:pt x="456" y="72"/>
                    </a:lnTo>
                    <a:lnTo>
                      <a:pt x="432" y="78"/>
                    </a:lnTo>
                    <a:lnTo>
                      <a:pt x="432" y="96"/>
                    </a:lnTo>
                    <a:lnTo>
                      <a:pt x="408" y="96"/>
                    </a:lnTo>
                    <a:lnTo>
                      <a:pt x="402" y="102"/>
                    </a:lnTo>
                    <a:lnTo>
                      <a:pt x="396" y="96"/>
                    </a:lnTo>
                    <a:lnTo>
                      <a:pt x="390" y="102"/>
                    </a:lnTo>
                    <a:lnTo>
                      <a:pt x="378" y="108"/>
                    </a:lnTo>
                    <a:lnTo>
                      <a:pt x="372" y="114"/>
                    </a:lnTo>
                    <a:lnTo>
                      <a:pt x="360" y="120"/>
                    </a:lnTo>
                    <a:lnTo>
                      <a:pt x="348" y="120"/>
                    </a:lnTo>
                    <a:lnTo>
                      <a:pt x="348" y="108"/>
                    </a:lnTo>
                    <a:lnTo>
                      <a:pt x="342" y="102"/>
                    </a:lnTo>
                    <a:lnTo>
                      <a:pt x="324" y="102"/>
                    </a:lnTo>
                    <a:lnTo>
                      <a:pt x="306" y="96"/>
                    </a:lnTo>
                    <a:lnTo>
                      <a:pt x="264" y="96"/>
                    </a:lnTo>
                    <a:lnTo>
                      <a:pt x="240" y="108"/>
                    </a:lnTo>
                    <a:lnTo>
                      <a:pt x="234" y="120"/>
                    </a:lnTo>
                    <a:lnTo>
                      <a:pt x="234" y="126"/>
                    </a:lnTo>
                    <a:lnTo>
                      <a:pt x="258" y="144"/>
                    </a:lnTo>
                    <a:lnTo>
                      <a:pt x="252" y="156"/>
                    </a:lnTo>
                    <a:lnTo>
                      <a:pt x="282" y="162"/>
                    </a:lnTo>
                    <a:lnTo>
                      <a:pt x="276" y="168"/>
                    </a:lnTo>
                    <a:lnTo>
                      <a:pt x="270" y="180"/>
                    </a:lnTo>
                    <a:lnTo>
                      <a:pt x="264" y="186"/>
                    </a:lnTo>
                    <a:lnTo>
                      <a:pt x="264" y="192"/>
                    </a:lnTo>
                    <a:lnTo>
                      <a:pt x="276" y="204"/>
                    </a:lnTo>
                    <a:lnTo>
                      <a:pt x="282" y="204"/>
                    </a:lnTo>
                    <a:lnTo>
                      <a:pt x="282" y="210"/>
                    </a:lnTo>
                    <a:lnTo>
                      <a:pt x="276" y="222"/>
                    </a:lnTo>
                    <a:lnTo>
                      <a:pt x="276" y="234"/>
                    </a:lnTo>
                    <a:lnTo>
                      <a:pt x="294" y="234"/>
                    </a:lnTo>
                    <a:lnTo>
                      <a:pt x="306" y="252"/>
                    </a:lnTo>
                    <a:lnTo>
                      <a:pt x="324" y="252"/>
                    </a:lnTo>
                    <a:lnTo>
                      <a:pt x="330" y="288"/>
                    </a:lnTo>
                    <a:lnTo>
                      <a:pt x="366" y="288"/>
                    </a:lnTo>
                    <a:lnTo>
                      <a:pt x="378" y="294"/>
                    </a:lnTo>
                    <a:lnTo>
                      <a:pt x="384" y="300"/>
                    </a:lnTo>
                    <a:lnTo>
                      <a:pt x="384" y="306"/>
                    </a:lnTo>
                    <a:lnTo>
                      <a:pt x="378" y="312"/>
                    </a:lnTo>
                    <a:lnTo>
                      <a:pt x="354" y="324"/>
                    </a:lnTo>
                    <a:lnTo>
                      <a:pt x="342" y="324"/>
                    </a:lnTo>
                    <a:lnTo>
                      <a:pt x="336" y="330"/>
                    </a:lnTo>
                    <a:lnTo>
                      <a:pt x="336" y="366"/>
                    </a:lnTo>
                    <a:lnTo>
                      <a:pt x="342" y="378"/>
                    </a:lnTo>
                    <a:lnTo>
                      <a:pt x="354" y="390"/>
                    </a:lnTo>
                    <a:lnTo>
                      <a:pt x="354" y="396"/>
                    </a:lnTo>
                    <a:lnTo>
                      <a:pt x="324" y="414"/>
                    </a:lnTo>
                    <a:lnTo>
                      <a:pt x="300" y="450"/>
                    </a:lnTo>
                    <a:lnTo>
                      <a:pt x="318" y="474"/>
                    </a:lnTo>
                    <a:lnTo>
                      <a:pt x="306" y="474"/>
                    </a:lnTo>
                    <a:lnTo>
                      <a:pt x="300" y="480"/>
                    </a:lnTo>
                    <a:lnTo>
                      <a:pt x="288" y="486"/>
                    </a:lnTo>
                    <a:lnTo>
                      <a:pt x="282" y="492"/>
                    </a:lnTo>
                    <a:lnTo>
                      <a:pt x="282" y="504"/>
                    </a:lnTo>
                    <a:lnTo>
                      <a:pt x="276" y="522"/>
                    </a:lnTo>
                    <a:lnTo>
                      <a:pt x="276" y="534"/>
                    </a:lnTo>
                    <a:lnTo>
                      <a:pt x="270" y="552"/>
                    </a:lnTo>
                    <a:lnTo>
                      <a:pt x="258" y="564"/>
                    </a:lnTo>
                    <a:lnTo>
                      <a:pt x="234" y="576"/>
                    </a:lnTo>
                    <a:lnTo>
                      <a:pt x="228" y="582"/>
                    </a:lnTo>
                    <a:lnTo>
                      <a:pt x="228" y="588"/>
                    </a:lnTo>
                    <a:lnTo>
                      <a:pt x="222" y="594"/>
                    </a:lnTo>
                    <a:lnTo>
                      <a:pt x="222" y="612"/>
                    </a:lnTo>
                    <a:lnTo>
                      <a:pt x="204" y="624"/>
                    </a:lnTo>
                    <a:lnTo>
                      <a:pt x="204" y="630"/>
                    </a:lnTo>
                    <a:lnTo>
                      <a:pt x="198" y="636"/>
                    </a:lnTo>
                    <a:lnTo>
                      <a:pt x="192" y="648"/>
                    </a:lnTo>
                    <a:lnTo>
                      <a:pt x="186" y="654"/>
                    </a:lnTo>
                    <a:lnTo>
                      <a:pt x="168" y="654"/>
                    </a:lnTo>
                    <a:lnTo>
                      <a:pt x="162" y="648"/>
                    </a:lnTo>
                    <a:lnTo>
                      <a:pt x="156" y="654"/>
                    </a:lnTo>
                    <a:lnTo>
                      <a:pt x="132" y="666"/>
                    </a:lnTo>
                    <a:lnTo>
                      <a:pt x="126" y="666"/>
                    </a:lnTo>
                    <a:lnTo>
                      <a:pt x="120" y="660"/>
                    </a:lnTo>
                    <a:lnTo>
                      <a:pt x="120" y="648"/>
                    </a:lnTo>
                    <a:lnTo>
                      <a:pt x="114" y="642"/>
                    </a:lnTo>
                    <a:lnTo>
                      <a:pt x="108" y="642"/>
                    </a:lnTo>
                    <a:lnTo>
                      <a:pt x="96" y="648"/>
                    </a:lnTo>
                    <a:lnTo>
                      <a:pt x="84" y="660"/>
                    </a:lnTo>
                    <a:lnTo>
                      <a:pt x="84" y="666"/>
                    </a:lnTo>
                    <a:lnTo>
                      <a:pt x="78" y="678"/>
                    </a:lnTo>
                    <a:lnTo>
                      <a:pt x="72" y="684"/>
                    </a:lnTo>
                    <a:lnTo>
                      <a:pt x="66" y="696"/>
                    </a:lnTo>
                    <a:lnTo>
                      <a:pt x="54" y="708"/>
                    </a:lnTo>
                    <a:lnTo>
                      <a:pt x="48" y="720"/>
                    </a:lnTo>
                    <a:lnTo>
                      <a:pt x="48" y="744"/>
                    </a:lnTo>
                    <a:lnTo>
                      <a:pt x="54" y="750"/>
                    </a:lnTo>
                    <a:lnTo>
                      <a:pt x="66" y="756"/>
                    </a:lnTo>
                    <a:lnTo>
                      <a:pt x="72" y="756"/>
                    </a:lnTo>
                    <a:lnTo>
                      <a:pt x="102" y="750"/>
                    </a:lnTo>
                    <a:lnTo>
                      <a:pt x="102" y="768"/>
                    </a:lnTo>
                    <a:lnTo>
                      <a:pt x="96" y="798"/>
                    </a:lnTo>
                    <a:lnTo>
                      <a:pt x="102" y="804"/>
                    </a:lnTo>
                    <a:lnTo>
                      <a:pt x="108" y="816"/>
                    </a:lnTo>
                    <a:lnTo>
                      <a:pt x="120" y="828"/>
                    </a:lnTo>
                    <a:lnTo>
                      <a:pt x="144" y="828"/>
                    </a:lnTo>
                    <a:lnTo>
                      <a:pt x="144" y="852"/>
                    </a:lnTo>
                    <a:lnTo>
                      <a:pt x="168" y="894"/>
                    </a:lnTo>
                    <a:lnTo>
                      <a:pt x="174" y="906"/>
                    </a:lnTo>
                    <a:lnTo>
                      <a:pt x="180" y="912"/>
                    </a:lnTo>
                    <a:lnTo>
                      <a:pt x="180" y="936"/>
                    </a:lnTo>
                    <a:lnTo>
                      <a:pt x="168" y="942"/>
                    </a:lnTo>
                    <a:lnTo>
                      <a:pt x="162" y="948"/>
                    </a:lnTo>
                    <a:lnTo>
                      <a:pt x="144" y="948"/>
                    </a:lnTo>
                    <a:lnTo>
                      <a:pt x="138" y="942"/>
                    </a:lnTo>
                    <a:lnTo>
                      <a:pt x="138" y="930"/>
                    </a:lnTo>
                    <a:lnTo>
                      <a:pt x="132" y="930"/>
                    </a:lnTo>
                    <a:lnTo>
                      <a:pt x="120" y="936"/>
                    </a:lnTo>
                    <a:lnTo>
                      <a:pt x="108" y="948"/>
                    </a:lnTo>
                    <a:lnTo>
                      <a:pt x="84" y="948"/>
                    </a:lnTo>
                    <a:lnTo>
                      <a:pt x="78" y="942"/>
                    </a:lnTo>
                    <a:lnTo>
                      <a:pt x="78" y="936"/>
                    </a:lnTo>
                    <a:lnTo>
                      <a:pt x="54" y="948"/>
                    </a:lnTo>
                    <a:lnTo>
                      <a:pt x="48" y="942"/>
                    </a:lnTo>
                    <a:lnTo>
                      <a:pt x="36" y="936"/>
                    </a:lnTo>
                    <a:lnTo>
                      <a:pt x="24" y="936"/>
                    </a:lnTo>
                    <a:lnTo>
                      <a:pt x="12" y="948"/>
                    </a:lnTo>
                    <a:lnTo>
                      <a:pt x="12" y="960"/>
                    </a:lnTo>
                    <a:lnTo>
                      <a:pt x="18" y="966"/>
                    </a:lnTo>
                    <a:lnTo>
                      <a:pt x="0" y="972"/>
                    </a:lnTo>
                    <a:lnTo>
                      <a:pt x="36" y="972"/>
                    </a:lnTo>
                    <a:lnTo>
                      <a:pt x="30" y="984"/>
                    </a:lnTo>
                    <a:lnTo>
                      <a:pt x="30" y="1014"/>
                    </a:lnTo>
                    <a:lnTo>
                      <a:pt x="36" y="1026"/>
                    </a:lnTo>
                    <a:lnTo>
                      <a:pt x="48" y="1032"/>
                    </a:lnTo>
                    <a:lnTo>
                      <a:pt x="66" y="1038"/>
                    </a:lnTo>
                    <a:lnTo>
                      <a:pt x="120" y="1038"/>
                    </a:lnTo>
                    <a:lnTo>
                      <a:pt x="132" y="1032"/>
                    </a:lnTo>
                    <a:lnTo>
                      <a:pt x="150" y="1014"/>
                    </a:lnTo>
                    <a:lnTo>
                      <a:pt x="162" y="1008"/>
                    </a:lnTo>
                    <a:lnTo>
                      <a:pt x="168" y="1020"/>
                    </a:lnTo>
                    <a:lnTo>
                      <a:pt x="168" y="1026"/>
                    </a:lnTo>
                    <a:lnTo>
                      <a:pt x="162" y="1038"/>
                    </a:lnTo>
                    <a:lnTo>
                      <a:pt x="144" y="1056"/>
                    </a:lnTo>
                    <a:lnTo>
                      <a:pt x="120" y="1068"/>
                    </a:lnTo>
                    <a:lnTo>
                      <a:pt x="114" y="1074"/>
                    </a:lnTo>
                    <a:lnTo>
                      <a:pt x="90" y="1074"/>
                    </a:lnTo>
                    <a:lnTo>
                      <a:pt x="78" y="1080"/>
                    </a:lnTo>
                    <a:lnTo>
                      <a:pt x="60" y="1086"/>
                    </a:lnTo>
                    <a:lnTo>
                      <a:pt x="48" y="1092"/>
                    </a:lnTo>
                    <a:lnTo>
                      <a:pt x="42" y="1098"/>
                    </a:lnTo>
                    <a:lnTo>
                      <a:pt x="54" y="1122"/>
                    </a:lnTo>
                    <a:lnTo>
                      <a:pt x="66" y="1128"/>
                    </a:lnTo>
                    <a:lnTo>
                      <a:pt x="78" y="1140"/>
                    </a:lnTo>
                    <a:lnTo>
                      <a:pt x="96" y="1152"/>
                    </a:lnTo>
                    <a:lnTo>
                      <a:pt x="108" y="1164"/>
                    </a:lnTo>
                    <a:lnTo>
                      <a:pt x="132" y="1182"/>
                    </a:lnTo>
                    <a:lnTo>
                      <a:pt x="162" y="1206"/>
                    </a:lnTo>
                    <a:lnTo>
                      <a:pt x="204" y="1224"/>
                    </a:lnTo>
                    <a:lnTo>
                      <a:pt x="240" y="1218"/>
                    </a:lnTo>
                    <a:lnTo>
                      <a:pt x="270" y="1200"/>
                    </a:lnTo>
                    <a:lnTo>
                      <a:pt x="294" y="1176"/>
                    </a:lnTo>
                    <a:lnTo>
                      <a:pt x="300" y="1158"/>
                    </a:lnTo>
                    <a:lnTo>
                      <a:pt x="300" y="1128"/>
                    </a:lnTo>
                    <a:lnTo>
                      <a:pt x="306" y="1116"/>
                    </a:lnTo>
                    <a:lnTo>
                      <a:pt x="318" y="1104"/>
                    </a:lnTo>
                    <a:lnTo>
                      <a:pt x="324" y="1092"/>
                    </a:lnTo>
                    <a:lnTo>
                      <a:pt x="330" y="1086"/>
                    </a:lnTo>
                    <a:lnTo>
                      <a:pt x="342" y="1086"/>
                    </a:lnTo>
                    <a:lnTo>
                      <a:pt x="348" y="1080"/>
                    </a:lnTo>
                    <a:lnTo>
                      <a:pt x="354" y="1080"/>
                    </a:lnTo>
                    <a:lnTo>
                      <a:pt x="360" y="1086"/>
                    </a:lnTo>
                    <a:lnTo>
                      <a:pt x="360" y="1098"/>
                    </a:lnTo>
                    <a:lnTo>
                      <a:pt x="348" y="1110"/>
                    </a:lnTo>
                    <a:lnTo>
                      <a:pt x="336" y="1128"/>
                    </a:lnTo>
                    <a:lnTo>
                      <a:pt x="324" y="1140"/>
                    </a:lnTo>
                    <a:lnTo>
                      <a:pt x="318" y="1152"/>
                    </a:lnTo>
                    <a:lnTo>
                      <a:pt x="318" y="1164"/>
                    </a:lnTo>
                    <a:lnTo>
                      <a:pt x="324" y="1176"/>
                    </a:lnTo>
                    <a:lnTo>
                      <a:pt x="336" y="1182"/>
                    </a:lnTo>
                    <a:lnTo>
                      <a:pt x="342" y="1182"/>
                    </a:lnTo>
                    <a:lnTo>
                      <a:pt x="354" y="1194"/>
                    </a:lnTo>
                    <a:lnTo>
                      <a:pt x="354" y="1206"/>
                    </a:lnTo>
                    <a:lnTo>
                      <a:pt x="348" y="1242"/>
                    </a:lnTo>
                    <a:lnTo>
                      <a:pt x="342" y="1284"/>
                    </a:lnTo>
                    <a:lnTo>
                      <a:pt x="336" y="1338"/>
                    </a:lnTo>
                    <a:lnTo>
                      <a:pt x="342" y="1398"/>
                    </a:lnTo>
                    <a:lnTo>
                      <a:pt x="354" y="1446"/>
                    </a:lnTo>
                    <a:lnTo>
                      <a:pt x="384" y="1536"/>
                    </a:lnTo>
                    <a:lnTo>
                      <a:pt x="402" y="1554"/>
                    </a:lnTo>
                    <a:lnTo>
                      <a:pt x="402" y="1596"/>
                    </a:lnTo>
                    <a:lnTo>
                      <a:pt x="414" y="1620"/>
                    </a:lnTo>
                    <a:lnTo>
                      <a:pt x="426" y="1626"/>
                    </a:lnTo>
                    <a:lnTo>
                      <a:pt x="438" y="1626"/>
                    </a:lnTo>
                    <a:lnTo>
                      <a:pt x="444" y="1632"/>
                    </a:lnTo>
                    <a:lnTo>
                      <a:pt x="450" y="1632"/>
                    </a:lnTo>
                    <a:lnTo>
                      <a:pt x="450" y="1644"/>
                    </a:lnTo>
                    <a:lnTo>
                      <a:pt x="456" y="1656"/>
                    </a:lnTo>
                    <a:lnTo>
                      <a:pt x="456" y="1674"/>
                    </a:lnTo>
                    <a:lnTo>
                      <a:pt x="474" y="1710"/>
                    </a:lnTo>
                    <a:lnTo>
                      <a:pt x="498" y="1722"/>
                    </a:lnTo>
                    <a:lnTo>
                      <a:pt x="504" y="1728"/>
                    </a:lnTo>
                    <a:lnTo>
                      <a:pt x="510" y="1728"/>
                    </a:lnTo>
                    <a:lnTo>
                      <a:pt x="510" y="1746"/>
                    </a:lnTo>
                    <a:lnTo>
                      <a:pt x="516" y="1782"/>
                    </a:lnTo>
                    <a:lnTo>
                      <a:pt x="522" y="1830"/>
                    </a:lnTo>
                    <a:lnTo>
                      <a:pt x="534" y="1872"/>
                    </a:lnTo>
                    <a:lnTo>
                      <a:pt x="552" y="1908"/>
                    </a:lnTo>
                    <a:lnTo>
                      <a:pt x="576" y="1944"/>
                    </a:lnTo>
                    <a:lnTo>
                      <a:pt x="600" y="1974"/>
                    </a:lnTo>
                    <a:lnTo>
                      <a:pt x="612" y="1998"/>
                    </a:lnTo>
                    <a:lnTo>
                      <a:pt x="618" y="2016"/>
                    </a:lnTo>
                    <a:lnTo>
                      <a:pt x="618" y="2070"/>
                    </a:lnTo>
                    <a:lnTo>
                      <a:pt x="624" y="2094"/>
                    </a:lnTo>
                    <a:lnTo>
                      <a:pt x="642" y="2124"/>
                    </a:lnTo>
                    <a:lnTo>
                      <a:pt x="672" y="2166"/>
                    </a:lnTo>
                    <a:lnTo>
                      <a:pt x="696" y="2202"/>
                    </a:lnTo>
                    <a:lnTo>
                      <a:pt x="714" y="2232"/>
                    </a:lnTo>
                    <a:lnTo>
                      <a:pt x="720" y="2244"/>
                    </a:lnTo>
                    <a:lnTo>
                      <a:pt x="726" y="2244"/>
                    </a:lnTo>
                    <a:lnTo>
                      <a:pt x="732" y="2238"/>
                    </a:lnTo>
                    <a:lnTo>
                      <a:pt x="744" y="2238"/>
                    </a:lnTo>
                    <a:lnTo>
                      <a:pt x="768" y="2226"/>
                    </a:lnTo>
                    <a:lnTo>
                      <a:pt x="774" y="2220"/>
                    </a:lnTo>
                    <a:lnTo>
                      <a:pt x="780" y="2208"/>
                    </a:lnTo>
                    <a:lnTo>
                      <a:pt x="780" y="2172"/>
                    </a:lnTo>
                    <a:lnTo>
                      <a:pt x="786" y="2160"/>
                    </a:lnTo>
                    <a:lnTo>
                      <a:pt x="798" y="2154"/>
                    </a:lnTo>
                    <a:lnTo>
                      <a:pt x="804" y="2154"/>
                    </a:lnTo>
                    <a:lnTo>
                      <a:pt x="810" y="2160"/>
                    </a:lnTo>
                    <a:lnTo>
                      <a:pt x="828" y="2160"/>
                    </a:lnTo>
                    <a:lnTo>
                      <a:pt x="834" y="2154"/>
                    </a:lnTo>
                    <a:lnTo>
                      <a:pt x="846" y="2148"/>
                    </a:lnTo>
                    <a:lnTo>
                      <a:pt x="852" y="2142"/>
                    </a:lnTo>
                    <a:lnTo>
                      <a:pt x="864" y="2136"/>
                    </a:lnTo>
                    <a:lnTo>
                      <a:pt x="852" y="2136"/>
                    </a:lnTo>
                    <a:lnTo>
                      <a:pt x="846" y="2130"/>
                    </a:lnTo>
                    <a:lnTo>
                      <a:pt x="846" y="2118"/>
                    </a:lnTo>
                    <a:lnTo>
                      <a:pt x="852" y="2100"/>
                    </a:lnTo>
                    <a:lnTo>
                      <a:pt x="858" y="2088"/>
                    </a:lnTo>
                    <a:lnTo>
                      <a:pt x="906" y="2064"/>
                    </a:lnTo>
                    <a:lnTo>
                      <a:pt x="918" y="2052"/>
                    </a:lnTo>
                    <a:lnTo>
                      <a:pt x="918" y="2040"/>
                    </a:lnTo>
                    <a:lnTo>
                      <a:pt x="912" y="2028"/>
                    </a:lnTo>
                    <a:lnTo>
                      <a:pt x="912" y="2010"/>
                    </a:lnTo>
                    <a:lnTo>
                      <a:pt x="900" y="1974"/>
                    </a:lnTo>
                    <a:lnTo>
                      <a:pt x="900" y="1908"/>
                    </a:lnTo>
                    <a:lnTo>
                      <a:pt x="906" y="1890"/>
                    </a:lnTo>
                    <a:lnTo>
                      <a:pt x="906" y="1884"/>
                    </a:lnTo>
                    <a:lnTo>
                      <a:pt x="912" y="1878"/>
                    </a:lnTo>
                    <a:lnTo>
                      <a:pt x="912" y="1860"/>
                    </a:lnTo>
                    <a:lnTo>
                      <a:pt x="918" y="1842"/>
                    </a:lnTo>
                    <a:lnTo>
                      <a:pt x="918" y="1800"/>
                    </a:lnTo>
                    <a:lnTo>
                      <a:pt x="906" y="1776"/>
                    </a:lnTo>
                    <a:lnTo>
                      <a:pt x="888" y="1758"/>
                    </a:lnTo>
                    <a:lnTo>
                      <a:pt x="888" y="1728"/>
                    </a:lnTo>
                    <a:lnTo>
                      <a:pt x="894" y="1722"/>
                    </a:lnTo>
                    <a:lnTo>
                      <a:pt x="900" y="1710"/>
                    </a:lnTo>
                    <a:lnTo>
                      <a:pt x="900" y="1698"/>
                    </a:lnTo>
                    <a:lnTo>
                      <a:pt x="894" y="1686"/>
                    </a:lnTo>
                    <a:lnTo>
                      <a:pt x="894" y="1644"/>
                    </a:lnTo>
                    <a:lnTo>
                      <a:pt x="918" y="1632"/>
                    </a:lnTo>
                    <a:lnTo>
                      <a:pt x="924" y="1632"/>
                    </a:lnTo>
                    <a:lnTo>
                      <a:pt x="948" y="1620"/>
                    </a:lnTo>
                    <a:lnTo>
                      <a:pt x="948" y="1596"/>
                    </a:lnTo>
                    <a:lnTo>
                      <a:pt x="954" y="1584"/>
                    </a:lnTo>
                    <a:lnTo>
                      <a:pt x="960" y="1578"/>
                    </a:lnTo>
                    <a:lnTo>
                      <a:pt x="972" y="1572"/>
                    </a:lnTo>
                    <a:lnTo>
                      <a:pt x="990" y="1572"/>
                    </a:lnTo>
                    <a:lnTo>
                      <a:pt x="996" y="1560"/>
                    </a:lnTo>
                    <a:lnTo>
                      <a:pt x="1002" y="1566"/>
                    </a:lnTo>
                    <a:lnTo>
                      <a:pt x="1032" y="1566"/>
                    </a:lnTo>
                    <a:lnTo>
                      <a:pt x="1032" y="1548"/>
                    </a:lnTo>
                    <a:lnTo>
                      <a:pt x="1038" y="1530"/>
                    </a:lnTo>
                    <a:lnTo>
                      <a:pt x="1050" y="1518"/>
                    </a:lnTo>
                    <a:lnTo>
                      <a:pt x="1056" y="1500"/>
                    </a:lnTo>
                    <a:lnTo>
                      <a:pt x="1068" y="1488"/>
                    </a:lnTo>
                    <a:lnTo>
                      <a:pt x="1074" y="1476"/>
                    </a:lnTo>
                    <a:lnTo>
                      <a:pt x="1086" y="1470"/>
                    </a:lnTo>
                    <a:lnTo>
                      <a:pt x="1092" y="1464"/>
                    </a:lnTo>
                    <a:lnTo>
                      <a:pt x="1110" y="1458"/>
                    </a:lnTo>
                    <a:lnTo>
                      <a:pt x="1116" y="1452"/>
                    </a:lnTo>
                    <a:lnTo>
                      <a:pt x="1128" y="1446"/>
                    </a:lnTo>
                    <a:lnTo>
                      <a:pt x="1134" y="1428"/>
                    </a:lnTo>
                    <a:lnTo>
                      <a:pt x="1158" y="1380"/>
                    </a:lnTo>
                    <a:lnTo>
                      <a:pt x="1176" y="1362"/>
                    </a:lnTo>
                    <a:lnTo>
                      <a:pt x="1188" y="1356"/>
                    </a:lnTo>
                    <a:lnTo>
                      <a:pt x="1206" y="1344"/>
                    </a:lnTo>
                    <a:lnTo>
                      <a:pt x="1218" y="1338"/>
                    </a:lnTo>
                    <a:lnTo>
                      <a:pt x="1236" y="1320"/>
                    </a:lnTo>
                    <a:lnTo>
                      <a:pt x="1242" y="1320"/>
                    </a:lnTo>
                    <a:lnTo>
                      <a:pt x="1230" y="1290"/>
                    </a:lnTo>
                    <a:lnTo>
                      <a:pt x="1236" y="1284"/>
                    </a:lnTo>
                    <a:lnTo>
                      <a:pt x="1260" y="1314"/>
                    </a:lnTo>
                    <a:lnTo>
                      <a:pt x="1320" y="1254"/>
                    </a:lnTo>
                    <a:lnTo>
                      <a:pt x="1332" y="1230"/>
                    </a:lnTo>
                    <a:lnTo>
                      <a:pt x="1326" y="1224"/>
                    </a:lnTo>
                    <a:lnTo>
                      <a:pt x="1320" y="1212"/>
                    </a:lnTo>
                    <a:lnTo>
                      <a:pt x="1314" y="1206"/>
                    </a:lnTo>
                    <a:lnTo>
                      <a:pt x="1308" y="1194"/>
                    </a:lnTo>
                    <a:lnTo>
                      <a:pt x="1308" y="1182"/>
                    </a:lnTo>
                    <a:lnTo>
                      <a:pt x="1320" y="1176"/>
                    </a:lnTo>
                    <a:lnTo>
                      <a:pt x="1326" y="1170"/>
                    </a:lnTo>
                    <a:lnTo>
                      <a:pt x="1338" y="1170"/>
                    </a:lnTo>
                    <a:lnTo>
                      <a:pt x="1350" y="1164"/>
                    </a:lnTo>
                    <a:lnTo>
                      <a:pt x="1362" y="1152"/>
                    </a:lnTo>
                    <a:lnTo>
                      <a:pt x="1374" y="1134"/>
                    </a:lnTo>
                    <a:lnTo>
                      <a:pt x="1374" y="1110"/>
                    </a:lnTo>
                    <a:lnTo>
                      <a:pt x="1392" y="1116"/>
                    </a:lnTo>
                    <a:lnTo>
                      <a:pt x="1398" y="1146"/>
                    </a:lnTo>
                    <a:lnTo>
                      <a:pt x="1416" y="1110"/>
                    </a:lnTo>
                    <a:lnTo>
                      <a:pt x="1416" y="1128"/>
                    </a:lnTo>
                    <a:lnTo>
                      <a:pt x="1422" y="1140"/>
                    </a:lnTo>
                    <a:lnTo>
                      <a:pt x="1422" y="1158"/>
                    </a:lnTo>
                    <a:lnTo>
                      <a:pt x="1428" y="1170"/>
                    </a:lnTo>
                    <a:lnTo>
                      <a:pt x="1434" y="1176"/>
                    </a:lnTo>
                    <a:lnTo>
                      <a:pt x="1440" y="1176"/>
                    </a:lnTo>
                    <a:lnTo>
                      <a:pt x="1446" y="1170"/>
                    </a:lnTo>
                    <a:lnTo>
                      <a:pt x="1446" y="1158"/>
                    </a:lnTo>
                    <a:lnTo>
                      <a:pt x="1452" y="1152"/>
                    </a:lnTo>
                    <a:lnTo>
                      <a:pt x="1452" y="1140"/>
                    </a:lnTo>
                    <a:lnTo>
                      <a:pt x="1458" y="1110"/>
                    </a:lnTo>
                    <a:lnTo>
                      <a:pt x="1440" y="1068"/>
                    </a:lnTo>
                    <a:lnTo>
                      <a:pt x="1440" y="1038"/>
                    </a:lnTo>
                    <a:lnTo>
                      <a:pt x="1410" y="1014"/>
                    </a:lnTo>
                    <a:lnTo>
                      <a:pt x="1398" y="984"/>
                    </a:lnTo>
                    <a:lnTo>
                      <a:pt x="1404" y="972"/>
                    </a:lnTo>
                    <a:lnTo>
                      <a:pt x="1410" y="966"/>
                    </a:lnTo>
                    <a:lnTo>
                      <a:pt x="1416" y="948"/>
                    </a:lnTo>
                    <a:lnTo>
                      <a:pt x="1416" y="942"/>
                    </a:lnTo>
                    <a:lnTo>
                      <a:pt x="1410" y="936"/>
                    </a:lnTo>
                    <a:lnTo>
                      <a:pt x="1398" y="930"/>
                    </a:lnTo>
                    <a:lnTo>
                      <a:pt x="1380" y="930"/>
                    </a:lnTo>
                    <a:lnTo>
                      <a:pt x="1368" y="924"/>
                    </a:lnTo>
                    <a:lnTo>
                      <a:pt x="1356" y="912"/>
                    </a:lnTo>
                    <a:lnTo>
                      <a:pt x="1368" y="900"/>
                    </a:lnTo>
                    <a:lnTo>
                      <a:pt x="1374" y="900"/>
                    </a:lnTo>
                    <a:lnTo>
                      <a:pt x="1374" y="870"/>
                    </a:lnTo>
                    <a:lnTo>
                      <a:pt x="1410" y="870"/>
                    </a:lnTo>
                    <a:lnTo>
                      <a:pt x="1410" y="858"/>
                    </a:lnTo>
                    <a:lnTo>
                      <a:pt x="1380" y="840"/>
                    </a:lnTo>
                    <a:lnTo>
                      <a:pt x="1374" y="840"/>
                    </a:lnTo>
                    <a:lnTo>
                      <a:pt x="1362" y="828"/>
                    </a:lnTo>
                    <a:lnTo>
                      <a:pt x="1350" y="822"/>
                    </a:lnTo>
                    <a:lnTo>
                      <a:pt x="1344" y="810"/>
                    </a:lnTo>
                    <a:lnTo>
                      <a:pt x="1344" y="804"/>
                    </a:lnTo>
                    <a:lnTo>
                      <a:pt x="1350" y="792"/>
                    </a:lnTo>
                    <a:lnTo>
                      <a:pt x="1362" y="780"/>
                    </a:lnTo>
                    <a:lnTo>
                      <a:pt x="1350" y="762"/>
                    </a:lnTo>
                    <a:lnTo>
                      <a:pt x="1368" y="762"/>
                    </a:lnTo>
                    <a:lnTo>
                      <a:pt x="1392" y="774"/>
                    </a:lnTo>
                    <a:lnTo>
                      <a:pt x="1386" y="768"/>
                    </a:lnTo>
                    <a:lnTo>
                      <a:pt x="1404" y="762"/>
                    </a:lnTo>
                    <a:lnTo>
                      <a:pt x="1410" y="774"/>
                    </a:lnTo>
                    <a:lnTo>
                      <a:pt x="1410" y="780"/>
                    </a:lnTo>
                    <a:lnTo>
                      <a:pt x="1416" y="792"/>
                    </a:lnTo>
                    <a:lnTo>
                      <a:pt x="1422" y="798"/>
                    </a:lnTo>
                    <a:lnTo>
                      <a:pt x="1434" y="798"/>
                    </a:lnTo>
                    <a:lnTo>
                      <a:pt x="1440" y="804"/>
                    </a:lnTo>
                    <a:lnTo>
                      <a:pt x="1446" y="786"/>
                    </a:lnTo>
                    <a:lnTo>
                      <a:pt x="1452" y="792"/>
                    </a:lnTo>
                    <a:lnTo>
                      <a:pt x="1458" y="792"/>
                    </a:lnTo>
                    <a:lnTo>
                      <a:pt x="1464" y="798"/>
                    </a:lnTo>
                    <a:lnTo>
                      <a:pt x="1464" y="828"/>
                    </a:lnTo>
                    <a:lnTo>
                      <a:pt x="1470" y="828"/>
                    </a:lnTo>
                    <a:lnTo>
                      <a:pt x="1470" y="864"/>
                    </a:lnTo>
                    <a:lnTo>
                      <a:pt x="1476" y="864"/>
                    </a:lnTo>
                    <a:lnTo>
                      <a:pt x="1482" y="870"/>
                    </a:lnTo>
                    <a:lnTo>
                      <a:pt x="1542" y="870"/>
                    </a:lnTo>
                    <a:lnTo>
                      <a:pt x="1554" y="876"/>
                    </a:lnTo>
                    <a:lnTo>
                      <a:pt x="1572" y="876"/>
                    </a:lnTo>
                    <a:lnTo>
                      <a:pt x="1620" y="864"/>
                    </a:lnTo>
                    <a:lnTo>
                      <a:pt x="1626" y="864"/>
                    </a:lnTo>
                    <a:lnTo>
                      <a:pt x="1650" y="888"/>
                    </a:lnTo>
                    <a:lnTo>
                      <a:pt x="1650" y="894"/>
                    </a:lnTo>
                    <a:lnTo>
                      <a:pt x="1644" y="900"/>
                    </a:lnTo>
                    <a:lnTo>
                      <a:pt x="1638" y="900"/>
                    </a:lnTo>
                    <a:lnTo>
                      <a:pt x="1638" y="912"/>
                    </a:lnTo>
                    <a:lnTo>
                      <a:pt x="1632" y="930"/>
                    </a:lnTo>
                    <a:lnTo>
                      <a:pt x="1626" y="942"/>
                    </a:lnTo>
                    <a:lnTo>
                      <a:pt x="1620" y="948"/>
                    </a:lnTo>
                    <a:lnTo>
                      <a:pt x="1614" y="948"/>
                    </a:lnTo>
                    <a:lnTo>
                      <a:pt x="1602" y="954"/>
                    </a:lnTo>
                    <a:lnTo>
                      <a:pt x="1596" y="954"/>
                    </a:lnTo>
                    <a:lnTo>
                      <a:pt x="1584" y="966"/>
                    </a:lnTo>
                    <a:lnTo>
                      <a:pt x="1578" y="978"/>
                    </a:lnTo>
                    <a:lnTo>
                      <a:pt x="1578" y="996"/>
                    </a:lnTo>
                    <a:lnTo>
                      <a:pt x="1584" y="1008"/>
                    </a:lnTo>
                    <a:lnTo>
                      <a:pt x="1602" y="1026"/>
                    </a:lnTo>
                    <a:lnTo>
                      <a:pt x="1608" y="1026"/>
                    </a:lnTo>
                    <a:lnTo>
                      <a:pt x="1626" y="1050"/>
                    </a:lnTo>
                    <a:lnTo>
                      <a:pt x="1632" y="1014"/>
                    </a:lnTo>
                    <a:lnTo>
                      <a:pt x="1632" y="990"/>
                    </a:lnTo>
                    <a:lnTo>
                      <a:pt x="1650" y="990"/>
                    </a:lnTo>
                    <a:lnTo>
                      <a:pt x="1662" y="996"/>
                    </a:lnTo>
                    <a:lnTo>
                      <a:pt x="1668" y="1002"/>
                    </a:lnTo>
                    <a:lnTo>
                      <a:pt x="1668" y="1020"/>
                    </a:lnTo>
                    <a:lnTo>
                      <a:pt x="1674" y="1032"/>
                    </a:lnTo>
                    <a:lnTo>
                      <a:pt x="1674" y="1038"/>
                    </a:lnTo>
                    <a:lnTo>
                      <a:pt x="1680" y="1050"/>
                    </a:lnTo>
                    <a:lnTo>
                      <a:pt x="1680" y="1062"/>
                    </a:lnTo>
                    <a:lnTo>
                      <a:pt x="1686" y="1074"/>
                    </a:lnTo>
                    <a:lnTo>
                      <a:pt x="1692" y="1092"/>
                    </a:lnTo>
                    <a:lnTo>
                      <a:pt x="1698" y="1104"/>
                    </a:lnTo>
                    <a:lnTo>
                      <a:pt x="1704" y="1110"/>
                    </a:lnTo>
                    <a:lnTo>
                      <a:pt x="1704" y="1116"/>
                    </a:lnTo>
                    <a:lnTo>
                      <a:pt x="1722" y="1134"/>
                    </a:lnTo>
                    <a:lnTo>
                      <a:pt x="1722" y="1110"/>
                    </a:lnTo>
                    <a:lnTo>
                      <a:pt x="1728" y="1110"/>
                    </a:lnTo>
                    <a:lnTo>
                      <a:pt x="1734" y="1116"/>
                    </a:lnTo>
                    <a:lnTo>
                      <a:pt x="1746" y="1116"/>
                    </a:lnTo>
                    <a:lnTo>
                      <a:pt x="1746" y="1104"/>
                    </a:lnTo>
                    <a:lnTo>
                      <a:pt x="1728" y="1086"/>
                    </a:lnTo>
                    <a:lnTo>
                      <a:pt x="1728" y="1062"/>
                    </a:lnTo>
                    <a:lnTo>
                      <a:pt x="1722" y="1050"/>
                    </a:lnTo>
                    <a:lnTo>
                      <a:pt x="1740" y="1032"/>
                    </a:lnTo>
                    <a:lnTo>
                      <a:pt x="1746" y="1032"/>
                    </a:lnTo>
                    <a:lnTo>
                      <a:pt x="1740" y="984"/>
                    </a:lnTo>
                    <a:lnTo>
                      <a:pt x="1722" y="966"/>
                    </a:lnTo>
                    <a:lnTo>
                      <a:pt x="1716" y="966"/>
                    </a:lnTo>
                    <a:lnTo>
                      <a:pt x="1770" y="966"/>
                    </a:lnTo>
                    <a:lnTo>
                      <a:pt x="1782" y="972"/>
                    </a:lnTo>
                    <a:lnTo>
                      <a:pt x="1794" y="972"/>
                    </a:lnTo>
                    <a:lnTo>
                      <a:pt x="1794" y="936"/>
                    </a:lnTo>
                    <a:lnTo>
                      <a:pt x="1812" y="882"/>
                    </a:lnTo>
                    <a:lnTo>
                      <a:pt x="1806" y="876"/>
                    </a:lnTo>
                    <a:lnTo>
                      <a:pt x="1800" y="864"/>
                    </a:lnTo>
                    <a:lnTo>
                      <a:pt x="1800" y="846"/>
                    </a:lnTo>
                    <a:lnTo>
                      <a:pt x="1812" y="840"/>
                    </a:lnTo>
                    <a:lnTo>
                      <a:pt x="1818" y="834"/>
                    </a:lnTo>
                    <a:lnTo>
                      <a:pt x="1836" y="804"/>
                    </a:lnTo>
                    <a:lnTo>
                      <a:pt x="1836" y="792"/>
                    </a:lnTo>
                    <a:lnTo>
                      <a:pt x="1830" y="786"/>
                    </a:lnTo>
                    <a:lnTo>
                      <a:pt x="1830" y="780"/>
                    </a:lnTo>
                    <a:lnTo>
                      <a:pt x="1824" y="774"/>
                    </a:lnTo>
                    <a:lnTo>
                      <a:pt x="1824" y="750"/>
                    </a:lnTo>
                    <a:lnTo>
                      <a:pt x="1830" y="750"/>
                    </a:lnTo>
                    <a:lnTo>
                      <a:pt x="1836" y="744"/>
                    </a:lnTo>
                    <a:lnTo>
                      <a:pt x="1848" y="744"/>
                    </a:lnTo>
                    <a:lnTo>
                      <a:pt x="1860" y="738"/>
                    </a:lnTo>
                    <a:lnTo>
                      <a:pt x="1872" y="726"/>
                    </a:lnTo>
                    <a:lnTo>
                      <a:pt x="1872" y="708"/>
                    </a:lnTo>
                    <a:lnTo>
                      <a:pt x="1878" y="708"/>
                    </a:lnTo>
                    <a:lnTo>
                      <a:pt x="1890" y="702"/>
                    </a:lnTo>
                    <a:lnTo>
                      <a:pt x="1926" y="702"/>
                    </a:lnTo>
                    <a:lnTo>
                      <a:pt x="1932" y="708"/>
                    </a:lnTo>
                    <a:lnTo>
                      <a:pt x="1950" y="708"/>
                    </a:lnTo>
                    <a:lnTo>
                      <a:pt x="1950" y="702"/>
                    </a:lnTo>
                    <a:lnTo>
                      <a:pt x="1944" y="696"/>
                    </a:lnTo>
                    <a:lnTo>
                      <a:pt x="1932" y="690"/>
                    </a:lnTo>
                    <a:lnTo>
                      <a:pt x="1926" y="684"/>
                    </a:lnTo>
                    <a:lnTo>
                      <a:pt x="1920" y="672"/>
                    </a:lnTo>
                    <a:close/>
                  </a:path>
                </a:pathLst>
              </a:custGeom>
              <a:solidFill>
                <a:srgbClr val="4A66AC"/>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dirty="0">
                  <a:solidFill>
                    <a:prstClr val="black"/>
                  </a:solidFill>
                </a:endParaRPr>
              </a:p>
            </p:txBody>
          </p:sp>
          <p:sp>
            <p:nvSpPr>
              <p:cNvPr id="177" name="Bhutan" descr="© INSCALE GmbH, 05.05.2010&#10;http://www.presentationload.com/">
                <a:extLst>
                  <a:ext uri="{FF2B5EF4-FFF2-40B4-BE49-F238E27FC236}">
                    <a16:creationId xmlns:a16="http://schemas.microsoft.com/office/drawing/2014/main" id="{35245CFF-22FA-4F07-AC63-9BF24E5D5157}"/>
                  </a:ext>
                </a:extLst>
              </p:cNvPr>
              <p:cNvSpPr>
                <a:spLocks/>
              </p:cNvSpPr>
              <p:nvPr/>
            </p:nvSpPr>
            <p:spPr bwMode="gray">
              <a:xfrm>
                <a:off x="6643484" y="3549069"/>
                <a:ext cx="92035" cy="58912"/>
              </a:xfrm>
              <a:custGeom>
                <a:avLst/>
                <a:gdLst>
                  <a:gd name="T0" fmla="*/ 2147483647 w 234"/>
                  <a:gd name="T1" fmla="*/ 2147483647 h 132"/>
                  <a:gd name="T2" fmla="*/ 2147483647 w 234"/>
                  <a:gd name="T3" fmla="*/ 2147483647 h 132"/>
                  <a:gd name="T4" fmla="*/ 2147483647 w 234"/>
                  <a:gd name="T5" fmla="*/ 2147483647 h 132"/>
                  <a:gd name="T6" fmla="*/ 2147483647 w 234"/>
                  <a:gd name="T7" fmla="*/ 2147483647 h 132"/>
                  <a:gd name="T8" fmla="*/ 2147483647 w 234"/>
                  <a:gd name="T9" fmla="*/ 2147483647 h 132"/>
                  <a:gd name="T10" fmla="*/ 2147483647 w 234"/>
                  <a:gd name="T11" fmla="*/ 2147483647 h 132"/>
                  <a:gd name="T12" fmla="*/ 2147483647 w 234"/>
                  <a:gd name="T13" fmla="*/ 2147483647 h 132"/>
                  <a:gd name="T14" fmla="*/ 2147483647 w 234"/>
                  <a:gd name="T15" fmla="*/ 2147483647 h 132"/>
                  <a:gd name="T16" fmla="*/ 2147483647 w 234"/>
                  <a:gd name="T17" fmla="*/ 2147483647 h 132"/>
                  <a:gd name="T18" fmla="*/ 2147483647 w 234"/>
                  <a:gd name="T19" fmla="*/ 2147483647 h 132"/>
                  <a:gd name="T20" fmla="*/ 2147483647 w 234"/>
                  <a:gd name="T21" fmla="*/ 2147483647 h 132"/>
                  <a:gd name="T22" fmla="*/ 2147483647 w 234"/>
                  <a:gd name="T23" fmla="*/ 2147483647 h 132"/>
                  <a:gd name="T24" fmla="*/ 2147483647 w 234"/>
                  <a:gd name="T25" fmla="*/ 2147483647 h 132"/>
                  <a:gd name="T26" fmla="*/ 2147483647 w 234"/>
                  <a:gd name="T27" fmla="*/ 2147483647 h 132"/>
                  <a:gd name="T28" fmla="*/ 2147483647 w 234"/>
                  <a:gd name="T29" fmla="*/ 2147483647 h 132"/>
                  <a:gd name="T30" fmla="*/ 2147483647 w 234"/>
                  <a:gd name="T31" fmla="*/ 2147483647 h 132"/>
                  <a:gd name="T32" fmla="*/ 2147483647 w 234"/>
                  <a:gd name="T33" fmla="*/ 2147483647 h 132"/>
                  <a:gd name="T34" fmla="*/ 2147483647 w 234"/>
                  <a:gd name="T35" fmla="*/ 2147483647 h 132"/>
                  <a:gd name="T36" fmla="*/ 2147483647 w 234"/>
                  <a:gd name="T37" fmla="*/ 2147483647 h 132"/>
                  <a:gd name="T38" fmla="*/ 2147483647 w 234"/>
                  <a:gd name="T39" fmla="*/ 2147483647 h 132"/>
                  <a:gd name="T40" fmla="*/ 2147483647 w 234"/>
                  <a:gd name="T41" fmla="*/ 2147483647 h 132"/>
                  <a:gd name="T42" fmla="*/ 2147483647 w 234"/>
                  <a:gd name="T43" fmla="*/ 2147483647 h 132"/>
                  <a:gd name="T44" fmla="*/ 2147483647 w 234"/>
                  <a:gd name="T45" fmla="*/ 2147483647 h 132"/>
                  <a:gd name="T46" fmla="*/ 2147483647 w 234"/>
                  <a:gd name="T47" fmla="*/ 2147483647 h 132"/>
                  <a:gd name="T48" fmla="*/ 2147483647 w 234"/>
                  <a:gd name="T49" fmla="*/ 2147483647 h 132"/>
                  <a:gd name="T50" fmla="*/ 2147483647 w 234"/>
                  <a:gd name="T51" fmla="*/ 2147483647 h 132"/>
                  <a:gd name="T52" fmla="*/ 2147483647 w 234"/>
                  <a:gd name="T53" fmla="*/ 2147483647 h 132"/>
                  <a:gd name="T54" fmla="*/ 2147483647 w 234"/>
                  <a:gd name="T55" fmla="*/ 2147483647 h 132"/>
                  <a:gd name="T56" fmla="*/ 2147483647 w 234"/>
                  <a:gd name="T57" fmla="*/ 2147483647 h 132"/>
                  <a:gd name="T58" fmla="*/ 2147483647 w 234"/>
                  <a:gd name="T59" fmla="*/ 0 h 132"/>
                  <a:gd name="T60" fmla="*/ 2147483647 w 234"/>
                  <a:gd name="T61" fmla="*/ 0 h 132"/>
                  <a:gd name="T62" fmla="*/ 2147483647 w 234"/>
                  <a:gd name="T63" fmla="*/ 2147483647 h 132"/>
                  <a:gd name="T64" fmla="*/ 2147483647 w 234"/>
                  <a:gd name="T65" fmla="*/ 2147483647 h 132"/>
                  <a:gd name="T66" fmla="*/ 2147483647 w 234"/>
                  <a:gd name="T67" fmla="*/ 2147483647 h 132"/>
                  <a:gd name="T68" fmla="*/ 2147483647 w 234"/>
                  <a:gd name="T69" fmla="*/ 2147483647 h 132"/>
                  <a:gd name="T70" fmla="*/ 2147483647 w 234"/>
                  <a:gd name="T71" fmla="*/ 2147483647 h 132"/>
                  <a:gd name="T72" fmla="*/ 2147483647 w 234"/>
                  <a:gd name="T73" fmla="*/ 2147483647 h 132"/>
                  <a:gd name="T74" fmla="*/ 2147483647 w 234"/>
                  <a:gd name="T75" fmla="*/ 2147483647 h 132"/>
                  <a:gd name="T76" fmla="*/ 0 w 234"/>
                  <a:gd name="T77" fmla="*/ 2147483647 h 132"/>
                  <a:gd name="T78" fmla="*/ 0 w 234"/>
                  <a:gd name="T79" fmla="*/ 2147483647 h 132"/>
                  <a:gd name="T80" fmla="*/ 2147483647 w 234"/>
                  <a:gd name="T81" fmla="*/ 2147483647 h 132"/>
                  <a:gd name="T82" fmla="*/ 2147483647 w 234"/>
                  <a:gd name="T83" fmla="*/ 2147483647 h 132"/>
                  <a:gd name="T84" fmla="*/ 2147483647 w 234"/>
                  <a:gd name="T85" fmla="*/ 2147483647 h 132"/>
                  <a:gd name="T86" fmla="*/ 2147483647 w 234"/>
                  <a:gd name="T87" fmla="*/ 2147483647 h 132"/>
                  <a:gd name="T88" fmla="*/ 2147483647 w 234"/>
                  <a:gd name="T89" fmla="*/ 2147483647 h 132"/>
                  <a:gd name="T90" fmla="*/ 2147483647 w 234"/>
                  <a:gd name="T91" fmla="*/ 2147483647 h 132"/>
                  <a:gd name="T92" fmla="*/ 2147483647 w 234"/>
                  <a:gd name="T93" fmla="*/ 2147483647 h 13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34"/>
                  <a:gd name="T142" fmla="*/ 0 h 132"/>
                  <a:gd name="T143" fmla="*/ 234 w 234"/>
                  <a:gd name="T144" fmla="*/ 132 h 13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34" h="132">
                    <a:moveTo>
                      <a:pt x="78" y="132"/>
                    </a:moveTo>
                    <a:lnTo>
                      <a:pt x="90" y="132"/>
                    </a:lnTo>
                    <a:lnTo>
                      <a:pt x="102" y="126"/>
                    </a:lnTo>
                    <a:lnTo>
                      <a:pt x="108" y="120"/>
                    </a:lnTo>
                    <a:lnTo>
                      <a:pt x="126" y="120"/>
                    </a:lnTo>
                    <a:lnTo>
                      <a:pt x="138" y="126"/>
                    </a:lnTo>
                    <a:lnTo>
                      <a:pt x="168" y="126"/>
                    </a:lnTo>
                    <a:lnTo>
                      <a:pt x="180" y="120"/>
                    </a:lnTo>
                    <a:lnTo>
                      <a:pt x="192" y="120"/>
                    </a:lnTo>
                    <a:lnTo>
                      <a:pt x="198" y="126"/>
                    </a:lnTo>
                    <a:lnTo>
                      <a:pt x="210" y="126"/>
                    </a:lnTo>
                    <a:lnTo>
                      <a:pt x="234" y="114"/>
                    </a:lnTo>
                    <a:lnTo>
                      <a:pt x="234" y="108"/>
                    </a:lnTo>
                    <a:lnTo>
                      <a:pt x="222" y="96"/>
                    </a:lnTo>
                    <a:lnTo>
                      <a:pt x="222" y="72"/>
                    </a:lnTo>
                    <a:lnTo>
                      <a:pt x="198" y="72"/>
                    </a:lnTo>
                    <a:lnTo>
                      <a:pt x="192" y="66"/>
                    </a:lnTo>
                    <a:lnTo>
                      <a:pt x="192" y="42"/>
                    </a:lnTo>
                    <a:lnTo>
                      <a:pt x="186" y="30"/>
                    </a:lnTo>
                    <a:lnTo>
                      <a:pt x="174" y="18"/>
                    </a:lnTo>
                    <a:lnTo>
                      <a:pt x="162" y="12"/>
                    </a:lnTo>
                    <a:lnTo>
                      <a:pt x="150" y="12"/>
                    </a:lnTo>
                    <a:lnTo>
                      <a:pt x="138" y="18"/>
                    </a:lnTo>
                    <a:lnTo>
                      <a:pt x="126" y="18"/>
                    </a:lnTo>
                    <a:lnTo>
                      <a:pt x="114" y="24"/>
                    </a:lnTo>
                    <a:lnTo>
                      <a:pt x="108" y="30"/>
                    </a:lnTo>
                    <a:lnTo>
                      <a:pt x="102" y="30"/>
                    </a:lnTo>
                    <a:lnTo>
                      <a:pt x="102" y="6"/>
                    </a:lnTo>
                    <a:lnTo>
                      <a:pt x="78" y="6"/>
                    </a:lnTo>
                    <a:lnTo>
                      <a:pt x="66" y="0"/>
                    </a:lnTo>
                    <a:lnTo>
                      <a:pt x="54" y="0"/>
                    </a:lnTo>
                    <a:lnTo>
                      <a:pt x="48" y="12"/>
                    </a:lnTo>
                    <a:lnTo>
                      <a:pt x="36" y="24"/>
                    </a:lnTo>
                    <a:lnTo>
                      <a:pt x="30" y="36"/>
                    </a:lnTo>
                    <a:lnTo>
                      <a:pt x="18" y="54"/>
                    </a:lnTo>
                    <a:lnTo>
                      <a:pt x="12" y="66"/>
                    </a:lnTo>
                    <a:lnTo>
                      <a:pt x="6" y="72"/>
                    </a:lnTo>
                    <a:lnTo>
                      <a:pt x="6" y="78"/>
                    </a:lnTo>
                    <a:lnTo>
                      <a:pt x="0" y="78"/>
                    </a:lnTo>
                    <a:lnTo>
                      <a:pt x="0" y="90"/>
                    </a:lnTo>
                    <a:lnTo>
                      <a:pt x="18" y="108"/>
                    </a:lnTo>
                    <a:lnTo>
                      <a:pt x="42" y="120"/>
                    </a:lnTo>
                    <a:lnTo>
                      <a:pt x="54" y="120"/>
                    </a:lnTo>
                    <a:lnTo>
                      <a:pt x="54" y="114"/>
                    </a:lnTo>
                    <a:lnTo>
                      <a:pt x="54" y="120"/>
                    </a:lnTo>
                    <a:lnTo>
                      <a:pt x="66" y="132"/>
                    </a:lnTo>
                    <a:lnTo>
                      <a:pt x="78" y="132"/>
                    </a:lnTo>
                    <a:close/>
                  </a:path>
                </a:pathLst>
              </a:custGeom>
              <a:solidFill>
                <a:srgbClr val="9D90A0">
                  <a:lumMod val="40000"/>
                  <a:lumOff val="60000"/>
                </a:srgbClr>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178" name="Bangladesh" descr="© INSCALE GmbH, 05.05.2010&#10;http://www.presentationload.com/">
                <a:extLst>
                  <a:ext uri="{FF2B5EF4-FFF2-40B4-BE49-F238E27FC236}">
                    <a16:creationId xmlns:a16="http://schemas.microsoft.com/office/drawing/2014/main" id="{0A98CAB4-FC1C-48DB-8ACA-7D11591ADD47}"/>
                  </a:ext>
                </a:extLst>
              </p:cNvPr>
              <p:cNvSpPr>
                <a:spLocks/>
              </p:cNvSpPr>
              <p:nvPr/>
            </p:nvSpPr>
            <p:spPr bwMode="gray">
              <a:xfrm>
                <a:off x="6631005" y="3613179"/>
                <a:ext cx="148192" cy="187132"/>
              </a:xfrm>
              <a:custGeom>
                <a:avLst/>
                <a:gdLst>
                  <a:gd name="T0" fmla="*/ 2147483647 w 372"/>
                  <a:gd name="T1" fmla="*/ 2147483647 h 426"/>
                  <a:gd name="T2" fmla="*/ 2147483647 w 372"/>
                  <a:gd name="T3" fmla="*/ 2147483647 h 426"/>
                  <a:gd name="T4" fmla="*/ 2147483647 w 372"/>
                  <a:gd name="T5" fmla="*/ 2147483647 h 426"/>
                  <a:gd name="T6" fmla="*/ 2147483647 w 372"/>
                  <a:gd name="T7" fmla="*/ 2147483647 h 426"/>
                  <a:gd name="T8" fmla="*/ 2147483647 w 372"/>
                  <a:gd name="T9" fmla="*/ 2147483647 h 426"/>
                  <a:gd name="T10" fmla="*/ 2147483647 w 372"/>
                  <a:gd name="T11" fmla="*/ 2147483647 h 426"/>
                  <a:gd name="T12" fmla="*/ 2147483647 w 372"/>
                  <a:gd name="T13" fmla="*/ 2147483647 h 426"/>
                  <a:gd name="T14" fmla="*/ 2147483647 w 372"/>
                  <a:gd name="T15" fmla="*/ 2147483647 h 426"/>
                  <a:gd name="T16" fmla="*/ 2147483647 w 372"/>
                  <a:gd name="T17" fmla="*/ 2147483647 h 426"/>
                  <a:gd name="T18" fmla="*/ 2147483647 w 372"/>
                  <a:gd name="T19" fmla="*/ 2147483647 h 426"/>
                  <a:gd name="T20" fmla="*/ 2147483647 w 372"/>
                  <a:gd name="T21" fmla="*/ 2147483647 h 426"/>
                  <a:gd name="T22" fmla="*/ 2147483647 w 372"/>
                  <a:gd name="T23" fmla="*/ 2147483647 h 426"/>
                  <a:gd name="T24" fmla="*/ 2147483647 w 372"/>
                  <a:gd name="T25" fmla="*/ 2147483647 h 426"/>
                  <a:gd name="T26" fmla="*/ 2147483647 w 372"/>
                  <a:gd name="T27" fmla="*/ 2147483647 h 426"/>
                  <a:gd name="T28" fmla="*/ 2147483647 w 372"/>
                  <a:gd name="T29" fmla="*/ 2147483647 h 426"/>
                  <a:gd name="T30" fmla="*/ 2147483647 w 372"/>
                  <a:gd name="T31" fmla="*/ 2147483647 h 426"/>
                  <a:gd name="T32" fmla="*/ 2147483647 w 372"/>
                  <a:gd name="T33" fmla="*/ 2147483647 h 426"/>
                  <a:gd name="T34" fmla="*/ 2147483647 w 372"/>
                  <a:gd name="T35" fmla="*/ 2147483647 h 426"/>
                  <a:gd name="T36" fmla="*/ 2147483647 w 372"/>
                  <a:gd name="T37" fmla="*/ 2147483647 h 426"/>
                  <a:gd name="T38" fmla="*/ 2147483647 w 372"/>
                  <a:gd name="T39" fmla="*/ 2147483647 h 426"/>
                  <a:gd name="T40" fmla="*/ 2147483647 w 372"/>
                  <a:gd name="T41" fmla="*/ 2147483647 h 426"/>
                  <a:gd name="T42" fmla="*/ 2147483647 w 372"/>
                  <a:gd name="T43" fmla="*/ 2147483647 h 426"/>
                  <a:gd name="T44" fmla="*/ 2147483647 w 372"/>
                  <a:gd name="T45" fmla="*/ 2147483647 h 426"/>
                  <a:gd name="T46" fmla="*/ 2147483647 w 372"/>
                  <a:gd name="T47" fmla="*/ 2147483647 h 426"/>
                  <a:gd name="T48" fmla="*/ 2147483647 w 372"/>
                  <a:gd name="T49" fmla="*/ 2147483647 h 426"/>
                  <a:gd name="T50" fmla="*/ 2147483647 w 372"/>
                  <a:gd name="T51" fmla="*/ 2147483647 h 426"/>
                  <a:gd name="T52" fmla="*/ 2147483647 w 372"/>
                  <a:gd name="T53" fmla="*/ 2147483647 h 426"/>
                  <a:gd name="T54" fmla="*/ 2147483647 w 372"/>
                  <a:gd name="T55" fmla="*/ 2147483647 h 426"/>
                  <a:gd name="T56" fmla="*/ 2147483647 w 372"/>
                  <a:gd name="T57" fmla="*/ 2147483647 h 426"/>
                  <a:gd name="T58" fmla="*/ 2147483647 w 372"/>
                  <a:gd name="T59" fmla="*/ 2147483647 h 426"/>
                  <a:gd name="T60" fmla="*/ 2147483647 w 372"/>
                  <a:gd name="T61" fmla="*/ 2147483647 h 426"/>
                  <a:gd name="T62" fmla="*/ 2147483647 w 372"/>
                  <a:gd name="T63" fmla="*/ 2147483647 h 426"/>
                  <a:gd name="T64" fmla="*/ 2147483647 w 372"/>
                  <a:gd name="T65" fmla="*/ 2147483647 h 426"/>
                  <a:gd name="T66" fmla="*/ 2147483647 w 372"/>
                  <a:gd name="T67" fmla="*/ 2147483647 h 426"/>
                  <a:gd name="T68" fmla="*/ 2147483647 w 372"/>
                  <a:gd name="T69" fmla="*/ 2147483647 h 426"/>
                  <a:gd name="T70" fmla="*/ 2147483647 w 372"/>
                  <a:gd name="T71" fmla="*/ 2147483647 h 426"/>
                  <a:gd name="T72" fmla="*/ 2147483647 w 372"/>
                  <a:gd name="T73" fmla="*/ 2147483647 h 426"/>
                  <a:gd name="T74" fmla="*/ 2147483647 w 372"/>
                  <a:gd name="T75" fmla="*/ 2147483647 h 426"/>
                  <a:gd name="T76" fmla="*/ 2147483647 w 372"/>
                  <a:gd name="T77" fmla="*/ 2147483647 h 426"/>
                  <a:gd name="T78" fmla="*/ 2147483647 w 372"/>
                  <a:gd name="T79" fmla="*/ 2147483647 h 426"/>
                  <a:gd name="T80" fmla="*/ 2147483647 w 372"/>
                  <a:gd name="T81" fmla="*/ 2147483647 h 426"/>
                  <a:gd name="T82" fmla="*/ 2147483647 w 372"/>
                  <a:gd name="T83" fmla="*/ 2147483647 h 426"/>
                  <a:gd name="T84" fmla="*/ 2147483647 w 372"/>
                  <a:gd name="T85" fmla="*/ 0 h 426"/>
                  <a:gd name="T86" fmla="*/ 2147483647 w 372"/>
                  <a:gd name="T87" fmla="*/ 2147483647 h 426"/>
                  <a:gd name="T88" fmla="*/ 0 w 372"/>
                  <a:gd name="T89" fmla="*/ 2147483647 h 426"/>
                  <a:gd name="T90" fmla="*/ 2147483647 w 372"/>
                  <a:gd name="T91" fmla="*/ 2147483647 h 426"/>
                  <a:gd name="T92" fmla="*/ 2147483647 w 372"/>
                  <a:gd name="T93" fmla="*/ 2147483647 h 426"/>
                  <a:gd name="T94" fmla="*/ 2147483647 w 372"/>
                  <a:gd name="T95" fmla="*/ 2147483647 h 426"/>
                  <a:gd name="T96" fmla="*/ 2147483647 w 372"/>
                  <a:gd name="T97" fmla="*/ 2147483647 h 426"/>
                  <a:gd name="T98" fmla="*/ 2147483647 w 372"/>
                  <a:gd name="T99" fmla="*/ 2147483647 h 426"/>
                  <a:gd name="T100" fmla="*/ 2147483647 w 372"/>
                  <a:gd name="T101" fmla="*/ 2147483647 h 426"/>
                  <a:gd name="T102" fmla="*/ 2147483647 w 372"/>
                  <a:gd name="T103" fmla="*/ 2147483647 h 426"/>
                  <a:gd name="T104" fmla="*/ 2147483647 w 372"/>
                  <a:gd name="T105" fmla="*/ 2147483647 h 426"/>
                  <a:gd name="T106" fmla="*/ 2147483647 w 372"/>
                  <a:gd name="T107" fmla="*/ 2147483647 h 426"/>
                  <a:gd name="T108" fmla="*/ 2147483647 w 372"/>
                  <a:gd name="T109" fmla="*/ 2147483647 h 426"/>
                  <a:gd name="T110" fmla="*/ 2147483647 w 372"/>
                  <a:gd name="T111" fmla="*/ 2147483647 h 426"/>
                  <a:gd name="T112" fmla="*/ 2147483647 w 372"/>
                  <a:gd name="T113" fmla="*/ 2147483647 h 426"/>
                  <a:gd name="T114" fmla="*/ 2147483647 w 372"/>
                  <a:gd name="T115" fmla="*/ 2147483647 h 4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72"/>
                  <a:gd name="T175" fmla="*/ 0 h 426"/>
                  <a:gd name="T176" fmla="*/ 372 w 372"/>
                  <a:gd name="T177" fmla="*/ 426 h 42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72" h="426">
                    <a:moveTo>
                      <a:pt x="132" y="414"/>
                    </a:moveTo>
                    <a:lnTo>
                      <a:pt x="138" y="354"/>
                    </a:lnTo>
                    <a:lnTo>
                      <a:pt x="144" y="354"/>
                    </a:lnTo>
                    <a:lnTo>
                      <a:pt x="150" y="360"/>
                    </a:lnTo>
                    <a:lnTo>
                      <a:pt x="162" y="360"/>
                    </a:lnTo>
                    <a:lnTo>
                      <a:pt x="174" y="366"/>
                    </a:lnTo>
                    <a:lnTo>
                      <a:pt x="192" y="372"/>
                    </a:lnTo>
                    <a:lnTo>
                      <a:pt x="216" y="372"/>
                    </a:lnTo>
                    <a:lnTo>
                      <a:pt x="210" y="366"/>
                    </a:lnTo>
                    <a:lnTo>
                      <a:pt x="210" y="348"/>
                    </a:lnTo>
                    <a:lnTo>
                      <a:pt x="204" y="342"/>
                    </a:lnTo>
                    <a:lnTo>
                      <a:pt x="222" y="342"/>
                    </a:lnTo>
                    <a:lnTo>
                      <a:pt x="258" y="360"/>
                    </a:lnTo>
                    <a:lnTo>
                      <a:pt x="270" y="360"/>
                    </a:lnTo>
                    <a:lnTo>
                      <a:pt x="282" y="348"/>
                    </a:lnTo>
                    <a:lnTo>
                      <a:pt x="282" y="336"/>
                    </a:lnTo>
                    <a:lnTo>
                      <a:pt x="270" y="300"/>
                    </a:lnTo>
                    <a:lnTo>
                      <a:pt x="318" y="354"/>
                    </a:lnTo>
                    <a:lnTo>
                      <a:pt x="318" y="360"/>
                    </a:lnTo>
                    <a:lnTo>
                      <a:pt x="312" y="366"/>
                    </a:lnTo>
                    <a:lnTo>
                      <a:pt x="312" y="390"/>
                    </a:lnTo>
                    <a:lnTo>
                      <a:pt x="306" y="402"/>
                    </a:lnTo>
                    <a:lnTo>
                      <a:pt x="306" y="414"/>
                    </a:lnTo>
                    <a:lnTo>
                      <a:pt x="312" y="420"/>
                    </a:lnTo>
                    <a:lnTo>
                      <a:pt x="324" y="420"/>
                    </a:lnTo>
                    <a:lnTo>
                      <a:pt x="330" y="426"/>
                    </a:lnTo>
                    <a:lnTo>
                      <a:pt x="336" y="414"/>
                    </a:lnTo>
                    <a:lnTo>
                      <a:pt x="336" y="408"/>
                    </a:lnTo>
                    <a:lnTo>
                      <a:pt x="372" y="414"/>
                    </a:lnTo>
                    <a:lnTo>
                      <a:pt x="360" y="354"/>
                    </a:lnTo>
                    <a:lnTo>
                      <a:pt x="360" y="348"/>
                    </a:lnTo>
                    <a:lnTo>
                      <a:pt x="354" y="342"/>
                    </a:lnTo>
                    <a:lnTo>
                      <a:pt x="348" y="330"/>
                    </a:lnTo>
                    <a:lnTo>
                      <a:pt x="342" y="312"/>
                    </a:lnTo>
                    <a:lnTo>
                      <a:pt x="336" y="300"/>
                    </a:lnTo>
                    <a:lnTo>
                      <a:pt x="336" y="288"/>
                    </a:lnTo>
                    <a:lnTo>
                      <a:pt x="330" y="276"/>
                    </a:lnTo>
                    <a:lnTo>
                      <a:pt x="330" y="270"/>
                    </a:lnTo>
                    <a:lnTo>
                      <a:pt x="324" y="258"/>
                    </a:lnTo>
                    <a:lnTo>
                      <a:pt x="324" y="240"/>
                    </a:lnTo>
                    <a:lnTo>
                      <a:pt x="318" y="234"/>
                    </a:lnTo>
                    <a:lnTo>
                      <a:pt x="306" y="228"/>
                    </a:lnTo>
                    <a:lnTo>
                      <a:pt x="288" y="228"/>
                    </a:lnTo>
                    <a:lnTo>
                      <a:pt x="288" y="252"/>
                    </a:lnTo>
                    <a:lnTo>
                      <a:pt x="282" y="288"/>
                    </a:lnTo>
                    <a:lnTo>
                      <a:pt x="264" y="264"/>
                    </a:lnTo>
                    <a:lnTo>
                      <a:pt x="258" y="264"/>
                    </a:lnTo>
                    <a:lnTo>
                      <a:pt x="240" y="246"/>
                    </a:lnTo>
                    <a:lnTo>
                      <a:pt x="234" y="234"/>
                    </a:lnTo>
                    <a:lnTo>
                      <a:pt x="234" y="216"/>
                    </a:lnTo>
                    <a:lnTo>
                      <a:pt x="240" y="204"/>
                    </a:lnTo>
                    <a:lnTo>
                      <a:pt x="252" y="192"/>
                    </a:lnTo>
                    <a:lnTo>
                      <a:pt x="258" y="192"/>
                    </a:lnTo>
                    <a:lnTo>
                      <a:pt x="270" y="186"/>
                    </a:lnTo>
                    <a:lnTo>
                      <a:pt x="276" y="186"/>
                    </a:lnTo>
                    <a:lnTo>
                      <a:pt x="282" y="180"/>
                    </a:lnTo>
                    <a:lnTo>
                      <a:pt x="288" y="168"/>
                    </a:lnTo>
                    <a:lnTo>
                      <a:pt x="294" y="150"/>
                    </a:lnTo>
                    <a:lnTo>
                      <a:pt x="294" y="138"/>
                    </a:lnTo>
                    <a:lnTo>
                      <a:pt x="300" y="138"/>
                    </a:lnTo>
                    <a:lnTo>
                      <a:pt x="306" y="132"/>
                    </a:lnTo>
                    <a:lnTo>
                      <a:pt x="306" y="126"/>
                    </a:lnTo>
                    <a:lnTo>
                      <a:pt x="282" y="102"/>
                    </a:lnTo>
                    <a:lnTo>
                      <a:pt x="276" y="102"/>
                    </a:lnTo>
                    <a:lnTo>
                      <a:pt x="228" y="114"/>
                    </a:lnTo>
                    <a:lnTo>
                      <a:pt x="210" y="114"/>
                    </a:lnTo>
                    <a:lnTo>
                      <a:pt x="198" y="108"/>
                    </a:lnTo>
                    <a:lnTo>
                      <a:pt x="138" y="108"/>
                    </a:lnTo>
                    <a:lnTo>
                      <a:pt x="132" y="102"/>
                    </a:lnTo>
                    <a:lnTo>
                      <a:pt x="126" y="102"/>
                    </a:lnTo>
                    <a:lnTo>
                      <a:pt x="126" y="66"/>
                    </a:lnTo>
                    <a:lnTo>
                      <a:pt x="120" y="66"/>
                    </a:lnTo>
                    <a:lnTo>
                      <a:pt x="120" y="36"/>
                    </a:lnTo>
                    <a:lnTo>
                      <a:pt x="114" y="30"/>
                    </a:lnTo>
                    <a:lnTo>
                      <a:pt x="108" y="30"/>
                    </a:lnTo>
                    <a:lnTo>
                      <a:pt x="102" y="24"/>
                    </a:lnTo>
                    <a:lnTo>
                      <a:pt x="96" y="42"/>
                    </a:lnTo>
                    <a:lnTo>
                      <a:pt x="90" y="36"/>
                    </a:lnTo>
                    <a:lnTo>
                      <a:pt x="78" y="36"/>
                    </a:lnTo>
                    <a:lnTo>
                      <a:pt x="72" y="30"/>
                    </a:lnTo>
                    <a:lnTo>
                      <a:pt x="66" y="18"/>
                    </a:lnTo>
                    <a:lnTo>
                      <a:pt x="66" y="12"/>
                    </a:lnTo>
                    <a:lnTo>
                      <a:pt x="60" y="0"/>
                    </a:lnTo>
                    <a:lnTo>
                      <a:pt x="42" y="6"/>
                    </a:lnTo>
                    <a:lnTo>
                      <a:pt x="48" y="12"/>
                    </a:lnTo>
                    <a:lnTo>
                      <a:pt x="24" y="0"/>
                    </a:lnTo>
                    <a:lnTo>
                      <a:pt x="6" y="0"/>
                    </a:lnTo>
                    <a:lnTo>
                      <a:pt x="18" y="18"/>
                    </a:lnTo>
                    <a:lnTo>
                      <a:pt x="6" y="30"/>
                    </a:lnTo>
                    <a:lnTo>
                      <a:pt x="0" y="42"/>
                    </a:lnTo>
                    <a:lnTo>
                      <a:pt x="0" y="48"/>
                    </a:lnTo>
                    <a:lnTo>
                      <a:pt x="6" y="60"/>
                    </a:lnTo>
                    <a:lnTo>
                      <a:pt x="18" y="66"/>
                    </a:lnTo>
                    <a:lnTo>
                      <a:pt x="30" y="78"/>
                    </a:lnTo>
                    <a:lnTo>
                      <a:pt x="36" y="78"/>
                    </a:lnTo>
                    <a:lnTo>
                      <a:pt x="66" y="96"/>
                    </a:lnTo>
                    <a:lnTo>
                      <a:pt x="66" y="108"/>
                    </a:lnTo>
                    <a:lnTo>
                      <a:pt x="30" y="108"/>
                    </a:lnTo>
                    <a:lnTo>
                      <a:pt x="30" y="138"/>
                    </a:lnTo>
                    <a:lnTo>
                      <a:pt x="24" y="138"/>
                    </a:lnTo>
                    <a:lnTo>
                      <a:pt x="12" y="150"/>
                    </a:lnTo>
                    <a:lnTo>
                      <a:pt x="24" y="162"/>
                    </a:lnTo>
                    <a:lnTo>
                      <a:pt x="36" y="168"/>
                    </a:lnTo>
                    <a:lnTo>
                      <a:pt x="54" y="168"/>
                    </a:lnTo>
                    <a:lnTo>
                      <a:pt x="66" y="174"/>
                    </a:lnTo>
                    <a:lnTo>
                      <a:pt x="72" y="180"/>
                    </a:lnTo>
                    <a:lnTo>
                      <a:pt x="72" y="186"/>
                    </a:lnTo>
                    <a:lnTo>
                      <a:pt x="66" y="204"/>
                    </a:lnTo>
                    <a:lnTo>
                      <a:pt x="60" y="210"/>
                    </a:lnTo>
                    <a:lnTo>
                      <a:pt x="54" y="222"/>
                    </a:lnTo>
                    <a:lnTo>
                      <a:pt x="66" y="252"/>
                    </a:lnTo>
                    <a:lnTo>
                      <a:pt x="96" y="276"/>
                    </a:lnTo>
                    <a:lnTo>
                      <a:pt x="96" y="306"/>
                    </a:lnTo>
                    <a:lnTo>
                      <a:pt x="114" y="348"/>
                    </a:lnTo>
                    <a:lnTo>
                      <a:pt x="108" y="378"/>
                    </a:lnTo>
                    <a:lnTo>
                      <a:pt x="132" y="414"/>
                    </a:lnTo>
                    <a:close/>
                  </a:path>
                </a:pathLst>
              </a:custGeom>
              <a:solidFill>
                <a:srgbClr val="9D90A0">
                  <a:lumMod val="40000"/>
                  <a:lumOff val="60000"/>
                </a:srgbClr>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sp>
            <p:nvSpPr>
              <p:cNvPr id="179" name="Afghanistan" descr="© INSCALE GmbH, 05.05.2010&#10;http://www.presentationload.com/">
                <a:extLst>
                  <a:ext uri="{FF2B5EF4-FFF2-40B4-BE49-F238E27FC236}">
                    <a16:creationId xmlns:a16="http://schemas.microsoft.com/office/drawing/2014/main" id="{483821C8-6817-4092-8B1E-8A2ACF7A3EC3}"/>
                  </a:ext>
                </a:extLst>
              </p:cNvPr>
              <p:cNvSpPr>
                <a:spLocks/>
              </p:cNvSpPr>
              <p:nvPr/>
            </p:nvSpPr>
            <p:spPr bwMode="gray">
              <a:xfrm>
                <a:off x="5838570" y="3188668"/>
                <a:ext cx="358780" cy="325748"/>
              </a:xfrm>
              <a:custGeom>
                <a:avLst/>
                <a:gdLst>
                  <a:gd name="T0" fmla="*/ 2147483647 w 906"/>
                  <a:gd name="T1" fmla="*/ 2147483647 h 738"/>
                  <a:gd name="T2" fmla="*/ 2147483647 w 906"/>
                  <a:gd name="T3" fmla="*/ 2147483647 h 738"/>
                  <a:gd name="T4" fmla="*/ 2147483647 w 906"/>
                  <a:gd name="T5" fmla="*/ 2147483647 h 738"/>
                  <a:gd name="T6" fmla="*/ 2147483647 w 906"/>
                  <a:gd name="T7" fmla="*/ 2147483647 h 738"/>
                  <a:gd name="T8" fmla="*/ 2147483647 w 906"/>
                  <a:gd name="T9" fmla="*/ 2147483647 h 738"/>
                  <a:gd name="T10" fmla="*/ 2147483647 w 906"/>
                  <a:gd name="T11" fmla="*/ 0 h 738"/>
                  <a:gd name="T12" fmla="*/ 2147483647 w 906"/>
                  <a:gd name="T13" fmla="*/ 2147483647 h 738"/>
                  <a:gd name="T14" fmla="*/ 2147483647 w 906"/>
                  <a:gd name="T15" fmla="*/ 2147483647 h 738"/>
                  <a:gd name="T16" fmla="*/ 2147483647 w 906"/>
                  <a:gd name="T17" fmla="*/ 2147483647 h 738"/>
                  <a:gd name="T18" fmla="*/ 2147483647 w 906"/>
                  <a:gd name="T19" fmla="*/ 2147483647 h 738"/>
                  <a:gd name="T20" fmla="*/ 2147483647 w 906"/>
                  <a:gd name="T21" fmla="*/ 2147483647 h 738"/>
                  <a:gd name="T22" fmla="*/ 2147483647 w 906"/>
                  <a:gd name="T23" fmla="*/ 2147483647 h 738"/>
                  <a:gd name="T24" fmla="*/ 2147483647 w 906"/>
                  <a:gd name="T25" fmla="*/ 2147483647 h 738"/>
                  <a:gd name="T26" fmla="*/ 2147483647 w 906"/>
                  <a:gd name="T27" fmla="*/ 2147483647 h 738"/>
                  <a:gd name="T28" fmla="*/ 2147483647 w 906"/>
                  <a:gd name="T29" fmla="*/ 2147483647 h 738"/>
                  <a:gd name="T30" fmla="*/ 2147483647 w 906"/>
                  <a:gd name="T31" fmla="*/ 2147483647 h 738"/>
                  <a:gd name="T32" fmla="*/ 2147483647 w 906"/>
                  <a:gd name="T33" fmla="*/ 2147483647 h 738"/>
                  <a:gd name="T34" fmla="*/ 2147483647 w 906"/>
                  <a:gd name="T35" fmla="*/ 2147483647 h 738"/>
                  <a:gd name="T36" fmla="*/ 2147483647 w 906"/>
                  <a:gd name="T37" fmla="*/ 2147483647 h 738"/>
                  <a:gd name="T38" fmla="*/ 2147483647 w 906"/>
                  <a:gd name="T39" fmla="*/ 2147483647 h 738"/>
                  <a:gd name="T40" fmla="*/ 2147483647 w 906"/>
                  <a:gd name="T41" fmla="*/ 2147483647 h 738"/>
                  <a:gd name="T42" fmla="*/ 2147483647 w 906"/>
                  <a:gd name="T43" fmla="*/ 2147483647 h 738"/>
                  <a:gd name="T44" fmla="*/ 2147483647 w 906"/>
                  <a:gd name="T45" fmla="*/ 2147483647 h 738"/>
                  <a:gd name="T46" fmla="*/ 0 w 906"/>
                  <a:gd name="T47" fmla="*/ 2147483647 h 738"/>
                  <a:gd name="T48" fmla="*/ 2147483647 w 906"/>
                  <a:gd name="T49" fmla="*/ 2147483647 h 738"/>
                  <a:gd name="T50" fmla="*/ 2147483647 w 906"/>
                  <a:gd name="T51" fmla="*/ 2147483647 h 738"/>
                  <a:gd name="T52" fmla="*/ 2147483647 w 906"/>
                  <a:gd name="T53" fmla="*/ 2147483647 h 738"/>
                  <a:gd name="T54" fmla="*/ 2147483647 w 906"/>
                  <a:gd name="T55" fmla="*/ 2147483647 h 738"/>
                  <a:gd name="T56" fmla="*/ 2147483647 w 906"/>
                  <a:gd name="T57" fmla="*/ 2147483647 h 738"/>
                  <a:gd name="T58" fmla="*/ 2147483647 w 906"/>
                  <a:gd name="T59" fmla="*/ 2147483647 h 738"/>
                  <a:gd name="T60" fmla="*/ 2147483647 w 906"/>
                  <a:gd name="T61" fmla="*/ 2147483647 h 738"/>
                  <a:gd name="T62" fmla="*/ 2147483647 w 906"/>
                  <a:gd name="T63" fmla="*/ 2147483647 h 738"/>
                  <a:gd name="T64" fmla="*/ 2147483647 w 906"/>
                  <a:gd name="T65" fmla="*/ 2147483647 h 738"/>
                  <a:gd name="T66" fmla="*/ 2147483647 w 906"/>
                  <a:gd name="T67" fmla="*/ 2147483647 h 738"/>
                  <a:gd name="T68" fmla="*/ 2147483647 w 906"/>
                  <a:gd name="T69" fmla="*/ 2147483647 h 738"/>
                  <a:gd name="T70" fmla="*/ 2147483647 w 906"/>
                  <a:gd name="T71" fmla="*/ 2147483647 h 738"/>
                  <a:gd name="T72" fmla="*/ 2147483647 w 906"/>
                  <a:gd name="T73" fmla="*/ 2147483647 h 738"/>
                  <a:gd name="T74" fmla="*/ 2147483647 w 906"/>
                  <a:gd name="T75" fmla="*/ 2147483647 h 738"/>
                  <a:gd name="T76" fmla="*/ 2147483647 w 906"/>
                  <a:gd name="T77" fmla="*/ 2147483647 h 738"/>
                  <a:gd name="T78" fmla="*/ 2147483647 w 906"/>
                  <a:gd name="T79" fmla="*/ 2147483647 h 738"/>
                  <a:gd name="T80" fmla="*/ 2147483647 w 906"/>
                  <a:gd name="T81" fmla="*/ 2147483647 h 738"/>
                  <a:gd name="T82" fmla="*/ 2147483647 w 906"/>
                  <a:gd name="T83" fmla="*/ 2147483647 h 738"/>
                  <a:gd name="T84" fmla="*/ 2147483647 w 906"/>
                  <a:gd name="T85" fmla="*/ 2147483647 h 738"/>
                  <a:gd name="T86" fmla="*/ 2147483647 w 906"/>
                  <a:gd name="T87" fmla="*/ 2147483647 h 738"/>
                  <a:gd name="T88" fmla="*/ 2147483647 w 906"/>
                  <a:gd name="T89" fmla="*/ 2147483647 h 738"/>
                  <a:gd name="T90" fmla="*/ 2147483647 w 906"/>
                  <a:gd name="T91" fmla="*/ 2147483647 h 738"/>
                  <a:gd name="T92" fmla="*/ 2147483647 w 906"/>
                  <a:gd name="T93" fmla="*/ 2147483647 h 738"/>
                  <a:gd name="T94" fmla="*/ 2147483647 w 906"/>
                  <a:gd name="T95" fmla="*/ 2147483647 h 738"/>
                  <a:gd name="T96" fmla="*/ 2147483647 w 906"/>
                  <a:gd name="T97" fmla="*/ 2147483647 h 738"/>
                  <a:gd name="T98" fmla="*/ 2147483647 w 906"/>
                  <a:gd name="T99" fmla="*/ 2147483647 h 738"/>
                  <a:gd name="T100" fmla="*/ 2147483647 w 906"/>
                  <a:gd name="T101" fmla="*/ 2147483647 h 738"/>
                  <a:gd name="T102" fmla="*/ 2147483647 w 906"/>
                  <a:gd name="T103" fmla="*/ 2147483647 h 738"/>
                  <a:gd name="T104" fmla="*/ 2147483647 w 906"/>
                  <a:gd name="T105" fmla="*/ 2147483647 h 738"/>
                  <a:gd name="T106" fmla="*/ 2147483647 w 906"/>
                  <a:gd name="T107" fmla="*/ 2147483647 h 738"/>
                  <a:gd name="T108" fmla="*/ 2147483647 w 906"/>
                  <a:gd name="T109" fmla="*/ 2147483647 h 73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906"/>
                  <a:gd name="T166" fmla="*/ 0 h 738"/>
                  <a:gd name="T167" fmla="*/ 906 w 906"/>
                  <a:gd name="T168" fmla="*/ 738 h 73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906" h="738">
                    <a:moveTo>
                      <a:pt x="894" y="108"/>
                    </a:moveTo>
                    <a:lnTo>
                      <a:pt x="894" y="96"/>
                    </a:lnTo>
                    <a:lnTo>
                      <a:pt x="906" y="96"/>
                    </a:lnTo>
                    <a:lnTo>
                      <a:pt x="900" y="90"/>
                    </a:lnTo>
                    <a:lnTo>
                      <a:pt x="876" y="90"/>
                    </a:lnTo>
                    <a:lnTo>
                      <a:pt x="840" y="102"/>
                    </a:lnTo>
                    <a:lnTo>
                      <a:pt x="840" y="84"/>
                    </a:lnTo>
                    <a:lnTo>
                      <a:pt x="816" y="84"/>
                    </a:lnTo>
                    <a:lnTo>
                      <a:pt x="792" y="96"/>
                    </a:lnTo>
                    <a:lnTo>
                      <a:pt x="786" y="102"/>
                    </a:lnTo>
                    <a:lnTo>
                      <a:pt x="780" y="114"/>
                    </a:lnTo>
                    <a:lnTo>
                      <a:pt x="774" y="120"/>
                    </a:lnTo>
                    <a:lnTo>
                      <a:pt x="756" y="120"/>
                    </a:lnTo>
                    <a:lnTo>
                      <a:pt x="750" y="126"/>
                    </a:lnTo>
                    <a:lnTo>
                      <a:pt x="744" y="138"/>
                    </a:lnTo>
                    <a:lnTo>
                      <a:pt x="732" y="144"/>
                    </a:lnTo>
                    <a:lnTo>
                      <a:pt x="726" y="150"/>
                    </a:lnTo>
                    <a:lnTo>
                      <a:pt x="720" y="150"/>
                    </a:lnTo>
                    <a:lnTo>
                      <a:pt x="690" y="120"/>
                    </a:lnTo>
                    <a:lnTo>
                      <a:pt x="690" y="114"/>
                    </a:lnTo>
                    <a:lnTo>
                      <a:pt x="678" y="48"/>
                    </a:lnTo>
                    <a:lnTo>
                      <a:pt x="660" y="48"/>
                    </a:lnTo>
                    <a:lnTo>
                      <a:pt x="660" y="18"/>
                    </a:lnTo>
                    <a:lnTo>
                      <a:pt x="642" y="0"/>
                    </a:lnTo>
                    <a:lnTo>
                      <a:pt x="624" y="0"/>
                    </a:lnTo>
                    <a:lnTo>
                      <a:pt x="618" y="6"/>
                    </a:lnTo>
                    <a:lnTo>
                      <a:pt x="618" y="30"/>
                    </a:lnTo>
                    <a:lnTo>
                      <a:pt x="612" y="36"/>
                    </a:lnTo>
                    <a:lnTo>
                      <a:pt x="606" y="36"/>
                    </a:lnTo>
                    <a:lnTo>
                      <a:pt x="594" y="48"/>
                    </a:lnTo>
                    <a:lnTo>
                      <a:pt x="594" y="54"/>
                    </a:lnTo>
                    <a:lnTo>
                      <a:pt x="600" y="60"/>
                    </a:lnTo>
                    <a:lnTo>
                      <a:pt x="606" y="60"/>
                    </a:lnTo>
                    <a:lnTo>
                      <a:pt x="600" y="84"/>
                    </a:lnTo>
                    <a:lnTo>
                      <a:pt x="588" y="72"/>
                    </a:lnTo>
                    <a:lnTo>
                      <a:pt x="570" y="72"/>
                    </a:lnTo>
                    <a:lnTo>
                      <a:pt x="558" y="78"/>
                    </a:lnTo>
                    <a:lnTo>
                      <a:pt x="546" y="90"/>
                    </a:lnTo>
                    <a:lnTo>
                      <a:pt x="546" y="120"/>
                    </a:lnTo>
                    <a:lnTo>
                      <a:pt x="540" y="120"/>
                    </a:lnTo>
                    <a:lnTo>
                      <a:pt x="534" y="114"/>
                    </a:lnTo>
                    <a:lnTo>
                      <a:pt x="528" y="102"/>
                    </a:lnTo>
                    <a:lnTo>
                      <a:pt x="522" y="96"/>
                    </a:lnTo>
                    <a:lnTo>
                      <a:pt x="510" y="96"/>
                    </a:lnTo>
                    <a:lnTo>
                      <a:pt x="504" y="102"/>
                    </a:lnTo>
                    <a:lnTo>
                      <a:pt x="492" y="108"/>
                    </a:lnTo>
                    <a:lnTo>
                      <a:pt x="474" y="126"/>
                    </a:lnTo>
                    <a:lnTo>
                      <a:pt x="468" y="126"/>
                    </a:lnTo>
                    <a:lnTo>
                      <a:pt x="456" y="114"/>
                    </a:lnTo>
                    <a:lnTo>
                      <a:pt x="444" y="108"/>
                    </a:lnTo>
                    <a:lnTo>
                      <a:pt x="438" y="102"/>
                    </a:lnTo>
                    <a:lnTo>
                      <a:pt x="426" y="102"/>
                    </a:lnTo>
                    <a:lnTo>
                      <a:pt x="414" y="108"/>
                    </a:lnTo>
                    <a:lnTo>
                      <a:pt x="396" y="84"/>
                    </a:lnTo>
                    <a:lnTo>
                      <a:pt x="384" y="96"/>
                    </a:lnTo>
                    <a:lnTo>
                      <a:pt x="342" y="96"/>
                    </a:lnTo>
                    <a:lnTo>
                      <a:pt x="330" y="90"/>
                    </a:lnTo>
                    <a:lnTo>
                      <a:pt x="324" y="84"/>
                    </a:lnTo>
                    <a:lnTo>
                      <a:pt x="312" y="78"/>
                    </a:lnTo>
                    <a:lnTo>
                      <a:pt x="300" y="78"/>
                    </a:lnTo>
                    <a:lnTo>
                      <a:pt x="300" y="102"/>
                    </a:lnTo>
                    <a:lnTo>
                      <a:pt x="264" y="102"/>
                    </a:lnTo>
                    <a:lnTo>
                      <a:pt x="252" y="108"/>
                    </a:lnTo>
                    <a:lnTo>
                      <a:pt x="246" y="120"/>
                    </a:lnTo>
                    <a:lnTo>
                      <a:pt x="246" y="180"/>
                    </a:lnTo>
                    <a:lnTo>
                      <a:pt x="234" y="180"/>
                    </a:lnTo>
                    <a:lnTo>
                      <a:pt x="222" y="186"/>
                    </a:lnTo>
                    <a:lnTo>
                      <a:pt x="216" y="198"/>
                    </a:lnTo>
                    <a:lnTo>
                      <a:pt x="180" y="216"/>
                    </a:lnTo>
                    <a:lnTo>
                      <a:pt x="168" y="216"/>
                    </a:lnTo>
                    <a:lnTo>
                      <a:pt x="168" y="228"/>
                    </a:lnTo>
                    <a:lnTo>
                      <a:pt x="156" y="252"/>
                    </a:lnTo>
                    <a:lnTo>
                      <a:pt x="150" y="258"/>
                    </a:lnTo>
                    <a:lnTo>
                      <a:pt x="138" y="264"/>
                    </a:lnTo>
                    <a:lnTo>
                      <a:pt x="114" y="264"/>
                    </a:lnTo>
                    <a:lnTo>
                      <a:pt x="90" y="240"/>
                    </a:lnTo>
                    <a:lnTo>
                      <a:pt x="84" y="240"/>
                    </a:lnTo>
                    <a:lnTo>
                      <a:pt x="78" y="246"/>
                    </a:lnTo>
                    <a:lnTo>
                      <a:pt x="66" y="246"/>
                    </a:lnTo>
                    <a:lnTo>
                      <a:pt x="60" y="240"/>
                    </a:lnTo>
                    <a:lnTo>
                      <a:pt x="48" y="240"/>
                    </a:lnTo>
                    <a:lnTo>
                      <a:pt x="42" y="234"/>
                    </a:lnTo>
                    <a:lnTo>
                      <a:pt x="36" y="240"/>
                    </a:lnTo>
                    <a:lnTo>
                      <a:pt x="30" y="252"/>
                    </a:lnTo>
                    <a:lnTo>
                      <a:pt x="30" y="258"/>
                    </a:lnTo>
                    <a:lnTo>
                      <a:pt x="36" y="270"/>
                    </a:lnTo>
                    <a:lnTo>
                      <a:pt x="36" y="294"/>
                    </a:lnTo>
                    <a:lnTo>
                      <a:pt x="42" y="300"/>
                    </a:lnTo>
                    <a:lnTo>
                      <a:pt x="42" y="306"/>
                    </a:lnTo>
                    <a:lnTo>
                      <a:pt x="18" y="312"/>
                    </a:lnTo>
                    <a:lnTo>
                      <a:pt x="30" y="330"/>
                    </a:lnTo>
                    <a:lnTo>
                      <a:pt x="24" y="330"/>
                    </a:lnTo>
                    <a:lnTo>
                      <a:pt x="18" y="336"/>
                    </a:lnTo>
                    <a:lnTo>
                      <a:pt x="6" y="342"/>
                    </a:lnTo>
                    <a:lnTo>
                      <a:pt x="0" y="348"/>
                    </a:lnTo>
                    <a:lnTo>
                      <a:pt x="0" y="354"/>
                    </a:lnTo>
                    <a:lnTo>
                      <a:pt x="12" y="366"/>
                    </a:lnTo>
                    <a:lnTo>
                      <a:pt x="12" y="396"/>
                    </a:lnTo>
                    <a:lnTo>
                      <a:pt x="36" y="396"/>
                    </a:lnTo>
                    <a:lnTo>
                      <a:pt x="42" y="402"/>
                    </a:lnTo>
                    <a:lnTo>
                      <a:pt x="42" y="408"/>
                    </a:lnTo>
                    <a:lnTo>
                      <a:pt x="24" y="426"/>
                    </a:lnTo>
                    <a:lnTo>
                      <a:pt x="18" y="438"/>
                    </a:lnTo>
                    <a:lnTo>
                      <a:pt x="30" y="462"/>
                    </a:lnTo>
                    <a:lnTo>
                      <a:pt x="42" y="480"/>
                    </a:lnTo>
                    <a:lnTo>
                      <a:pt x="54" y="504"/>
                    </a:lnTo>
                    <a:lnTo>
                      <a:pt x="60" y="510"/>
                    </a:lnTo>
                    <a:lnTo>
                      <a:pt x="60" y="564"/>
                    </a:lnTo>
                    <a:lnTo>
                      <a:pt x="66" y="570"/>
                    </a:lnTo>
                    <a:lnTo>
                      <a:pt x="72" y="570"/>
                    </a:lnTo>
                    <a:lnTo>
                      <a:pt x="84" y="576"/>
                    </a:lnTo>
                    <a:lnTo>
                      <a:pt x="120" y="576"/>
                    </a:lnTo>
                    <a:lnTo>
                      <a:pt x="126" y="582"/>
                    </a:lnTo>
                    <a:lnTo>
                      <a:pt x="138" y="606"/>
                    </a:lnTo>
                    <a:lnTo>
                      <a:pt x="114" y="654"/>
                    </a:lnTo>
                    <a:lnTo>
                      <a:pt x="108" y="660"/>
                    </a:lnTo>
                    <a:lnTo>
                      <a:pt x="102" y="672"/>
                    </a:lnTo>
                    <a:lnTo>
                      <a:pt x="84" y="690"/>
                    </a:lnTo>
                    <a:lnTo>
                      <a:pt x="84" y="702"/>
                    </a:lnTo>
                    <a:lnTo>
                      <a:pt x="120" y="702"/>
                    </a:lnTo>
                    <a:lnTo>
                      <a:pt x="132" y="708"/>
                    </a:lnTo>
                    <a:lnTo>
                      <a:pt x="150" y="720"/>
                    </a:lnTo>
                    <a:lnTo>
                      <a:pt x="168" y="726"/>
                    </a:lnTo>
                    <a:lnTo>
                      <a:pt x="192" y="738"/>
                    </a:lnTo>
                    <a:lnTo>
                      <a:pt x="210" y="738"/>
                    </a:lnTo>
                    <a:lnTo>
                      <a:pt x="228" y="732"/>
                    </a:lnTo>
                    <a:lnTo>
                      <a:pt x="234" y="732"/>
                    </a:lnTo>
                    <a:lnTo>
                      <a:pt x="240" y="726"/>
                    </a:lnTo>
                    <a:lnTo>
                      <a:pt x="294" y="726"/>
                    </a:lnTo>
                    <a:lnTo>
                      <a:pt x="294" y="732"/>
                    </a:lnTo>
                    <a:lnTo>
                      <a:pt x="318" y="732"/>
                    </a:lnTo>
                    <a:lnTo>
                      <a:pt x="324" y="726"/>
                    </a:lnTo>
                    <a:lnTo>
                      <a:pt x="348" y="726"/>
                    </a:lnTo>
                    <a:lnTo>
                      <a:pt x="366" y="720"/>
                    </a:lnTo>
                    <a:lnTo>
                      <a:pt x="396" y="720"/>
                    </a:lnTo>
                    <a:lnTo>
                      <a:pt x="444" y="696"/>
                    </a:lnTo>
                    <a:lnTo>
                      <a:pt x="450" y="696"/>
                    </a:lnTo>
                    <a:lnTo>
                      <a:pt x="456" y="690"/>
                    </a:lnTo>
                    <a:lnTo>
                      <a:pt x="456" y="660"/>
                    </a:lnTo>
                    <a:lnTo>
                      <a:pt x="450" y="654"/>
                    </a:lnTo>
                    <a:lnTo>
                      <a:pt x="450" y="636"/>
                    </a:lnTo>
                    <a:lnTo>
                      <a:pt x="444" y="624"/>
                    </a:lnTo>
                    <a:lnTo>
                      <a:pt x="444" y="606"/>
                    </a:lnTo>
                    <a:lnTo>
                      <a:pt x="450" y="594"/>
                    </a:lnTo>
                    <a:lnTo>
                      <a:pt x="462" y="588"/>
                    </a:lnTo>
                    <a:lnTo>
                      <a:pt x="468" y="576"/>
                    </a:lnTo>
                    <a:lnTo>
                      <a:pt x="486" y="576"/>
                    </a:lnTo>
                    <a:lnTo>
                      <a:pt x="486" y="588"/>
                    </a:lnTo>
                    <a:lnTo>
                      <a:pt x="528" y="588"/>
                    </a:lnTo>
                    <a:lnTo>
                      <a:pt x="534" y="582"/>
                    </a:lnTo>
                    <a:lnTo>
                      <a:pt x="534" y="576"/>
                    </a:lnTo>
                    <a:lnTo>
                      <a:pt x="528" y="570"/>
                    </a:lnTo>
                    <a:lnTo>
                      <a:pt x="522" y="570"/>
                    </a:lnTo>
                    <a:lnTo>
                      <a:pt x="522" y="564"/>
                    </a:lnTo>
                    <a:lnTo>
                      <a:pt x="528" y="558"/>
                    </a:lnTo>
                    <a:lnTo>
                      <a:pt x="534" y="558"/>
                    </a:lnTo>
                    <a:lnTo>
                      <a:pt x="546" y="552"/>
                    </a:lnTo>
                    <a:lnTo>
                      <a:pt x="552" y="546"/>
                    </a:lnTo>
                    <a:lnTo>
                      <a:pt x="564" y="540"/>
                    </a:lnTo>
                    <a:lnTo>
                      <a:pt x="594" y="540"/>
                    </a:lnTo>
                    <a:lnTo>
                      <a:pt x="594" y="552"/>
                    </a:lnTo>
                    <a:lnTo>
                      <a:pt x="600" y="558"/>
                    </a:lnTo>
                    <a:lnTo>
                      <a:pt x="612" y="558"/>
                    </a:lnTo>
                    <a:lnTo>
                      <a:pt x="624" y="552"/>
                    </a:lnTo>
                    <a:lnTo>
                      <a:pt x="630" y="540"/>
                    </a:lnTo>
                    <a:lnTo>
                      <a:pt x="636" y="534"/>
                    </a:lnTo>
                    <a:lnTo>
                      <a:pt x="636" y="528"/>
                    </a:lnTo>
                    <a:lnTo>
                      <a:pt x="630" y="522"/>
                    </a:lnTo>
                    <a:lnTo>
                      <a:pt x="630" y="510"/>
                    </a:lnTo>
                    <a:lnTo>
                      <a:pt x="624" y="498"/>
                    </a:lnTo>
                    <a:lnTo>
                      <a:pt x="624" y="480"/>
                    </a:lnTo>
                    <a:lnTo>
                      <a:pt x="630" y="474"/>
                    </a:lnTo>
                    <a:lnTo>
                      <a:pt x="636" y="474"/>
                    </a:lnTo>
                    <a:lnTo>
                      <a:pt x="636" y="438"/>
                    </a:lnTo>
                    <a:lnTo>
                      <a:pt x="642" y="432"/>
                    </a:lnTo>
                    <a:lnTo>
                      <a:pt x="660" y="432"/>
                    </a:lnTo>
                    <a:lnTo>
                      <a:pt x="690" y="414"/>
                    </a:lnTo>
                    <a:lnTo>
                      <a:pt x="684" y="414"/>
                    </a:lnTo>
                    <a:lnTo>
                      <a:pt x="672" y="408"/>
                    </a:lnTo>
                    <a:lnTo>
                      <a:pt x="672" y="402"/>
                    </a:lnTo>
                    <a:lnTo>
                      <a:pt x="666" y="396"/>
                    </a:lnTo>
                    <a:lnTo>
                      <a:pt x="666" y="390"/>
                    </a:lnTo>
                    <a:lnTo>
                      <a:pt x="654" y="384"/>
                    </a:lnTo>
                    <a:lnTo>
                      <a:pt x="642" y="372"/>
                    </a:lnTo>
                    <a:lnTo>
                      <a:pt x="642" y="360"/>
                    </a:lnTo>
                    <a:lnTo>
                      <a:pt x="660" y="360"/>
                    </a:lnTo>
                    <a:lnTo>
                      <a:pt x="666" y="366"/>
                    </a:lnTo>
                    <a:lnTo>
                      <a:pt x="684" y="372"/>
                    </a:lnTo>
                    <a:lnTo>
                      <a:pt x="690" y="372"/>
                    </a:lnTo>
                    <a:lnTo>
                      <a:pt x="696" y="366"/>
                    </a:lnTo>
                    <a:lnTo>
                      <a:pt x="714" y="366"/>
                    </a:lnTo>
                    <a:lnTo>
                      <a:pt x="714" y="336"/>
                    </a:lnTo>
                    <a:lnTo>
                      <a:pt x="708" y="330"/>
                    </a:lnTo>
                    <a:lnTo>
                      <a:pt x="708" y="318"/>
                    </a:lnTo>
                    <a:lnTo>
                      <a:pt x="714" y="306"/>
                    </a:lnTo>
                    <a:lnTo>
                      <a:pt x="738" y="282"/>
                    </a:lnTo>
                    <a:lnTo>
                      <a:pt x="738" y="276"/>
                    </a:lnTo>
                    <a:lnTo>
                      <a:pt x="732" y="264"/>
                    </a:lnTo>
                    <a:lnTo>
                      <a:pt x="726" y="258"/>
                    </a:lnTo>
                    <a:lnTo>
                      <a:pt x="726" y="228"/>
                    </a:lnTo>
                    <a:lnTo>
                      <a:pt x="696" y="198"/>
                    </a:lnTo>
                    <a:lnTo>
                      <a:pt x="696" y="192"/>
                    </a:lnTo>
                    <a:lnTo>
                      <a:pt x="702" y="186"/>
                    </a:lnTo>
                    <a:lnTo>
                      <a:pt x="708" y="174"/>
                    </a:lnTo>
                    <a:lnTo>
                      <a:pt x="714" y="168"/>
                    </a:lnTo>
                    <a:lnTo>
                      <a:pt x="738" y="156"/>
                    </a:lnTo>
                    <a:lnTo>
                      <a:pt x="744" y="150"/>
                    </a:lnTo>
                    <a:lnTo>
                      <a:pt x="768" y="138"/>
                    </a:lnTo>
                    <a:lnTo>
                      <a:pt x="774" y="138"/>
                    </a:lnTo>
                    <a:lnTo>
                      <a:pt x="780" y="132"/>
                    </a:lnTo>
                    <a:lnTo>
                      <a:pt x="822" y="132"/>
                    </a:lnTo>
                    <a:lnTo>
                      <a:pt x="828" y="126"/>
                    </a:lnTo>
                    <a:lnTo>
                      <a:pt x="852" y="126"/>
                    </a:lnTo>
                    <a:lnTo>
                      <a:pt x="864" y="132"/>
                    </a:lnTo>
                    <a:lnTo>
                      <a:pt x="876" y="132"/>
                    </a:lnTo>
                    <a:lnTo>
                      <a:pt x="882" y="126"/>
                    </a:lnTo>
                    <a:lnTo>
                      <a:pt x="894" y="126"/>
                    </a:lnTo>
                    <a:lnTo>
                      <a:pt x="900" y="120"/>
                    </a:lnTo>
                    <a:lnTo>
                      <a:pt x="894" y="114"/>
                    </a:lnTo>
                    <a:lnTo>
                      <a:pt x="894" y="108"/>
                    </a:lnTo>
                    <a:close/>
                  </a:path>
                </a:pathLst>
              </a:custGeom>
              <a:solidFill>
                <a:srgbClr val="9D90A0">
                  <a:lumMod val="40000"/>
                  <a:lumOff val="60000"/>
                </a:srgbClr>
              </a:solidFill>
              <a:ln w="3175" algn="ctr">
                <a:solidFill>
                  <a:srgbClr val="9D90A0">
                    <a:lumMod val="40000"/>
                    <a:lumOff val="60000"/>
                  </a:srgbClr>
                </a:solidFill>
                <a:round/>
                <a:headEnd/>
                <a:tailEnd/>
              </a:ln>
              <a:effectLst/>
            </p:spPr>
            <p:txBody>
              <a:bodyPr vert="horz" wrap="square" lIns="68589" tIns="34294" rIns="68589" bIns="34294" numCol="1" anchor="t" anchorCtr="0" compatLnSpc="1">
                <a:prstTxWarp prst="textNoShape">
                  <a:avLst/>
                </a:prstTxWarp>
              </a:bodyPr>
              <a:lstStyle/>
              <a:p>
                <a:pPr fontAlgn="base">
                  <a:spcBef>
                    <a:spcPct val="0"/>
                  </a:spcBef>
                  <a:spcAft>
                    <a:spcPct val="0"/>
                  </a:spcAft>
                  <a:defRPr/>
                </a:pPr>
                <a:endParaRPr lang="en-US" sz="1350" kern="0">
                  <a:solidFill>
                    <a:prstClr val="black"/>
                  </a:solidFill>
                </a:endParaRPr>
              </a:p>
            </p:txBody>
          </p:sp>
          <p:grpSp>
            <p:nvGrpSpPr>
              <p:cNvPr id="180" name="Group 178">
                <a:extLst>
                  <a:ext uri="{FF2B5EF4-FFF2-40B4-BE49-F238E27FC236}">
                    <a16:creationId xmlns:a16="http://schemas.microsoft.com/office/drawing/2014/main" id="{F98B0005-22B0-41DC-9798-0AD2F54C048B}"/>
                  </a:ext>
                </a:extLst>
              </p:cNvPr>
              <p:cNvGrpSpPr>
                <a:grpSpLocks/>
              </p:cNvGrpSpPr>
              <p:nvPr/>
            </p:nvGrpSpPr>
            <p:grpSpPr bwMode="auto">
              <a:xfrm>
                <a:off x="4715434" y="2920099"/>
                <a:ext cx="109194" cy="149012"/>
                <a:chOff x="2184" y="1242"/>
                <a:chExt cx="257" cy="316"/>
              </a:xfrm>
              <a:solidFill>
                <a:srgbClr val="4966AC"/>
              </a:solidFill>
            </p:grpSpPr>
            <p:sp>
              <p:nvSpPr>
                <p:cNvPr id="181" name="Freeform 179" descr="© INSCALE GmbH, 05.05.2010&#10;http://www.presentationload.com/">
                  <a:extLst>
                    <a:ext uri="{FF2B5EF4-FFF2-40B4-BE49-F238E27FC236}">
                      <a16:creationId xmlns:a16="http://schemas.microsoft.com/office/drawing/2014/main" id="{8B23766D-7755-49B2-B946-EEA3CA9AAB53}"/>
                    </a:ext>
                  </a:extLst>
                </p:cNvPr>
                <p:cNvSpPr>
                  <a:spLocks/>
                </p:cNvSpPr>
                <p:nvPr/>
              </p:nvSpPr>
              <p:spPr bwMode="gray">
                <a:xfrm>
                  <a:off x="2184" y="1242"/>
                  <a:ext cx="257" cy="282"/>
                </a:xfrm>
                <a:custGeom>
                  <a:avLst/>
                  <a:gdLst/>
                  <a:ahLst/>
                  <a:cxnLst>
                    <a:cxn ang="0">
                      <a:pos x="464" y="374"/>
                    </a:cxn>
                    <a:cxn ang="0">
                      <a:pos x="453" y="310"/>
                    </a:cxn>
                    <a:cxn ang="0">
                      <a:pos x="453" y="235"/>
                    </a:cxn>
                    <a:cxn ang="0">
                      <a:pos x="378" y="224"/>
                    </a:cxn>
                    <a:cxn ang="0">
                      <a:pos x="302" y="171"/>
                    </a:cxn>
                    <a:cxn ang="0">
                      <a:pos x="291" y="118"/>
                    </a:cxn>
                    <a:cxn ang="0">
                      <a:pos x="259" y="128"/>
                    </a:cxn>
                    <a:cxn ang="0">
                      <a:pos x="216" y="53"/>
                    </a:cxn>
                    <a:cxn ang="0">
                      <a:pos x="87" y="0"/>
                    </a:cxn>
                    <a:cxn ang="0">
                      <a:pos x="0" y="43"/>
                    </a:cxn>
                    <a:cxn ang="0">
                      <a:pos x="32" y="96"/>
                    </a:cxn>
                    <a:cxn ang="0">
                      <a:pos x="65" y="139"/>
                    </a:cxn>
                    <a:cxn ang="0">
                      <a:pos x="54" y="150"/>
                    </a:cxn>
                    <a:cxn ang="0">
                      <a:pos x="32" y="181"/>
                    </a:cxn>
                    <a:cxn ang="0">
                      <a:pos x="32" y="192"/>
                    </a:cxn>
                    <a:cxn ang="0">
                      <a:pos x="76" y="203"/>
                    </a:cxn>
                    <a:cxn ang="0">
                      <a:pos x="87" y="267"/>
                    </a:cxn>
                    <a:cxn ang="0">
                      <a:pos x="65" y="310"/>
                    </a:cxn>
                    <a:cxn ang="0">
                      <a:pos x="98" y="363"/>
                    </a:cxn>
                    <a:cxn ang="0">
                      <a:pos x="119" y="395"/>
                    </a:cxn>
                    <a:cxn ang="0">
                      <a:pos x="157" y="442"/>
                    </a:cxn>
                    <a:cxn ang="0">
                      <a:pos x="173" y="438"/>
                    </a:cxn>
                    <a:cxn ang="0">
                      <a:pos x="180" y="444"/>
                    </a:cxn>
                    <a:cxn ang="0">
                      <a:pos x="230" y="446"/>
                    </a:cxn>
                    <a:cxn ang="0">
                      <a:pos x="237" y="431"/>
                    </a:cxn>
                    <a:cxn ang="0">
                      <a:pos x="258" y="416"/>
                    </a:cxn>
                    <a:cxn ang="0">
                      <a:pos x="266" y="418"/>
                    </a:cxn>
                    <a:cxn ang="0">
                      <a:pos x="268" y="407"/>
                    </a:cxn>
                    <a:cxn ang="0">
                      <a:pos x="267" y="399"/>
                    </a:cxn>
                    <a:cxn ang="0">
                      <a:pos x="254" y="388"/>
                    </a:cxn>
                    <a:cxn ang="0">
                      <a:pos x="262" y="387"/>
                    </a:cxn>
                    <a:cxn ang="0">
                      <a:pos x="279" y="380"/>
                    </a:cxn>
                    <a:cxn ang="0">
                      <a:pos x="288" y="372"/>
                    </a:cxn>
                    <a:cxn ang="0">
                      <a:pos x="298" y="389"/>
                    </a:cxn>
                    <a:cxn ang="0">
                      <a:pos x="292" y="399"/>
                    </a:cxn>
                    <a:cxn ang="0">
                      <a:pos x="309" y="402"/>
                    </a:cxn>
                    <a:cxn ang="0">
                      <a:pos x="321" y="404"/>
                    </a:cxn>
                    <a:cxn ang="0">
                      <a:pos x="326" y="408"/>
                    </a:cxn>
                    <a:cxn ang="0">
                      <a:pos x="328" y="433"/>
                    </a:cxn>
                    <a:cxn ang="0">
                      <a:pos x="334" y="429"/>
                    </a:cxn>
                    <a:cxn ang="0">
                      <a:pos x="335" y="448"/>
                    </a:cxn>
                    <a:cxn ang="0">
                      <a:pos x="348" y="452"/>
                    </a:cxn>
                    <a:cxn ang="0">
                      <a:pos x="356" y="467"/>
                    </a:cxn>
                    <a:cxn ang="0">
                      <a:pos x="354" y="478"/>
                    </a:cxn>
                    <a:cxn ang="0">
                      <a:pos x="356" y="482"/>
                    </a:cxn>
                    <a:cxn ang="0">
                      <a:pos x="369" y="485"/>
                    </a:cxn>
                    <a:cxn ang="0">
                      <a:pos x="381" y="492"/>
                    </a:cxn>
                    <a:cxn ang="0">
                      <a:pos x="390" y="496"/>
                    </a:cxn>
                    <a:cxn ang="0">
                      <a:pos x="399" y="501"/>
                    </a:cxn>
                    <a:cxn ang="0">
                      <a:pos x="392" y="513"/>
                    </a:cxn>
                    <a:cxn ang="0">
                      <a:pos x="384" y="528"/>
                    </a:cxn>
                    <a:cxn ang="0">
                      <a:pos x="376" y="542"/>
                    </a:cxn>
                    <a:cxn ang="0">
                      <a:pos x="453" y="492"/>
                    </a:cxn>
                    <a:cxn ang="0">
                      <a:pos x="486" y="470"/>
                    </a:cxn>
                    <a:cxn ang="0">
                      <a:pos x="486" y="406"/>
                    </a:cxn>
                  </a:cxnLst>
                  <a:rect l="0" t="0" r="r" b="b"/>
                  <a:pathLst>
                    <a:path w="496" h="542">
                      <a:moveTo>
                        <a:pt x="486" y="406"/>
                      </a:moveTo>
                      <a:cubicBezTo>
                        <a:pt x="453" y="395"/>
                        <a:pt x="453" y="395"/>
                        <a:pt x="453" y="395"/>
                      </a:cubicBezTo>
                      <a:cubicBezTo>
                        <a:pt x="464" y="374"/>
                        <a:pt x="464" y="374"/>
                        <a:pt x="464" y="374"/>
                      </a:cubicBezTo>
                      <a:cubicBezTo>
                        <a:pt x="432" y="363"/>
                        <a:pt x="432" y="363"/>
                        <a:pt x="432" y="363"/>
                      </a:cubicBezTo>
                      <a:cubicBezTo>
                        <a:pt x="432" y="331"/>
                        <a:pt x="432" y="331"/>
                        <a:pt x="432" y="331"/>
                      </a:cubicBezTo>
                      <a:cubicBezTo>
                        <a:pt x="453" y="310"/>
                        <a:pt x="453" y="310"/>
                        <a:pt x="453" y="310"/>
                      </a:cubicBezTo>
                      <a:cubicBezTo>
                        <a:pt x="453" y="267"/>
                        <a:pt x="453" y="267"/>
                        <a:pt x="453" y="267"/>
                      </a:cubicBezTo>
                      <a:cubicBezTo>
                        <a:pt x="442" y="256"/>
                        <a:pt x="442" y="256"/>
                        <a:pt x="442" y="256"/>
                      </a:cubicBezTo>
                      <a:cubicBezTo>
                        <a:pt x="453" y="235"/>
                        <a:pt x="453" y="235"/>
                        <a:pt x="453" y="235"/>
                      </a:cubicBezTo>
                      <a:cubicBezTo>
                        <a:pt x="464" y="224"/>
                        <a:pt x="464" y="224"/>
                        <a:pt x="464" y="224"/>
                      </a:cubicBezTo>
                      <a:cubicBezTo>
                        <a:pt x="421" y="213"/>
                        <a:pt x="421" y="213"/>
                        <a:pt x="421" y="213"/>
                      </a:cubicBezTo>
                      <a:cubicBezTo>
                        <a:pt x="378" y="224"/>
                        <a:pt x="378" y="224"/>
                        <a:pt x="378" y="224"/>
                      </a:cubicBezTo>
                      <a:cubicBezTo>
                        <a:pt x="367" y="213"/>
                        <a:pt x="367" y="213"/>
                        <a:pt x="367" y="213"/>
                      </a:cubicBezTo>
                      <a:cubicBezTo>
                        <a:pt x="324" y="203"/>
                        <a:pt x="324" y="203"/>
                        <a:pt x="324" y="203"/>
                      </a:cubicBezTo>
                      <a:cubicBezTo>
                        <a:pt x="302" y="171"/>
                        <a:pt x="302" y="171"/>
                        <a:pt x="302" y="171"/>
                      </a:cubicBezTo>
                      <a:cubicBezTo>
                        <a:pt x="313" y="160"/>
                        <a:pt x="313" y="160"/>
                        <a:pt x="313" y="160"/>
                      </a:cubicBezTo>
                      <a:cubicBezTo>
                        <a:pt x="313" y="128"/>
                        <a:pt x="313" y="128"/>
                        <a:pt x="313" y="128"/>
                      </a:cubicBezTo>
                      <a:cubicBezTo>
                        <a:pt x="291" y="118"/>
                        <a:pt x="291" y="118"/>
                        <a:pt x="291" y="118"/>
                      </a:cubicBezTo>
                      <a:cubicBezTo>
                        <a:pt x="280" y="118"/>
                        <a:pt x="280" y="118"/>
                        <a:pt x="280" y="118"/>
                      </a:cubicBezTo>
                      <a:cubicBezTo>
                        <a:pt x="270" y="128"/>
                        <a:pt x="270" y="128"/>
                        <a:pt x="270" y="128"/>
                      </a:cubicBezTo>
                      <a:cubicBezTo>
                        <a:pt x="259" y="128"/>
                        <a:pt x="259" y="128"/>
                        <a:pt x="259" y="128"/>
                      </a:cubicBezTo>
                      <a:cubicBezTo>
                        <a:pt x="249" y="118"/>
                        <a:pt x="249" y="118"/>
                        <a:pt x="249" y="118"/>
                      </a:cubicBezTo>
                      <a:cubicBezTo>
                        <a:pt x="227" y="53"/>
                        <a:pt x="227" y="53"/>
                        <a:pt x="227" y="53"/>
                      </a:cubicBezTo>
                      <a:cubicBezTo>
                        <a:pt x="216" y="53"/>
                        <a:pt x="216" y="53"/>
                        <a:pt x="216" y="53"/>
                      </a:cubicBezTo>
                      <a:cubicBezTo>
                        <a:pt x="173" y="21"/>
                        <a:pt x="173" y="21"/>
                        <a:pt x="173" y="21"/>
                      </a:cubicBezTo>
                      <a:cubicBezTo>
                        <a:pt x="129" y="0"/>
                        <a:pt x="129" y="0"/>
                        <a:pt x="129" y="0"/>
                      </a:cubicBezTo>
                      <a:cubicBezTo>
                        <a:pt x="87" y="0"/>
                        <a:pt x="87" y="0"/>
                        <a:pt x="87" y="0"/>
                      </a:cubicBezTo>
                      <a:cubicBezTo>
                        <a:pt x="54" y="32"/>
                        <a:pt x="54" y="32"/>
                        <a:pt x="54" y="32"/>
                      </a:cubicBezTo>
                      <a:cubicBezTo>
                        <a:pt x="11" y="32"/>
                        <a:pt x="11" y="32"/>
                        <a:pt x="11" y="32"/>
                      </a:cubicBezTo>
                      <a:cubicBezTo>
                        <a:pt x="0" y="43"/>
                        <a:pt x="0" y="43"/>
                        <a:pt x="0" y="43"/>
                      </a:cubicBezTo>
                      <a:cubicBezTo>
                        <a:pt x="11" y="43"/>
                        <a:pt x="11" y="43"/>
                        <a:pt x="11" y="43"/>
                      </a:cubicBezTo>
                      <a:cubicBezTo>
                        <a:pt x="22" y="96"/>
                        <a:pt x="22" y="96"/>
                        <a:pt x="22" y="96"/>
                      </a:cubicBezTo>
                      <a:cubicBezTo>
                        <a:pt x="32" y="96"/>
                        <a:pt x="32" y="96"/>
                        <a:pt x="32" y="96"/>
                      </a:cubicBezTo>
                      <a:cubicBezTo>
                        <a:pt x="22" y="128"/>
                        <a:pt x="22" y="128"/>
                        <a:pt x="22" y="128"/>
                      </a:cubicBezTo>
                      <a:cubicBezTo>
                        <a:pt x="43" y="128"/>
                        <a:pt x="43" y="128"/>
                        <a:pt x="43" y="128"/>
                      </a:cubicBezTo>
                      <a:cubicBezTo>
                        <a:pt x="65" y="139"/>
                        <a:pt x="65" y="139"/>
                        <a:pt x="65" y="139"/>
                      </a:cubicBezTo>
                      <a:cubicBezTo>
                        <a:pt x="76" y="139"/>
                        <a:pt x="76" y="139"/>
                        <a:pt x="76" y="139"/>
                      </a:cubicBezTo>
                      <a:cubicBezTo>
                        <a:pt x="65" y="150"/>
                        <a:pt x="65" y="150"/>
                        <a:pt x="65" y="150"/>
                      </a:cubicBezTo>
                      <a:cubicBezTo>
                        <a:pt x="54" y="150"/>
                        <a:pt x="54" y="150"/>
                        <a:pt x="54" y="150"/>
                      </a:cubicBezTo>
                      <a:cubicBezTo>
                        <a:pt x="43" y="160"/>
                        <a:pt x="43" y="160"/>
                        <a:pt x="43" y="160"/>
                      </a:cubicBezTo>
                      <a:cubicBezTo>
                        <a:pt x="32" y="160"/>
                        <a:pt x="32" y="160"/>
                        <a:pt x="32" y="160"/>
                      </a:cubicBezTo>
                      <a:cubicBezTo>
                        <a:pt x="32" y="181"/>
                        <a:pt x="32" y="181"/>
                        <a:pt x="32" y="181"/>
                      </a:cubicBezTo>
                      <a:cubicBezTo>
                        <a:pt x="22" y="181"/>
                        <a:pt x="22" y="181"/>
                        <a:pt x="22" y="181"/>
                      </a:cubicBezTo>
                      <a:cubicBezTo>
                        <a:pt x="22" y="192"/>
                        <a:pt x="22" y="192"/>
                        <a:pt x="22" y="192"/>
                      </a:cubicBezTo>
                      <a:cubicBezTo>
                        <a:pt x="32" y="192"/>
                        <a:pt x="32" y="192"/>
                        <a:pt x="32" y="192"/>
                      </a:cubicBezTo>
                      <a:cubicBezTo>
                        <a:pt x="54" y="181"/>
                        <a:pt x="54" y="181"/>
                        <a:pt x="54" y="181"/>
                      </a:cubicBezTo>
                      <a:cubicBezTo>
                        <a:pt x="76" y="181"/>
                        <a:pt x="76" y="181"/>
                        <a:pt x="76" y="181"/>
                      </a:cubicBezTo>
                      <a:cubicBezTo>
                        <a:pt x="76" y="203"/>
                        <a:pt x="76" y="203"/>
                        <a:pt x="76" y="203"/>
                      </a:cubicBezTo>
                      <a:cubicBezTo>
                        <a:pt x="43" y="235"/>
                        <a:pt x="43" y="235"/>
                        <a:pt x="43" y="235"/>
                      </a:cubicBezTo>
                      <a:cubicBezTo>
                        <a:pt x="43" y="267"/>
                        <a:pt x="43" y="267"/>
                        <a:pt x="43" y="267"/>
                      </a:cubicBezTo>
                      <a:cubicBezTo>
                        <a:pt x="87" y="267"/>
                        <a:pt x="87" y="267"/>
                        <a:pt x="87" y="267"/>
                      </a:cubicBezTo>
                      <a:cubicBezTo>
                        <a:pt x="98" y="278"/>
                        <a:pt x="98" y="278"/>
                        <a:pt x="98" y="278"/>
                      </a:cubicBezTo>
                      <a:cubicBezTo>
                        <a:pt x="108" y="299"/>
                        <a:pt x="108" y="299"/>
                        <a:pt x="108" y="299"/>
                      </a:cubicBezTo>
                      <a:cubicBezTo>
                        <a:pt x="65" y="310"/>
                        <a:pt x="65" y="310"/>
                        <a:pt x="65" y="310"/>
                      </a:cubicBezTo>
                      <a:cubicBezTo>
                        <a:pt x="87" y="331"/>
                        <a:pt x="87" y="331"/>
                        <a:pt x="87" y="331"/>
                      </a:cubicBezTo>
                      <a:cubicBezTo>
                        <a:pt x="98" y="353"/>
                        <a:pt x="98" y="353"/>
                        <a:pt x="98" y="353"/>
                      </a:cubicBezTo>
                      <a:cubicBezTo>
                        <a:pt x="98" y="363"/>
                        <a:pt x="98" y="363"/>
                        <a:pt x="98" y="363"/>
                      </a:cubicBezTo>
                      <a:cubicBezTo>
                        <a:pt x="87" y="363"/>
                        <a:pt x="87" y="363"/>
                        <a:pt x="87" y="363"/>
                      </a:cubicBezTo>
                      <a:cubicBezTo>
                        <a:pt x="87" y="374"/>
                        <a:pt x="87" y="374"/>
                        <a:pt x="87" y="374"/>
                      </a:cubicBezTo>
                      <a:cubicBezTo>
                        <a:pt x="119" y="395"/>
                        <a:pt x="119" y="395"/>
                        <a:pt x="119" y="395"/>
                      </a:cubicBezTo>
                      <a:cubicBezTo>
                        <a:pt x="140" y="417"/>
                        <a:pt x="140" y="417"/>
                        <a:pt x="140" y="417"/>
                      </a:cubicBezTo>
                      <a:cubicBezTo>
                        <a:pt x="157" y="442"/>
                        <a:pt x="157" y="442"/>
                        <a:pt x="157" y="442"/>
                      </a:cubicBezTo>
                      <a:cubicBezTo>
                        <a:pt x="157" y="442"/>
                        <a:pt x="157" y="442"/>
                        <a:pt x="157" y="442"/>
                      </a:cubicBezTo>
                      <a:cubicBezTo>
                        <a:pt x="159" y="442"/>
                        <a:pt x="161" y="443"/>
                        <a:pt x="166" y="444"/>
                      </a:cubicBezTo>
                      <a:cubicBezTo>
                        <a:pt x="166" y="444"/>
                        <a:pt x="166" y="444"/>
                        <a:pt x="167" y="444"/>
                      </a:cubicBezTo>
                      <a:cubicBezTo>
                        <a:pt x="173" y="438"/>
                        <a:pt x="173" y="438"/>
                        <a:pt x="173" y="438"/>
                      </a:cubicBezTo>
                      <a:cubicBezTo>
                        <a:pt x="173" y="447"/>
                        <a:pt x="173" y="447"/>
                        <a:pt x="173" y="447"/>
                      </a:cubicBezTo>
                      <a:cubicBezTo>
                        <a:pt x="174" y="448"/>
                        <a:pt x="175" y="448"/>
                        <a:pt x="176" y="449"/>
                      </a:cubicBezTo>
                      <a:cubicBezTo>
                        <a:pt x="176" y="449"/>
                        <a:pt x="176" y="449"/>
                        <a:pt x="180" y="444"/>
                      </a:cubicBezTo>
                      <a:cubicBezTo>
                        <a:pt x="180" y="444"/>
                        <a:pt x="180" y="444"/>
                        <a:pt x="199" y="447"/>
                      </a:cubicBezTo>
                      <a:cubicBezTo>
                        <a:pt x="199" y="447"/>
                        <a:pt x="199" y="447"/>
                        <a:pt x="212" y="446"/>
                      </a:cubicBezTo>
                      <a:cubicBezTo>
                        <a:pt x="212" y="446"/>
                        <a:pt x="212" y="446"/>
                        <a:pt x="230" y="446"/>
                      </a:cubicBezTo>
                      <a:cubicBezTo>
                        <a:pt x="230" y="446"/>
                        <a:pt x="230" y="446"/>
                        <a:pt x="240" y="443"/>
                      </a:cubicBezTo>
                      <a:cubicBezTo>
                        <a:pt x="240" y="443"/>
                        <a:pt x="240" y="443"/>
                        <a:pt x="239" y="437"/>
                      </a:cubicBezTo>
                      <a:cubicBezTo>
                        <a:pt x="239" y="437"/>
                        <a:pt x="239" y="437"/>
                        <a:pt x="237" y="431"/>
                      </a:cubicBezTo>
                      <a:cubicBezTo>
                        <a:pt x="237" y="431"/>
                        <a:pt x="237" y="431"/>
                        <a:pt x="245" y="425"/>
                      </a:cubicBezTo>
                      <a:cubicBezTo>
                        <a:pt x="245" y="425"/>
                        <a:pt x="245" y="425"/>
                        <a:pt x="255" y="417"/>
                      </a:cubicBezTo>
                      <a:cubicBezTo>
                        <a:pt x="255" y="417"/>
                        <a:pt x="255" y="417"/>
                        <a:pt x="258" y="416"/>
                      </a:cubicBezTo>
                      <a:cubicBezTo>
                        <a:pt x="258" y="416"/>
                        <a:pt x="258" y="416"/>
                        <a:pt x="258" y="421"/>
                      </a:cubicBezTo>
                      <a:cubicBezTo>
                        <a:pt x="258" y="421"/>
                        <a:pt x="258" y="421"/>
                        <a:pt x="262" y="419"/>
                      </a:cubicBezTo>
                      <a:cubicBezTo>
                        <a:pt x="262" y="419"/>
                        <a:pt x="262" y="419"/>
                        <a:pt x="266" y="418"/>
                      </a:cubicBezTo>
                      <a:cubicBezTo>
                        <a:pt x="266" y="418"/>
                        <a:pt x="266" y="418"/>
                        <a:pt x="263" y="414"/>
                      </a:cubicBezTo>
                      <a:cubicBezTo>
                        <a:pt x="263" y="414"/>
                        <a:pt x="263" y="414"/>
                        <a:pt x="267" y="412"/>
                      </a:cubicBezTo>
                      <a:cubicBezTo>
                        <a:pt x="267" y="412"/>
                        <a:pt x="267" y="412"/>
                        <a:pt x="268" y="407"/>
                      </a:cubicBezTo>
                      <a:cubicBezTo>
                        <a:pt x="268" y="407"/>
                        <a:pt x="268" y="407"/>
                        <a:pt x="264" y="405"/>
                      </a:cubicBezTo>
                      <a:cubicBezTo>
                        <a:pt x="264" y="405"/>
                        <a:pt x="264" y="405"/>
                        <a:pt x="264" y="402"/>
                      </a:cubicBezTo>
                      <a:cubicBezTo>
                        <a:pt x="264" y="402"/>
                        <a:pt x="264" y="402"/>
                        <a:pt x="267" y="399"/>
                      </a:cubicBezTo>
                      <a:cubicBezTo>
                        <a:pt x="267" y="399"/>
                        <a:pt x="267" y="399"/>
                        <a:pt x="266" y="396"/>
                      </a:cubicBezTo>
                      <a:cubicBezTo>
                        <a:pt x="266" y="396"/>
                        <a:pt x="266" y="396"/>
                        <a:pt x="258" y="394"/>
                      </a:cubicBezTo>
                      <a:cubicBezTo>
                        <a:pt x="258" y="394"/>
                        <a:pt x="258" y="394"/>
                        <a:pt x="254" y="388"/>
                      </a:cubicBezTo>
                      <a:cubicBezTo>
                        <a:pt x="254" y="388"/>
                        <a:pt x="254" y="388"/>
                        <a:pt x="256" y="385"/>
                      </a:cubicBezTo>
                      <a:cubicBezTo>
                        <a:pt x="256" y="385"/>
                        <a:pt x="256" y="385"/>
                        <a:pt x="259" y="389"/>
                      </a:cubicBezTo>
                      <a:cubicBezTo>
                        <a:pt x="259" y="389"/>
                        <a:pt x="259" y="389"/>
                        <a:pt x="262" y="387"/>
                      </a:cubicBezTo>
                      <a:cubicBezTo>
                        <a:pt x="262" y="387"/>
                        <a:pt x="262" y="387"/>
                        <a:pt x="267" y="388"/>
                      </a:cubicBezTo>
                      <a:cubicBezTo>
                        <a:pt x="267" y="388"/>
                        <a:pt x="267" y="388"/>
                        <a:pt x="271" y="385"/>
                      </a:cubicBezTo>
                      <a:cubicBezTo>
                        <a:pt x="271" y="385"/>
                        <a:pt x="271" y="385"/>
                        <a:pt x="279" y="380"/>
                      </a:cubicBezTo>
                      <a:cubicBezTo>
                        <a:pt x="279" y="380"/>
                        <a:pt x="279" y="380"/>
                        <a:pt x="282" y="378"/>
                      </a:cubicBezTo>
                      <a:cubicBezTo>
                        <a:pt x="282" y="378"/>
                        <a:pt x="282" y="378"/>
                        <a:pt x="283" y="374"/>
                      </a:cubicBezTo>
                      <a:cubicBezTo>
                        <a:pt x="283" y="374"/>
                        <a:pt x="283" y="374"/>
                        <a:pt x="288" y="372"/>
                      </a:cubicBezTo>
                      <a:cubicBezTo>
                        <a:pt x="288" y="372"/>
                        <a:pt x="288" y="372"/>
                        <a:pt x="293" y="377"/>
                      </a:cubicBezTo>
                      <a:cubicBezTo>
                        <a:pt x="293" y="377"/>
                        <a:pt x="293" y="377"/>
                        <a:pt x="297" y="384"/>
                      </a:cubicBezTo>
                      <a:cubicBezTo>
                        <a:pt x="297" y="384"/>
                        <a:pt x="297" y="384"/>
                        <a:pt x="298" y="389"/>
                      </a:cubicBezTo>
                      <a:cubicBezTo>
                        <a:pt x="298" y="389"/>
                        <a:pt x="298" y="389"/>
                        <a:pt x="298" y="392"/>
                      </a:cubicBezTo>
                      <a:cubicBezTo>
                        <a:pt x="298" y="392"/>
                        <a:pt x="298" y="392"/>
                        <a:pt x="291" y="396"/>
                      </a:cubicBezTo>
                      <a:cubicBezTo>
                        <a:pt x="291" y="396"/>
                        <a:pt x="291" y="396"/>
                        <a:pt x="292" y="399"/>
                      </a:cubicBezTo>
                      <a:cubicBezTo>
                        <a:pt x="292" y="399"/>
                        <a:pt x="292" y="399"/>
                        <a:pt x="299" y="400"/>
                      </a:cubicBezTo>
                      <a:cubicBezTo>
                        <a:pt x="299" y="400"/>
                        <a:pt x="299" y="400"/>
                        <a:pt x="303" y="404"/>
                      </a:cubicBezTo>
                      <a:cubicBezTo>
                        <a:pt x="303" y="404"/>
                        <a:pt x="303" y="404"/>
                        <a:pt x="309" y="402"/>
                      </a:cubicBezTo>
                      <a:cubicBezTo>
                        <a:pt x="309" y="402"/>
                        <a:pt x="309" y="402"/>
                        <a:pt x="314" y="404"/>
                      </a:cubicBezTo>
                      <a:cubicBezTo>
                        <a:pt x="314" y="404"/>
                        <a:pt x="314" y="404"/>
                        <a:pt x="319" y="401"/>
                      </a:cubicBezTo>
                      <a:cubicBezTo>
                        <a:pt x="319" y="401"/>
                        <a:pt x="319" y="401"/>
                        <a:pt x="321" y="404"/>
                      </a:cubicBezTo>
                      <a:cubicBezTo>
                        <a:pt x="321" y="404"/>
                        <a:pt x="321" y="404"/>
                        <a:pt x="318" y="408"/>
                      </a:cubicBezTo>
                      <a:cubicBezTo>
                        <a:pt x="318" y="408"/>
                        <a:pt x="318" y="408"/>
                        <a:pt x="324" y="407"/>
                      </a:cubicBezTo>
                      <a:cubicBezTo>
                        <a:pt x="324" y="407"/>
                        <a:pt x="324" y="407"/>
                        <a:pt x="326" y="408"/>
                      </a:cubicBezTo>
                      <a:cubicBezTo>
                        <a:pt x="326" y="408"/>
                        <a:pt x="326" y="408"/>
                        <a:pt x="324" y="425"/>
                      </a:cubicBezTo>
                      <a:cubicBezTo>
                        <a:pt x="324" y="425"/>
                        <a:pt x="324" y="425"/>
                        <a:pt x="324" y="432"/>
                      </a:cubicBezTo>
                      <a:cubicBezTo>
                        <a:pt x="324" y="432"/>
                        <a:pt x="324" y="432"/>
                        <a:pt x="328" y="433"/>
                      </a:cubicBezTo>
                      <a:cubicBezTo>
                        <a:pt x="328" y="433"/>
                        <a:pt x="328" y="433"/>
                        <a:pt x="330" y="431"/>
                      </a:cubicBezTo>
                      <a:cubicBezTo>
                        <a:pt x="330" y="431"/>
                        <a:pt x="330" y="431"/>
                        <a:pt x="331" y="428"/>
                      </a:cubicBezTo>
                      <a:cubicBezTo>
                        <a:pt x="331" y="428"/>
                        <a:pt x="331" y="428"/>
                        <a:pt x="334" y="429"/>
                      </a:cubicBezTo>
                      <a:cubicBezTo>
                        <a:pt x="334" y="429"/>
                        <a:pt x="334" y="429"/>
                        <a:pt x="336" y="433"/>
                      </a:cubicBezTo>
                      <a:cubicBezTo>
                        <a:pt x="336" y="433"/>
                        <a:pt x="336" y="433"/>
                        <a:pt x="336" y="443"/>
                      </a:cubicBezTo>
                      <a:cubicBezTo>
                        <a:pt x="336" y="443"/>
                        <a:pt x="336" y="443"/>
                        <a:pt x="335" y="448"/>
                      </a:cubicBezTo>
                      <a:cubicBezTo>
                        <a:pt x="335" y="448"/>
                        <a:pt x="335" y="448"/>
                        <a:pt x="339" y="450"/>
                      </a:cubicBezTo>
                      <a:cubicBezTo>
                        <a:pt x="339" y="450"/>
                        <a:pt x="339" y="450"/>
                        <a:pt x="344" y="450"/>
                      </a:cubicBezTo>
                      <a:cubicBezTo>
                        <a:pt x="344" y="450"/>
                        <a:pt x="344" y="450"/>
                        <a:pt x="348" y="452"/>
                      </a:cubicBezTo>
                      <a:cubicBezTo>
                        <a:pt x="348" y="452"/>
                        <a:pt x="348" y="452"/>
                        <a:pt x="353" y="456"/>
                      </a:cubicBezTo>
                      <a:cubicBezTo>
                        <a:pt x="353" y="456"/>
                        <a:pt x="353" y="456"/>
                        <a:pt x="357" y="457"/>
                      </a:cubicBezTo>
                      <a:cubicBezTo>
                        <a:pt x="357" y="457"/>
                        <a:pt x="357" y="457"/>
                        <a:pt x="356" y="467"/>
                      </a:cubicBezTo>
                      <a:cubicBezTo>
                        <a:pt x="356" y="467"/>
                        <a:pt x="356" y="467"/>
                        <a:pt x="356" y="472"/>
                      </a:cubicBezTo>
                      <a:cubicBezTo>
                        <a:pt x="356" y="472"/>
                        <a:pt x="356" y="472"/>
                        <a:pt x="352" y="473"/>
                      </a:cubicBezTo>
                      <a:cubicBezTo>
                        <a:pt x="352" y="473"/>
                        <a:pt x="352" y="473"/>
                        <a:pt x="354" y="478"/>
                      </a:cubicBezTo>
                      <a:cubicBezTo>
                        <a:pt x="354" y="478"/>
                        <a:pt x="354" y="478"/>
                        <a:pt x="351" y="482"/>
                      </a:cubicBezTo>
                      <a:cubicBezTo>
                        <a:pt x="351" y="482"/>
                        <a:pt x="351" y="482"/>
                        <a:pt x="353" y="483"/>
                      </a:cubicBezTo>
                      <a:cubicBezTo>
                        <a:pt x="353" y="483"/>
                        <a:pt x="353" y="483"/>
                        <a:pt x="356" y="482"/>
                      </a:cubicBezTo>
                      <a:cubicBezTo>
                        <a:pt x="356" y="482"/>
                        <a:pt x="356" y="482"/>
                        <a:pt x="361" y="485"/>
                      </a:cubicBezTo>
                      <a:cubicBezTo>
                        <a:pt x="361" y="485"/>
                        <a:pt x="361" y="485"/>
                        <a:pt x="364" y="483"/>
                      </a:cubicBezTo>
                      <a:cubicBezTo>
                        <a:pt x="364" y="483"/>
                        <a:pt x="364" y="483"/>
                        <a:pt x="369" y="485"/>
                      </a:cubicBezTo>
                      <a:cubicBezTo>
                        <a:pt x="369" y="485"/>
                        <a:pt x="369" y="485"/>
                        <a:pt x="372" y="485"/>
                      </a:cubicBezTo>
                      <a:cubicBezTo>
                        <a:pt x="372" y="485"/>
                        <a:pt x="372" y="485"/>
                        <a:pt x="377" y="489"/>
                      </a:cubicBezTo>
                      <a:cubicBezTo>
                        <a:pt x="377" y="489"/>
                        <a:pt x="377" y="489"/>
                        <a:pt x="381" y="492"/>
                      </a:cubicBezTo>
                      <a:cubicBezTo>
                        <a:pt x="381" y="492"/>
                        <a:pt x="381" y="492"/>
                        <a:pt x="383" y="496"/>
                      </a:cubicBezTo>
                      <a:cubicBezTo>
                        <a:pt x="383" y="496"/>
                        <a:pt x="383" y="496"/>
                        <a:pt x="385" y="499"/>
                      </a:cubicBezTo>
                      <a:cubicBezTo>
                        <a:pt x="385" y="499"/>
                        <a:pt x="385" y="499"/>
                        <a:pt x="390" y="496"/>
                      </a:cubicBezTo>
                      <a:cubicBezTo>
                        <a:pt x="390" y="496"/>
                        <a:pt x="390" y="496"/>
                        <a:pt x="394" y="494"/>
                      </a:cubicBezTo>
                      <a:cubicBezTo>
                        <a:pt x="394" y="494"/>
                        <a:pt x="394" y="494"/>
                        <a:pt x="398" y="496"/>
                      </a:cubicBezTo>
                      <a:cubicBezTo>
                        <a:pt x="398" y="496"/>
                        <a:pt x="398" y="496"/>
                        <a:pt x="399" y="501"/>
                      </a:cubicBezTo>
                      <a:cubicBezTo>
                        <a:pt x="399" y="501"/>
                        <a:pt x="399" y="501"/>
                        <a:pt x="395" y="505"/>
                      </a:cubicBezTo>
                      <a:cubicBezTo>
                        <a:pt x="395" y="505"/>
                        <a:pt x="395" y="505"/>
                        <a:pt x="395" y="509"/>
                      </a:cubicBezTo>
                      <a:cubicBezTo>
                        <a:pt x="395" y="509"/>
                        <a:pt x="395" y="509"/>
                        <a:pt x="392" y="513"/>
                      </a:cubicBezTo>
                      <a:cubicBezTo>
                        <a:pt x="392" y="513"/>
                        <a:pt x="392" y="513"/>
                        <a:pt x="392" y="516"/>
                      </a:cubicBezTo>
                      <a:cubicBezTo>
                        <a:pt x="392" y="516"/>
                        <a:pt x="392" y="516"/>
                        <a:pt x="386" y="519"/>
                      </a:cubicBezTo>
                      <a:cubicBezTo>
                        <a:pt x="386" y="519"/>
                        <a:pt x="386" y="519"/>
                        <a:pt x="384" y="528"/>
                      </a:cubicBezTo>
                      <a:cubicBezTo>
                        <a:pt x="384" y="528"/>
                        <a:pt x="384" y="528"/>
                        <a:pt x="379" y="531"/>
                      </a:cubicBezTo>
                      <a:cubicBezTo>
                        <a:pt x="379" y="531"/>
                        <a:pt x="379" y="531"/>
                        <a:pt x="376" y="535"/>
                      </a:cubicBezTo>
                      <a:cubicBezTo>
                        <a:pt x="376" y="535"/>
                        <a:pt x="376" y="535"/>
                        <a:pt x="376" y="542"/>
                      </a:cubicBezTo>
                      <a:cubicBezTo>
                        <a:pt x="432" y="535"/>
                        <a:pt x="432" y="535"/>
                        <a:pt x="432" y="535"/>
                      </a:cubicBezTo>
                      <a:cubicBezTo>
                        <a:pt x="453" y="535"/>
                        <a:pt x="453" y="535"/>
                        <a:pt x="453" y="535"/>
                      </a:cubicBezTo>
                      <a:cubicBezTo>
                        <a:pt x="453" y="492"/>
                        <a:pt x="453" y="492"/>
                        <a:pt x="453" y="492"/>
                      </a:cubicBezTo>
                      <a:cubicBezTo>
                        <a:pt x="442" y="481"/>
                        <a:pt x="442" y="481"/>
                        <a:pt x="442" y="481"/>
                      </a:cubicBezTo>
                      <a:cubicBezTo>
                        <a:pt x="442" y="470"/>
                        <a:pt x="442" y="470"/>
                        <a:pt x="442" y="470"/>
                      </a:cubicBezTo>
                      <a:cubicBezTo>
                        <a:pt x="486" y="470"/>
                        <a:pt x="486" y="470"/>
                        <a:pt x="486" y="470"/>
                      </a:cubicBezTo>
                      <a:cubicBezTo>
                        <a:pt x="496" y="460"/>
                        <a:pt x="496" y="460"/>
                        <a:pt x="496" y="460"/>
                      </a:cubicBezTo>
                      <a:cubicBezTo>
                        <a:pt x="496" y="417"/>
                        <a:pt x="496" y="417"/>
                        <a:pt x="496" y="417"/>
                      </a:cubicBezTo>
                      <a:lnTo>
                        <a:pt x="486" y="406"/>
                      </a:lnTo>
                      <a:close/>
                    </a:path>
                  </a:pathLst>
                </a:custGeom>
                <a:grpFill/>
                <a:ln w="3175" cap="flat" cmpd="sng">
                  <a:solidFill>
                    <a:srgbClr val="9D90A0">
                      <a:lumMod val="40000"/>
                      <a:lumOff val="60000"/>
                    </a:srgbClr>
                  </a:solidFill>
                  <a:prstDash val="solid"/>
                  <a:round/>
                  <a:headEnd type="none" w="med" len="med"/>
                  <a:tailEnd type="none" w="med" len="med"/>
                </a:ln>
                <a:effectLst/>
              </p:spPr>
              <p:txBody>
                <a:bodyPr vert="horz" wrap="square" lIns="68589" tIns="34294" rIns="68589" bIns="34294" numCol="1" anchor="t" anchorCtr="0" compatLnSpc="1">
                  <a:prstTxWarp prst="textNoShape">
                    <a:avLst/>
                  </a:prstTxWarp>
                </a:bodyPr>
                <a:lstStyle/>
                <a:p>
                  <a:pPr>
                    <a:defRPr/>
                  </a:pPr>
                  <a:endParaRPr lang="en-US" sz="1350" kern="0">
                    <a:solidFill>
                      <a:prstClr val="black"/>
                    </a:solidFill>
                    <a:sym typeface="Arial"/>
                  </a:endParaRPr>
                </a:p>
              </p:txBody>
            </p:sp>
            <p:sp>
              <p:nvSpPr>
                <p:cNvPr id="182" name="Freeform 180" descr="© INSCALE GmbH, 05.05.2010&#10;http://www.presentationload.com/">
                  <a:extLst>
                    <a:ext uri="{FF2B5EF4-FFF2-40B4-BE49-F238E27FC236}">
                      <a16:creationId xmlns:a16="http://schemas.microsoft.com/office/drawing/2014/main" id="{4D2134C8-7E65-4B74-A9F9-4CF97C0A6F3D}"/>
                    </a:ext>
                  </a:extLst>
                </p:cNvPr>
                <p:cNvSpPr>
                  <a:spLocks noEditPoints="1"/>
                </p:cNvSpPr>
                <p:nvPr/>
              </p:nvSpPr>
              <p:spPr bwMode="gray">
                <a:xfrm>
                  <a:off x="2268" y="1436"/>
                  <a:ext cx="121" cy="122"/>
                </a:xfrm>
                <a:custGeom>
                  <a:avLst/>
                  <a:gdLst/>
                  <a:ahLst/>
                  <a:cxnLst>
                    <a:cxn ang="0">
                      <a:pos x="6" y="75"/>
                    </a:cxn>
                    <a:cxn ang="0">
                      <a:pos x="0" y="72"/>
                    </a:cxn>
                    <a:cxn ang="0">
                      <a:pos x="227" y="122"/>
                    </a:cxn>
                    <a:cxn ang="0">
                      <a:pos x="218" y="127"/>
                    </a:cxn>
                    <a:cxn ang="0">
                      <a:pos x="214" y="120"/>
                    </a:cxn>
                    <a:cxn ang="0">
                      <a:pos x="206" y="113"/>
                    </a:cxn>
                    <a:cxn ang="0">
                      <a:pos x="197" y="111"/>
                    </a:cxn>
                    <a:cxn ang="0">
                      <a:pos x="190" y="110"/>
                    </a:cxn>
                    <a:cxn ang="0">
                      <a:pos x="185" y="110"/>
                    </a:cxn>
                    <a:cxn ang="0">
                      <a:pos x="185" y="101"/>
                    </a:cxn>
                    <a:cxn ang="0">
                      <a:pos x="189" y="95"/>
                    </a:cxn>
                    <a:cxn ang="0">
                      <a:pos x="187" y="84"/>
                    </a:cxn>
                    <a:cxn ang="0">
                      <a:pos x="177" y="78"/>
                    </a:cxn>
                    <a:cxn ang="0">
                      <a:pos x="169" y="76"/>
                    </a:cxn>
                    <a:cxn ang="0">
                      <a:pos x="170" y="61"/>
                    </a:cxn>
                    <a:cxn ang="0">
                      <a:pos x="165" y="56"/>
                    </a:cxn>
                    <a:cxn ang="0">
                      <a:pos x="161" y="61"/>
                    </a:cxn>
                    <a:cxn ang="0">
                      <a:pos x="157" y="53"/>
                    </a:cxn>
                    <a:cxn ang="0">
                      <a:pos x="158" y="35"/>
                    </a:cxn>
                    <a:cxn ang="0">
                      <a:pos x="154" y="32"/>
                    </a:cxn>
                    <a:cxn ang="0">
                      <a:pos x="147" y="32"/>
                    </a:cxn>
                    <a:cxn ang="0">
                      <a:pos x="137" y="32"/>
                    </a:cxn>
                    <a:cxn ang="0">
                      <a:pos x="126" y="27"/>
                    </a:cxn>
                    <a:cxn ang="0">
                      <a:pos x="131" y="20"/>
                    </a:cxn>
                    <a:cxn ang="0">
                      <a:pos x="130" y="12"/>
                    </a:cxn>
                    <a:cxn ang="0">
                      <a:pos x="122" y="0"/>
                    </a:cxn>
                    <a:cxn ang="0">
                      <a:pos x="115" y="6"/>
                    </a:cxn>
                    <a:cxn ang="0">
                      <a:pos x="104" y="13"/>
                    </a:cxn>
                    <a:cxn ang="0">
                      <a:pos x="96" y="15"/>
                    </a:cxn>
                    <a:cxn ang="0">
                      <a:pos x="89" y="13"/>
                    </a:cxn>
                    <a:cxn ang="0">
                      <a:pos x="91" y="22"/>
                    </a:cxn>
                    <a:cxn ang="0">
                      <a:pos x="101" y="27"/>
                    </a:cxn>
                    <a:cxn ang="0">
                      <a:pos x="97" y="33"/>
                    </a:cxn>
                    <a:cxn ang="0">
                      <a:pos x="100" y="40"/>
                    </a:cxn>
                    <a:cxn ang="0">
                      <a:pos x="99" y="46"/>
                    </a:cxn>
                    <a:cxn ang="0">
                      <a:pos x="92" y="49"/>
                    </a:cxn>
                    <a:cxn ang="0">
                      <a:pos x="88" y="45"/>
                    </a:cxn>
                    <a:cxn ang="0">
                      <a:pos x="70" y="59"/>
                    </a:cxn>
                    <a:cxn ang="0">
                      <a:pos x="73" y="71"/>
                    </a:cxn>
                    <a:cxn ang="0">
                      <a:pos x="45" y="74"/>
                    </a:cxn>
                    <a:cxn ang="0">
                      <a:pos x="14" y="72"/>
                    </a:cxn>
                    <a:cxn ang="0">
                      <a:pos x="6" y="75"/>
                    </a:cxn>
                    <a:cxn ang="0">
                      <a:pos x="6" y="141"/>
                    </a:cxn>
                    <a:cxn ang="0">
                      <a:pos x="14" y="155"/>
                    </a:cxn>
                    <a:cxn ang="0">
                      <a:pos x="27" y="173"/>
                    </a:cxn>
                    <a:cxn ang="0">
                      <a:pos x="50" y="175"/>
                    </a:cxn>
                    <a:cxn ang="0">
                      <a:pos x="60" y="211"/>
                    </a:cxn>
                    <a:cxn ang="0">
                      <a:pos x="60" y="237"/>
                    </a:cxn>
                    <a:cxn ang="0">
                      <a:pos x="92" y="226"/>
                    </a:cxn>
                    <a:cxn ang="0">
                      <a:pos x="138" y="205"/>
                    </a:cxn>
                    <a:cxn ang="0">
                      <a:pos x="146" y="184"/>
                    </a:cxn>
                    <a:cxn ang="0">
                      <a:pos x="189" y="173"/>
                    </a:cxn>
                    <a:cxn ang="0">
                      <a:pos x="209" y="163"/>
                    </a:cxn>
                    <a:cxn ang="0">
                      <a:pos x="217" y="156"/>
                    </a:cxn>
                    <a:cxn ang="0">
                      <a:pos x="225" y="144"/>
                    </a:cxn>
                    <a:cxn ang="0">
                      <a:pos x="228" y="137"/>
                    </a:cxn>
                    <a:cxn ang="0">
                      <a:pos x="232" y="129"/>
                    </a:cxn>
                  </a:cxnLst>
                  <a:rect l="0" t="0" r="r" b="b"/>
                  <a:pathLst>
                    <a:path w="232" h="237">
                      <a:moveTo>
                        <a:pt x="0" y="72"/>
                      </a:moveTo>
                      <a:cubicBezTo>
                        <a:pt x="1" y="72"/>
                        <a:pt x="2" y="73"/>
                        <a:pt x="6" y="75"/>
                      </a:cubicBezTo>
                      <a:cubicBezTo>
                        <a:pt x="6" y="66"/>
                        <a:pt x="6" y="66"/>
                        <a:pt x="6" y="66"/>
                      </a:cubicBezTo>
                      <a:lnTo>
                        <a:pt x="0" y="72"/>
                      </a:lnTo>
                      <a:close/>
                      <a:moveTo>
                        <a:pt x="231" y="124"/>
                      </a:moveTo>
                      <a:cubicBezTo>
                        <a:pt x="227" y="122"/>
                        <a:pt x="227" y="122"/>
                        <a:pt x="227" y="122"/>
                      </a:cubicBezTo>
                      <a:cubicBezTo>
                        <a:pt x="223" y="124"/>
                        <a:pt x="223" y="124"/>
                        <a:pt x="223" y="124"/>
                      </a:cubicBezTo>
                      <a:cubicBezTo>
                        <a:pt x="218" y="127"/>
                        <a:pt x="218" y="127"/>
                        <a:pt x="218" y="127"/>
                      </a:cubicBezTo>
                      <a:cubicBezTo>
                        <a:pt x="216" y="124"/>
                        <a:pt x="216" y="124"/>
                        <a:pt x="216" y="124"/>
                      </a:cubicBezTo>
                      <a:cubicBezTo>
                        <a:pt x="214" y="120"/>
                        <a:pt x="214" y="120"/>
                        <a:pt x="214" y="120"/>
                      </a:cubicBezTo>
                      <a:cubicBezTo>
                        <a:pt x="210" y="117"/>
                        <a:pt x="210" y="117"/>
                        <a:pt x="210" y="117"/>
                      </a:cubicBezTo>
                      <a:cubicBezTo>
                        <a:pt x="206" y="113"/>
                        <a:pt x="206" y="113"/>
                        <a:pt x="206" y="113"/>
                      </a:cubicBezTo>
                      <a:cubicBezTo>
                        <a:pt x="202" y="113"/>
                        <a:pt x="202" y="113"/>
                        <a:pt x="202" y="113"/>
                      </a:cubicBezTo>
                      <a:cubicBezTo>
                        <a:pt x="197" y="111"/>
                        <a:pt x="197" y="111"/>
                        <a:pt x="197" y="111"/>
                      </a:cubicBezTo>
                      <a:cubicBezTo>
                        <a:pt x="195" y="113"/>
                        <a:pt x="195" y="113"/>
                        <a:pt x="195" y="113"/>
                      </a:cubicBezTo>
                      <a:cubicBezTo>
                        <a:pt x="190" y="110"/>
                        <a:pt x="190" y="110"/>
                        <a:pt x="190" y="110"/>
                      </a:cubicBezTo>
                      <a:cubicBezTo>
                        <a:pt x="186" y="111"/>
                        <a:pt x="186" y="111"/>
                        <a:pt x="186" y="111"/>
                      </a:cubicBezTo>
                      <a:cubicBezTo>
                        <a:pt x="185" y="110"/>
                        <a:pt x="185" y="110"/>
                        <a:pt x="185" y="110"/>
                      </a:cubicBezTo>
                      <a:cubicBezTo>
                        <a:pt x="187" y="106"/>
                        <a:pt x="187" y="106"/>
                        <a:pt x="187" y="106"/>
                      </a:cubicBezTo>
                      <a:cubicBezTo>
                        <a:pt x="185" y="101"/>
                        <a:pt x="185" y="101"/>
                        <a:pt x="185" y="101"/>
                      </a:cubicBezTo>
                      <a:cubicBezTo>
                        <a:pt x="189" y="100"/>
                        <a:pt x="189" y="100"/>
                        <a:pt x="189" y="100"/>
                      </a:cubicBezTo>
                      <a:cubicBezTo>
                        <a:pt x="189" y="95"/>
                        <a:pt x="189" y="95"/>
                        <a:pt x="189" y="95"/>
                      </a:cubicBezTo>
                      <a:cubicBezTo>
                        <a:pt x="191" y="85"/>
                        <a:pt x="191" y="85"/>
                        <a:pt x="191" y="85"/>
                      </a:cubicBezTo>
                      <a:cubicBezTo>
                        <a:pt x="187" y="84"/>
                        <a:pt x="187" y="84"/>
                        <a:pt x="187" y="84"/>
                      </a:cubicBezTo>
                      <a:cubicBezTo>
                        <a:pt x="182" y="80"/>
                        <a:pt x="182" y="80"/>
                        <a:pt x="182" y="80"/>
                      </a:cubicBezTo>
                      <a:cubicBezTo>
                        <a:pt x="177" y="78"/>
                        <a:pt x="177" y="78"/>
                        <a:pt x="177" y="78"/>
                      </a:cubicBezTo>
                      <a:cubicBezTo>
                        <a:pt x="172" y="78"/>
                        <a:pt x="172" y="78"/>
                        <a:pt x="172" y="78"/>
                      </a:cubicBezTo>
                      <a:cubicBezTo>
                        <a:pt x="169" y="76"/>
                        <a:pt x="169" y="76"/>
                        <a:pt x="169" y="76"/>
                      </a:cubicBezTo>
                      <a:cubicBezTo>
                        <a:pt x="169" y="71"/>
                        <a:pt x="169" y="71"/>
                        <a:pt x="169" y="71"/>
                      </a:cubicBezTo>
                      <a:cubicBezTo>
                        <a:pt x="170" y="61"/>
                        <a:pt x="170" y="61"/>
                        <a:pt x="170" y="61"/>
                      </a:cubicBezTo>
                      <a:cubicBezTo>
                        <a:pt x="167" y="57"/>
                        <a:pt x="167" y="57"/>
                        <a:pt x="167" y="57"/>
                      </a:cubicBezTo>
                      <a:cubicBezTo>
                        <a:pt x="165" y="56"/>
                        <a:pt x="165" y="56"/>
                        <a:pt x="165" y="56"/>
                      </a:cubicBezTo>
                      <a:cubicBezTo>
                        <a:pt x="163" y="59"/>
                        <a:pt x="163" y="59"/>
                        <a:pt x="163" y="59"/>
                      </a:cubicBezTo>
                      <a:cubicBezTo>
                        <a:pt x="161" y="61"/>
                        <a:pt x="161" y="61"/>
                        <a:pt x="161" y="61"/>
                      </a:cubicBezTo>
                      <a:cubicBezTo>
                        <a:pt x="158" y="60"/>
                        <a:pt x="158" y="60"/>
                        <a:pt x="158" y="60"/>
                      </a:cubicBezTo>
                      <a:cubicBezTo>
                        <a:pt x="157" y="53"/>
                        <a:pt x="157" y="53"/>
                        <a:pt x="157" y="53"/>
                      </a:cubicBezTo>
                      <a:cubicBezTo>
                        <a:pt x="159" y="36"/>
                        <a:pt x="159" y="36"/>
                        <a:pt x="159" y="36"/>
                      </a:cubicBezTo>
                      <a:cubicBezTo>
                        <a:pt x="158" y="35"/>
                        <a:pt x="158" y="35"/>
                        <a:pt x="158" y="35"/>
                      </a:cubicBezTo>
                      <a:cubicBezTo>
                        <a:pt x="151" y="36"/>
                        <a:pt x="151" y="36"/>
                        <a:pt x="151" y="36"/>
                      </a:cubicBezTo>
                      <a:cubicBezTo>
                        <a:pt x="154" y="32"/>
                        <a:pt x="154" y="32"/>
                        <a:pt x="154" y="32"/>
                      </a:cubicBezTo>
                      <a:cubicBezTo>
                        <a:pt x="152" y="29"/>
                        <a:pt x="152" y="29"/>
                        <a:pt x="152" y="29"/>
                      </a:cubicBezTo>
                      <a:cubicBezTo>
                        <a:pt x="147" y="32"/>
                        <a:pt x="147" y="32"/>
                        <a:pt x="147" y="32"/>
                      </a:cubicBezTo>
                      <a:cubicBezTo>
                        <a:pt x="142" y="30"/>
                        <a:pt x="142" y="30"/>
                        <a:pt x="142" y="30"/>
                      </a:cubicBezTo>
                      <a:cubicBezTo>
                        <a:pt x="137" y="32"/>
                        <a:pt x="137" y="32"/>
                        <a:pt x="137" y="32"/>
                      </a:cubicBezTo>
                      <a:cubicBezTo>
                        <a:pt x="132" y="28"/>
                        <a:pt x="132" y="28"/>
                        <a:pt x="132" y="28"/>
                      </a:cubicBezTo>
                      <a:cubicBezTo>
                        <a:pt x="126" y="27"/>
                        <a:pt x="126" y="27"/>
                        <a:pt x="126" y="27"/>
                      </a:cubicBezTo>
                      <a:cubicBezTo>
                        <a:pt x="125" y="24"/>
                        <a:pt x="125" y="24"/>
                        <a:pt x="125" y="24"/>
                      </a:cubicBezTo>
                      <a:cubicBezTo>
                        <a:pt x="131" y="20"/>
                        <a:pt x="131" y="20"/>
                        <a:pt x="131" y="20"/>
                      </a:cubicBezTo>
                      <a:cubicBezTo>
                        <a:pt x="131" y="17"/>
                        <a:pt x="131" y="17"/>
                        <a:pt x="131" y="17"/>
                      </a:cubicBezTo>
                      <a:cubicBezTo>
                        <a:pt x="130" y="12"/>
                        <a:pt x="130" y="12"/>
                        <a:pt x="130" y="12"/>
                      </a:cubicBezTo>
                      <a:cubicBezTo>
                        <a:pt x="126" y="5"/>
                        <a:pt x="126" y="5"/>
                        <a:pt x="126" y="5"/>
                      </a:cubicBezTo>
                      <a:cubicBezTo>
                        <a:pt x="122" y="0"/>
                        <a:pt x="122" y="0"/>
                        <a:pt x="122" y="0"/>
                      </a:cubicBezTo>
                      <a:cubicBezTo>
                        <a:pt x="116" y="2"/>
                        <a:pt x="116" y="2"/>
                        <a:pt x="116" y="2"/>
                      </a:cubicBezTo>
                      <a:cubicBezTo>
                        <a:pt x="115" y="6"/>
                        <a:pt x="115" y="6"/>
                        <a:pt x="115" y="6"/>
                      </a:cubicBezTo>
                      <a:cubicBezTo>
                        <a:pt x="112" y="8"/>
                        <a:pt x="112" y="8"/>
                        <a:pt x="112" y="8"/>
                      </a:cubicBezTo>
                      <a:cubicBezTo>
                        <a:pt x="104" y="13"/>
                        <a:pt x="104" y="13"/>
                        <a:pt x="104" y="13"/>
                      </a:cubicBezTo>
                      <a:cubicBezTo>
                        <a:pt x="100" y="16"/>
                        <a:pt x="100" y="16"/>
                        <a:pt x="100" y="16"/>
                      </a:cubicBezTo>
                      <a:cubicBezTo>
                        <a:pt x="96" y="15"/>
                        <a:pt x="96" y="15"/>
                        <a:pt x="96" y="15"/>
                      </a:cubicBezTo>
                      <a:cubicBezTo>
                        <a:pt x="92" y="17"/>
                        <a:pt x="92" y="17"/>
                        <a:pt x="92" y="17"/>
                      </a:cubicBezTo>
                      <a:cubicBezTo>
                        <a:pt x="89" y="13"/>
                        <a:pt x="89" y="13"/>
                        <a:pt x="89" y="13"/>
                      </a:cubicBezTo>
                      <a:cubicBezTo>
                        <a:pt x="88" y="16"/>
                        <a:pt x="88" y="16"/>
                        <a:pt x="88" y="16"/>
                      </a:cubicBezTo>
                      <a:cubicBezTo>
                        <a:pt x="91" y="22"/>
                        <a:pt x="91" y="22"/>
                        <a:pt x="91" y="22"/>
                      </a:cubicBezTo>
                      <a:cubicBezTo>
                        <a:pt x="99" y="24"/>
                        <a:pt x="99" y="24"/>
                        <a:pt x="99" y="24"/>
                      </a:cubicBezTo>
                      <a:cubicBezTo>
                        <a:pt x="101" y="27"/>
                        <a:pt x="101" y="27"/>
                        <a:pt x="101" y="27"/>
                      </a:cubicBezTo>
                      <a:cubicBezTo>
                        <a:pt x="97" y="30"/>
                        <a:pt x="97" y="30"/>
                        <a:pt x="97" y="30"/>
                      </a:cubicBezTo>
                      <a:cubicBezTo>
                        <a:pt x="97" y="33"/>
                        <a:pt x="97" y="33"/>
                        <a:pt x="97" y="33"/>
                      </a:cubicBezTo>
                      <a:cubicBezTo>
                        <a:pt x="101" y="35"/>
                        <a:pt x="101" y="35"/>
                        <a:pt x="101" y="35"/>
                      </a:cubicBezTo>
                      <a:cubicBezTo>
                        <a:pt x="100" y="40"/>
                        <a:pt x="100" y="40"/>
                        <a:pt x="100" y="40"/>
                      </a:cubicBezTo>
                      <a:cubicBezTo>
                        <a:pt x="97" y="42"/>
                        <a:pt x="97" y="42"/>
                        <a:pt x="97" y="42"/>
                      </a:cubicBezTo>
                      <a:cubicBezTo>
                        <a:pt x="99" y="46"/>
                        <a:pt x="99" y="46"/>
                        <a:pt x="99" y="46"/>
                      </a:cubicBezTo>
                      <a:cubicBezTo>
                        <a:pt x="96" y="47"/>
                        <a:pt x="96" y="47"/>
                        <a:pt x="96" y="47"/>
                      </a:cubicBezTo>
                      <a:cubicBezTo>
                        <a:pt x="92" y="49"/>
                        <a:pt x="92" y="49"/>
                        <a:pt x="92" y="49"/>
                      </a:cubicBezTo>
                      <a:cubicBezTo>
                        <a:pt x="91" y="44"/>
                        <a:pt x="91" y="44"/>
                        <a:pt x="91" y="44"/>
                      </a:cubicBezTo>
                      <a:cubicBezTo>
                        <a:pt x="88" y="45"/>
                        <a:pt x="88" y="45"/>
                        <a:pt x="88" y="45"/>
                      </a:cubicBezTo>
                      <a:cubicBezTo>
                        <a:pt x="78" y="53"/>
                        <a:pt x="78" y="53"/>
                        <a:pt x="78" y="53"/>
                      </a:cubicBezTo>
                      <a:cubicBezTo>
                        <a:pt x="70" y="59"/>
                        <a:pt x="70" y="59"/>
                        <a:pt x="70" y="59"/>
                      </a:cubicBezTo>
                      <a:cubicBezTo>
                        <a:pt x="72" y="65"/>
                        <a:pt x="72" y="65"/>
                        <a:pt x="72" y="65"/>
                      </a:cubicBezTo>
                      <a:cubicBezTo>
                        <a:pt x="73" y="71"/>
                        <a:pt x="73" y="71"/>
                        <a:pt x="73" y="71"/>
                      </a:cubicBezTo>
                      <a:cubicBezTo>
                        <a:pt x="63" y="74"/>
                        <a:pt x="63" y="74"/>
                        <a:pt x="63" y="74"/>
                      </a:cubicBezTo>
                      <a:cubicBezTo>
                        <a:pt x="45" y="74"/>
                        <a:pt x="45" y="74"/>
                        <a:pt x="45" y="74"/>
                      </a:cubicBezTo>
                      <a:cubicBezTo>
                        <a:pt x="32" y="75"/>
                        <a:pt x="32" y="75"/>
                        <a:pt x="32" y="75"/>
                      </a:cubicBezTo>
                      <a:cubicBezTo>
                        <a:pt x="14" y="72"/>
                        <a:pt x="14" y="72"/>
                        <a:pt x="14" y="72"/>
                      </a:cubicBezTo>
                      <a:cubicBezTo>
                        <a:pt x="9" y="77"/>
                        <a:pt x="9" y="77"/>
                        <a:pt x="9" y="77"/>
                      </a:cubicBezTo>
                      <a:cubicBezTo>
                        <a:pt x="8" y="76"/>
                        <a:pt x="7" y="76"/>
                        <a:pt x="6" y="75"/>
                      </a:cubicBezTo>
                      <a:cubicBezTo>
                        <a:pt x="6" y="116"/>
                        <a:pt x="6" y="116"/>
                        <a:pt x="6" y="116"/>
                      </a:cubicBezTo>
                      <a:cubicBezTo>
                        <a:pt x="6" y="141"/>
                        <a:pt x="6" y="141"/>
                        <a:pt x="6" y="141"/>
                      </a:cubicBezTo>
                      <a:cubicBezTo>
                        <a:pt x="14" y="153"/>
                        <a:pt x="14" y="153"/>
                        <a:pt x="14" y="153"/>
                      </a:cubicBezTo>
                      <a:cubicBezTo>
                        <a:pt x="14" y="154"/>
                        <a:pt x="14" y="155"/>
                        <a:pt x="14" y="155"/>
                      </a:cubicBezTo>
                      <a:cubicBezTo>
                        <a:pt x="14" y="155"/>
                        <a:pt x="15" y="155"/>
                        <a:pt x="16" y="156"/>
                      </a:cubicBezTo>
                      <a:cubicBezTo>
                        <a:pt x="27" y="173"/>
                        <a:pt x="27" y="173"/>
                        <a:pt x="27" y="173"/>
                      </a:cubicBezTo>
                      <a:cubicBezTo>
                        <a:pt x="48" y="173"/>
                        <a:pt x="48" y="173"/>
                        <a:pt x="48" y="173"/>
                      </a:cubicBezTo>
                      <a:cubicBezTo>
                        <a:pt x="48" y="173"/>
                        <a:pt x="49" y="174"/>
                        <a:pt x="50" y="175"/>
                      </a:cubicBezTo>
                      <a:cubicBezTo>
                        <a:pt x="59" y="201"/>
                        <a:pt x="59" y="201"/>
                        <a:pt x="59" y="201"/>
                      </a:cubicBezTo>
                      <a:cubicBezTo>
                        <a:pt x="59" y="205"/>
                        <a:pt x="60" y="208"/>
                        <a:pt x="60" y="211"/>
                      </a:cubicBezTo>
                      <a:cubicBezTo>
                        <a:pt x="60" y="229"/>
                        <a:pt x="60" y="229"/>
                        <a:pt x="60" y="229"/>
                      </a:cubicBezTo>
                      <a:cubicBezTo>
                        <a:pt x="60" y="237"/>
                        <a:pt x="60" y="237"/>
                        <a:pt x="60" y="237"/>
                      </a:cubicBezTo>
                      <a:cubicBezTo>
                        <a:pt x="76" y="232"/>
                        <a:pt x="76" y="232"/>
                        <a:pt x="76" y="232"/>
                      </a:cubicBezTo>
                      <a:cubicBezTo>
                        <a:pt x="92" y="226"/>
                        <a:pt x="92" y="226"/>
                        <a:pt x="92" y="226"/>
                      </a:cubicBezTo>
                      <a:cubicBezTo>
                        <a:pt x="103" y="205"/>
                        <a:pt x="103" y="205"/>
                        <a:pt x="103" y="205"/>
                      </a:cubicBezTo>
                      <a:cubicBezTo>
                        <a:pt x="138" y="205"/>
                        <a:pt x="138" y="205"/>
                        <a:pt x="138" y="205"/>
                      </a:cubicBezTo>
                      <a:cubicBezTo>
                        <a:pt x="146" y="205"/>
                        <a:pt x="146" y="205"/>
                        <a:pt x="146" y="205"/>
                      </a:cubicBezTo>
                      <a:cubicBezTo>
                        <a:pt x="146" y="184"/>
                        <a:pt x="146" y="184"/>
                        <a:pt x="146" y="184"/>
                      </a:cubicBezTo>
                      <a:cubicBezTo>
                        <a:pt x="178" y="184"/>
                        <a:pt x="178" y="184"/>
                        <a:pt x="178" y="184"/>
                      </a:cubicBezTo>
                      <a:cubicBezTo>
                        <a:pt x="189" y="173"/>
                        <a:pt x="189" y="173"/>
                        <a:pt x="189" y="173"/>
                      </a:cubicBezTo>
                      <a:cubicBezTo>
                        <a:pt x="210" y="170"/>
                        <a:pt x="210" y="170"/>
                        <a:pt x="210" y="170"/>
                      </a:cubicBezTo>
                      <a:cubicBezTo>
                        <a:pt x="209" y="163"/>
                        <a:pt x="209" y="163"/>
                        <a:pt x="209" y="163"/>
                      </a:cubicBezTo>
                      <a:cubicBezTo>
                        <a:pt x="213" y="159"/>
                        <a:pt x="213" y="159"/>
                        <a:pt x="213" y="159"/>
                      </a:cubicBezTo>
                      <a:cubicBezTo>
                        <a:pt x="217" y="156"/>
                        <a:pt x="217" y="156"/>
                        <a:pt x="217" y="156"/>
                      </a:cubicBezTo>
                      <a:cubicBezTo>
                        <a:pt x="219" y="147"/>
                        <a:pt x="219" y="147"/>
                        <a:pt x="219" y="147"/>
                      </a:cubicBezTo>
                      <a:cubicBezTo>
                        <a:pt x="225" y="144"/>
                        <a:pt x="225" y="144"/>
                        <a:pt x="225" y="144"/>
                      </a:cubicBezTo>
                      <a:cubicBezTo>
                        <a:pt x="225" y="141"/>
                        <a:pt x="225" y="141"/>
                        <a:pt x="225" y="141"/>
                      </a:cubicBezTo>
                      <a:cubicBezTo>
                        <a:pt x="228" y="137"/>
                        <a:pt x="228" y="137"/>
                        <a:pt x="228" y="137"/>
                      </a:cubicBezTo>
                      <a:cubicBezTo>
                        <a:pt x="229" y="133"/>
                        <a:pt x="229" y="133"/>
                        <a:pt x="229" y="133"/>
                      </a:cubicBezTo>
                      <a:cubicBezTo>
                        <a:pt x="232" y="129"/>
                        <a:pt x="232" y="129"/>
                        <a:pt x="232" y="129"/>
                      </a:cubicBezTo>
                      <a:cubicBezTo>
                        <a:pt x="231" y="124"/>
                        <a:pt x="231" y="124"/>
                        <a:pt x="231" y="124"/>
                      </a:cubicBezTo>
                      <a:close/>
                    </a:path>
                  </a:pathLst>
                </a:custGeom>
                <a:grpFill/>
                <a:ln w="3175" cap="flat" cmpd="sng">
                  <a:solidFill>
                    <a:srgbClr val="9D90A0">
                      <a:lumMod val="40000"/>
                      <a:lumOff val="60000"/>
                    </a:srgbClr>
                  </a:solidFill>
                  <a:prstDash val="solid"/>
                  <a:round/>
                  <a:headEnd type="none" w="med" len="med"/>
                  <a:tailEnd type="none" w="med" len="med"/>
                </a:ln>
                <a:effectLst/>
              </p:spPr>
              <p:txBody>
                <a:bodyPr vert="horz" wrap="square" lIns="68589" tIns="34294" rIns="68589" bIns="34294" numCol="1" anchor="t" anchorCtr="0" compatLnSpc="1">
                  <a:prstTxWarp prst="textNoShape">
                    <a:avLst/>
                  </a:prstTxWarp>
                </a:bodyPr>
                <a:lstStyle/>
                <a:p>
                  <a:pPr>
                    <a:defRPr/>
                  </a:pPr>
                  <a:endParaRPr lang="en-US" sz="1350" kern="0">
                    <a:solidFill>
                      <a:prstClr val="black"/>
                    </a:solidFill>
                    <a:sym typeface="Arial"/>
                  </a:endParaRPr>
                </a:p>
              </p:txBody>
            </p:sp>
          </p:grpSp>
        </p:grpSp>
      </p:grpSp>
      <p:sp>
        <p:nvSpPr>
          <p:cNvPr id="183" name="Textfeld 10">
            <a:extLst>
              <a:ext uri="{FF2B5EF4-FFF2-40B4-BE49-F238E27FC236}">
                <a16:creationId xmlns:a16="http://schemas.microsoft.com/office/drawing/2014/main" id="{B94B4DF9-8E4F-4CF5-A25A-30DC2CA3193B}"/>
              </a:ext>
            </a:extLst>
          </p:cNvPr>
          <p:cNvSpPr txBox="1"/>
          <p:nvPr/>
        </p:nvSpPr>
        <p:spPr>
          <a:xfrm>
            <a:off x="4004044" y="3408638"/>
            <a:ext cx="2537898" cy="215444"/>
          </a:xfrm>
          <a:prstGeom prst="rect">
            <a:avLst/>
          </a:prstGeom>
          <a:noFill/>
        </p:spPr>
        <p:txBody>
          <a:bodyPr wrap="square" lIns="0" tIns="0" rIns="0" bIns="0" rtlCol="0">
            <a:spAutoFit/>
          </a:bodyPr>
          <a:lstStyle/>
          <a:p>
            <a:pPr>
              <a:defRPr/>
            </a:pPr>
            <a:r>
              <a:rPr lang="zh-CN" altLang="en-US" sz="1400" b="1" kern="0" dirty="0">
                <a:solidFill>
                  <a:prstClr val="black"/>
                </a:solidFill>
                <a:latin typeface="楷体" panose="02010609060101010101" pitchFamily="49" charset="-122"/>
                <a:ea typeface="楷体" panose="02010609060101010101" pitchFamily="49" charset="-122"/>
              </a:rPr>
              <a:t>德国路德维希港总部</a:t>
            </a:r>
            <a:endParaRPr lang="en-US" sz="1400" b="1" kern="0" dirty="0">
              <a:solidFill>
                <a:prstClr val="black"/>
              </a:solidFill>
              <a:latin typeface="楷体" panose="02010609060101010101" pitchFamily="49" charset="-122"/>
              <a:ea typeface="楷体" panose="02010609060101010101" pitchFamily="49" charset="-122"/>
            </a:endParaRPr>
          </a:p>
        </p:txBody>
      </p:sp>
      <p:sp>
        <p:nvSpPr>
          <p:cNvPr id="184" name="Textfeld 211">
            <a:extLst>
              <a:ext uri="{FF2B5EF4-FFF2-40B4-BE49-F238E27FC236}">
                <a16:creationId xmlns:a16="http://schemas.microsoft.com/office/drawing/2014/main" id="{2FA130E1-D596-4D28-BC97-91211D36FBCB}"/>
              </a:ext>
            </a:extLst>
          </p:cNvPr>
          <p:cNvSpPr txBox="1"/>
          <p:nvPr/>
        </p:nvSpPr>
        <p:spPr>
          <a:xfrm>
            <a:off x="5911098" y="4016147"/>
            <a:ext cx="1451541" cy="215444"/>
          </a:xfrm>
          <a:prstGeom prst="rect">
            <a:avLst/>
          </a:prstGeom>
          <a:noFill/>
        </p:spPr>
        <p:txBody>
          <a:bodyPr wrap="square" lIns="0" tIns="0" rIns="0" bIns="0" rtlCol="0">
            <a:spAutoFit/>
          </a:bodyPr>
          <a:lstStyle/>
          <a:p>
            <a:pPr>
              <a:defRPr/>
            </a:pPr>
            <a:r>
              <a:rPr lang="zh-CN" altLang="en-US" sz="1400" b="1" kern="0" dirty="0">
                <a:solidFill>
                  <a:prstClr val="black"/>
                </a:solidFill>
                <a:latin typeface="楷体" panose="02010609060101010101" pitchFamily="49" charset="-122"/>
                <a:ea typeface="楷体" panose="02010609060101010101" pitchFamily="49" charset="-122"/>
              </a:rPr>
              <a:t>以色列特拉维夫</a:t>
            </a:r>
            <a:endParaRPr lang="de-DE" sz="1400" b="1" kern="0" dirty="0">
              <a:solidFill>
                <a:prstClr val="black"/>
              </a:solidFill>
              <a:latin typeface="楷体" panose="02010609060101010101" pitchFamily="49" charset="-122"/>
              <a:ea typeface="楷体" panose="02010609060101010101" pitchFamily="49" charset="-122"/>
            </a:endParaRPr>
          </a:p>
        </p:txBody>
      </p:sp>
      <p:sp>
        <p:nvSpPr>
          <p:cNvPr id="185" name="Textfeld 212">
            <a:extLst>
              <a:ext uri="{FF2B5EF4-FFF2-40B4-BE49-F238E27FC236}">
                <a16:creationId xmlns:a16="http://schemas.microsoft.com/office/drawing/2014/main" id="{A6462E1E-AAAF-4C5F-8E91-BB3EF83E6F51}"/>
              </a:ext>
            </a:extLst>
          </p:cNvPr>
          <p:cNvSpPr txBox="1"/>
          <p:nvPr/>
        </p:nvSpPr>
        <p:spPr>
          <a:xfrm>
            <a:off x="1109267" y="2357872"/>
            <a:ext cx="2567379" cy="215444"/>
          </a:xfrm>
          <a:prstGeom prst="rect">
            <a:avLst/>
          </a:prstGeom>
          <a:noFill/>
        </p:spPr>
        <p:txBody>
          <a:bodyPr wrap="square" lIns="0" tIns="0" rIns="0" bIns="0" rtlCol="0">
            <a:spAutoFit/>
          </a:bodyPr>
          <a:lstStyle/>
          <a:p>
            <a:pPr>
              <a:defRPr/>
            </a:pPr>
            <a:r>
              <a:rPr lang="zh-CN" altLang="en-US" sz="1400" b="1" kern="0" dirty="0">
                <a:solidFill>
                  <a:prstClr val="black"/>
                </a:solidFill>
                <a:latin typeface="楷体" panose="02010609060101010101" pitchFamily="49" charset="-122"/>
                <a:ea typeface="楷体" panose="02010609060101010101" pitchFamily="49" charset="-122"/>
              </a:rPr>
              <a:t>美国旧金山和波士顿</a:t>
            </a:r>
            <a:endParaRPr lang="en-US" sz="1400" b="1" kern="0" dirty="0">
              <a:solidFill>
                <a:prstClr val="black"/>
              </a:solidFill>
              <a:latin typeface="楷体" panose="02010609060101010101" pitchFamily="49" charset="-122"/>
              <a:ea typeface="楷体" panose="02010609060101010101" pitchFamily="49" charset="-122"/>
            </a:endParaRPr>
          </a:p>
        </p:txBody>
      </p:sp>
      <p:sp>
        <p:nvSpPr>
          <p:cNvPr id="186" name="Textfeld 213">
            <a:extLst>
              <a:ext uri="{FF2B5EF4-FFF2-40B4-BE49-F238E27FC236}">
                <a16:creationId xmlns:a16="http://schemas.microsoft.com/office/drawing/2014/main" id="{5A72FB95-A4E8-4754-8229-12157B1681BF}"/>
              </a:ext>
            </a:extLst>
          </p:cNvPr>
          <p:cNvSpPr txBox="1"/>
          <p:nvPr/>
        </p:nvSpPr>
        <p:spPr>
          <a:xfrm>
            <a:off x="10287169" y="3618624"/>
            <a:ext cx="774448" cy="215444"/>
          </a:xfrm>
          <a:prstGeom prst="rect">
            <a:avLst/>
          </a:prstGeom>
          <a:noFill/>
        </p:spPr>
        <p:txBody>
          <a:bodyPr wrap="square" lIns="0" tIns="0" rIns="0" bIns="0" rtlCol="0">
            <a:spAutoFit/>
          </a:bodyPr>
          <a:lstStyle/>
          <a:p>
            <a:pPr algn="ctr">
              <a:defRPr/>
            </a:pPr>
            <a:r>
              <a:rPr lang="zh-CN" altLang="en-US" sz="1400" b="1" kern="0" dirty="0">
                <a:solidFill>
                  <a:prstClr val="black"/>
                </a:solidFill>
                <a:latin typeface="楷体" panose="02010609060101010101" pitchFamily="49" charset="-122"/>
                <a:ea typeface="楷体" panose="02010609060101010101" pitchFamily="49" charset="-122"/>
              </a:rPr>
              <a:t>中国上海</a:t>
            </a:r>
            <a:endParaRPr lang="de-DE" sz="1400" b="1" kern="0" dirty="0">
              <a:solidFill>
                <a:prstClr val="black"/>
              </a:solidFill>
              <a:latin typeface="楷体" panose="02010609060101010101" pitchFamily="49" charset="-122"/>
              <a:ea typeface="楷体" panose="02010609060101010101" pitchFamily="49" charset="-122"/>
            </a:endParaRPr>
          </a:p>
        </p:txBody>
      </p:sp>
      <p:graphicFrame>
        <p:nvGraphicFramePr>
          <p:cNvPr id="187" name="Table 5">
            <a:extLst>
              <a:ext uri="{FF2B5EF4-FFF2-40B4-BE49-F238E27FC236}">
                <a16:creationId xmlns:a16="http://schemas.microsoft.com/office/drawing/2014/main" id="{A4FE5ED4-48D0-49FB-95C0-AD1DB82D4E13}"/>
              </a:ext>
            </a:extLst>
          </p:cNvPr>
          <p:cNvGraphicFramePr>
            <a:graphicFrameLocks/>
          </p:cNvGraphicFramePr>
          <p:nvPr>
            <p:extLst/>
          </p:nvPr>
        </p:nvGraphicFramePr>
        <p:xfrm>
          <a:off x="5504875" y="4915723"/>
          <a:ext cx="5879467" cy="1798870"/>
        </p:xfrm>
        <a:graphic>
          <a:graphicData uri="http://schemas.openxmlformats.org/drawingml/2006/table">
            <a:tbl>
              <a:tblPr firstRow="1" bandRow="1"/>
              <a:tblGrid>
                <a:gridCol w="1905314">
                  <a:extLst>
                    <a:ext uri="{9D8B030D-6E8A-4147-A177-3AD203B41FA5}">
                      <a16:colId xmlns:a16="http://schemas.microsoft.com/office/drawing/2014/main" val="2541872803"/>
                    </a:ext>
                  </a:extLst>
                </a:gridCol>
                <a:gridCol w="2168817">
                  <a:extLst>
                    <a:ext uri="{9D8B030D-6E8A-4147-A177-3AD203B41FA5}">
                      <a16:colId xmlns:a16="http://schemas.microsoft.com/office/drawing/2014/main" val="2066678411"/>
                    </a:ext>
                  </a:extLst>
                </a:gridCol>
                <a:gridCol w="1805336">
                  <a:extLst>
                    <a:ext uri="{9D8B030D-6E8A-4147-A177-3AD203B41FA5}">
                      <a16:colId xmlns:a16="http://schemas.microsoft.com/office/drawing/2014/main" val="325070802"/>
                    </a:ext>
                  </a:extLst>
                </a:gridCol>
              </a:tblGrid>
              <a:tr h="455981">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de-DE" sz="1800" b="1" noProof="0" dirty="0">
                          <a:solidFill>
                            <a:schemeClr val="bg1"/>
                          </a:solidFill>
                          <a:latin typeface="Palatino Linotype" panose="02040502050505030304" pitchFamily="18" charset="0"/>
                          <a:ea typeface="楷体" panose="02010609060101010101" pitchFamily="49" charset="-122"/>
                        </a:rPr>
                        <a:t>2001</a:t>
                      </a:r>
                      <a:endParaRPr lang="en-US" sz="1800" b="1" noProof="0" dirty="0">
                        <a:solidFill>
                          <a:schemeClr val="bg1"/>
                        </a:solidFill>
                        <a:latin typeface="Palatino Linotype" panose="02040502050505030304" pitchFamily="18" charset="0"/>
                        <a:ea typeface="楷体" panose="02010609060101010101" pitchFamily="49" charset="-122"/>
                      </a:endParaRPr>
                    </a:p>
                  </a:txBody>
                  <a:tcPr anchor="b">
                    <a:lnL>
                      <a:noFill/>
                    </a:lnL>
                    <a:lnR>
                      <a:noFill/>
                    </a:lnR>
                    <a:lnT>
                      <a:noFill/>
                    </a:lnT>
                    <a:lnB>
                      <a:noFill/>
                    </a:lnB>
                    <a:lnTlToBr w="12700" cmpd="sng">
                      <a:noFill/>
                      <a:prstDash val="solid"/>
                    </a:lnTlToBr>
                    <a:lnBlToTr w="12700" cmpd="sng">
                      <a:noFill/>
                      <a:prstDash val="solid"/>
                    </a:lnBlToTr>
                    <a:solidFill>
                      <a:srgbClr val="242852"/>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800" b="1" kern="1200" noProof="0" dirty="0">
                          <a:solidFill>
                            <a:schemeClr val="bg1"/>
                          </a:solidFill>
                          <a:latin typeface="Palatino Linotype" panose="02040502050505030304" pitchFamily="18" charset="0"/>
                          <a:ea typeface="楷体" panose="02010609060101010101" pitchFamily="49" charset="-122"/>
                          <a:cs typeface="+mn-cs"/>
                        </a:rPr>
                        <a:t>18</a:t>
                      </a:r>
                      <a:r>
                        <a:rPr lang="zh-CN" altLang="en-US" sz="1800" b="1" noProof="0" dirty="0">
                          <a:solidFill>
                            <a:schemeClr val="bg1"/>
                          </a:solidFill>
                          <a:latin typeface="楷体" panose="02010609060101010101" pitchFamily="49" charset="-122"/>
                          <a:ea typeface="楷体" panose="02010609060101010101" pitchFamily="49" charset="-122"/>
                        </a:rPr>
                        <a:t>人</a:t>
                      </a:r>
                      <a:endParaRPr lang="de-DE" sz="1800" b="1" noProof="0" dirty="0">
                        <a:solidFill>
                          <a:schemeClr val="bg1"/>
                        </a:solidFill>
                        <a:latin typeface="楷体" panose="02010609060101010101" pitchFamily="49" charset="-122"/>
                        <a:ea typeface="楷体" panose="02010609060101010101" pitchFamily="49" charset="-122"/>
                      </a:endParaRPr>
                    </a:p>
                  </a:txBody>
                  <a:tcPr anchor="b">
                    <a:lnL>
                      <a:noFill/>
                    </a:lnL>
                    <a:lnR>
                      <a:noFill/>
                    </a:lnR>
                    <a:lnT>
                      <a:noFill/>
                    </a:lnT>
                    <a:lnB>
                      <a:noFill/>
                    </a:lnB>
                    <a:lnTlToBr w="12700" cmpd="sng">
                      <a:noFill/>
                      <a:prstDash val="solid"/>
                    </a:lnTlToBr>
                    <a:lnBlToTr w="12700" cmpd="sng">
                      <a:noFill/>
                      <a:prstDash val="solid"/>
                    </a:lnBlToTr>
                    <a:solidFill>
                      <a:srgbClr val="4A66AC"/>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de-DE" sz="1800" b="1" kern="1200" noProof="0" dirty="0">
                          <a:solidFill>
                            <a:schemeClr val="bg1"/>
                          </a:solidFill>
                          <a:latin typeface="Palatino Linotype" panose="02040502050505030304" pitchFamily="18" charset="0"/>
                          <a:ea typeface="楷体" panose="02010609060101010101" pitchFamily="49" charset="-122"/>
                          <a:cs typeface="+mn-cs"/>
                        </a:rPr>
                        <a:t>2</a:t>
                      </a:r>
                      <a:r>
                        <a:rPr lang="en-US" sz="1800" b="1" kern="1200" noProof="0" dirty="0">
                          <a:solidFill>
                            <a:schemeClr val="bg1"/>
                          </a:solidFill>
                          <a:latin typeface="Palatino Linotype" panose="02040502050505030304" pitchFamily="18" charset="0"/>
                          <a:ea typeface="楷体" panose="02010609060101010101" pitchFamily="49" charset="-122"/>
                          <a:cs typeface="+mn-cs"/>
                        </a:rPr>
                        <a:t>.</a:t>
                      </a:r>
                      <a:r>
                        <a:rPr lang="de-DE" sz="1800" b="1" kern="1200" noProof="0" dirty="0">
                          <a:solidFill>
                            <a:schemeClr val="bg1"/>
                          </a:solidFill>
                          <a:latin typeface="Palatino Linotype" panose="02040502050505030304" pitchFamily="18" charset="0"/>
                          <a:ea typeface="楷体" panose="02010609060101010101" pitchFamily="49" charset="-122"/>
                          <a:cs typeface="+mn-cs"/>
                        </a:rPr>
                        <a:t>5</a:t>
                      </a:r>
                      <a:r>
                        <a:rPr lang="zh-CN" altLang="en-US" sz="1800" b="1" kern="1200" noProof="0" dirty="0">
                          <a:solidFill>
                            <a:schemeClr val="bg1"/>
                          </a:solidFill>
                          <a:latin typeface="Palatino Linotype" panose="02040502050505030304" pitchFamily="18" charset="0"/>
                          <a:ea typeface="楷体" panose="02010609060101010101" pitchFamily="49" charset="-122"/>
                          <a:cs typeface="+mn-cs"/>
                        </a:rPr>
                        <a:t>亿美金</a:t>
                      </a:r>
                      <a:endParaRPr lang="en-US" sz="1800" b="1" kern="1200" noProof="0" dirty="0">
                        <a:solidFill>
                          <a:schemeClr val="bg1"/>
                        </a:solidFill>
                        <a:latin typeface="Palatino Linotype" panose="02040502050505030304" pitchFamily="18" charset="0"/>
                        <a:ea typeface="楷体" panose="02010609060101010101" pitchFamily="49" charset="-122"/>
                        <a:cs typeface="+mn-cs"/>
                      </a:endParaRPr>
                    </a:p>
                  </a:txBody>
                  <a:tcPr anchor="b">
                    <a:lnL>
                      <a:noFill/>
                    </a:lnL>
                    <a:lnR>
                      <a:noFill/>
                    </a:lnR>
                    <a:lnT>
                      <a:noFill/>
                    </a:lnT>
                    <a:lnB>
                      <a:noFill/>
                    </a:lnB>
                    <a:lnTlToBr w="12700" cmpd="sng">
                      <a:noFill/>
                      <a:prstDash val="solid"/>
                    </a:lnTlToBr>
                    <a:lnBlToTr w="12700" cmpd="sng">
                      <a:noFill/>
                      <a:prstDash val="solid"/>
                    </a:lnBlToTr>
                    <a:solidFill>
                      <a:srgbClr val="242852"/>
                    </a:solidFill>
                  </a:tcPr>
                </a:tc>
                <a:extLst>
                  <a:ext uri="{0D108BD9-81ED-4DB2-BD59-A6C34878D82A}">
                    <a16:rowId xmlns:a16="http://schemas.microsoft.com/office/drawing/2014/main" val="2551678748"/>
                  </a:ext>
                </a:extLst>
              </a:tr>
              <a:tr h="443454">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zh-CN" altLang="en-US" sz="1200" noProof="0" dirty="0">
                          <a:solidFill>
                            <a:schemeClr val="bg1"/>
                          </a:solidFill>
                          <a:latin typeface="楷体" panose="02010609060101010101" pitchFamily="49" charset="-122"/>
                          <a:ea typeface="楷体" panose="02010609060101010101" pitchFamily="49" charset="-122"/>
                        </a:rPr>
                        <a:t>创立年份</a:t>
                      </a:r>
                      <a:endParaRPr lang="en-US" sz="1200" noProof="0" dirty="0">
                        <a:solidFill>
                          <a:schemeClr val="bg1"/>
                        </a:solidFill>
                        <a:latin typeface="楷体" panose="02010609060101010101" pitchFamily="49" charset="-122"/>
                        <a:ea typeface="楷体" panose="02010609060101010101" pitchFamily="49" charset="-122"/>
                      </a:endParaRPr>
                    </a:p>
                  </a:txBody>
                  <a:tcPr>
                    <a:lnL>
                      <a:noFill/>
                    </a:lnL>
                    <a:lnR>
                      <a:noFill/>
                    </a:lnR>
                    <a:lnT>
                      <a:noFill/>
                    </a:lnT>
                    <a:lnB>
                      <a:noFill/>
                    </a:lnB>
                    <a:lnTlToBr w="12700" cmpd="sng">
                      <a:noFill/>
                      <a:prstDash val="solid"/>
                    </a:lnTlToBr>
                    <a:lnBlToTr w="12700" cmpd="sng">
                      <a:noFill/>
                      <a:prstDash val="solid"/>
                    </a:lnBlToTr>
                    <a:solidFill>
                      <a:srgbClr val="242852"/>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zh-CN" altLang="en-US" sz="1200" b="0" noProof="0" dirty="0">
                          <a:solidFill>
                            <a:schemeClr val="bg1"/>
                          </a:solidFill>
                          <a:latin typeface="楷体" panose="02010609060101010101" pitchFamily="49" charset="-122"/>
                          <a:ea typeface="楷体" panose="02010609060101010101" pitchFamily="49" charset="-122"/>
                        </a:rPr>
                        <a:t>全球团队规模</a:t>
                      </a:r>
                      <a:endParaRPr lang="en-US" sz="1200" b="0" noProof="0" dirty="0">
                        <a:solidFill>
                          <a:schemeClr val="bg1"/>
                        </a:solidFill>
                        <a:latin typeface="楷体" panose="02010609060101010101" pitchFamily="49" charset="-122"/>
                        <a:ea typeface="楷体" panose="02010609060101010101" pitchFamily="49" charset="-122"/>
                      </a:endParaRPr>
                    </a:p>
                  </a:txBody>
                  <a:tcPr>
                    <a:lnL>
                      <a:noFill/>
                    </a:lnL>
                    <a:lnR>
                      <a:noFill/>
                    </a:lnR>
                    <a:lnT>
                      <a:noFill/>
                    </a:lnT>
                    <a:lnB>
                      <a:noFill/>
                    </a:lnB>
                    <a:lnTlToBr w="12700" cmpd="sng">
                      <a:noFill/>
                      <a:prstDash val="solid"/>
                    </a:lnTlToBr>
                    <a:lnBlToTr w="12700" cmpd="sng">
                      <a:noFill/>
                      <a:prstDash val="solid"/>
                    </a:lnBlToTr>
                    <a:solidFill>
                      <a:srgbClr val="4A66AC"/>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zh-CN" altLang="en-US" sz="1200" noProof="0" dirty="0">
                          <a:solidFill>
                            <a:schemeClr val="bg1"/>
                          </a:solidFill>
                          <a:latin typeface="楷体" panose="02010609060101010101" pitchFamily="49" charset="-122"/>
                          <a:ea typeface="楷体" panose="02010609060101010101" pitchFamily="49" charset="-122"/>
                        </a:rPr>
                        <a:t>常青基金</a:t>
                      </a:r>
                      <a:endParaRPr lang="en-US" sz="1200" noProof="0" dirty="0">
                        <a:solidFill>
                          <a:schemeClr val="bg1"/>
                        </a:solidFill>
                        <a:latin typeface="楷体" panose="02010609060101010101" pitchFamily="49" charset="-122"/>
                        <a:ea typeface="楷体" panose="02010609060101010101" pitchFamily="49" charset="-122"/>
                      </a:endParaRPr>
                    </a:p>
                  </a:txBody>
                  <a:tcPr>
                    <a:lnL>
                      <a:noFill/>
                    </a:lnL>
                    <a:lnR>
                      <a:noFill/>
                    </a:lnR>
                    <a:lnT>
                      <a:noFill/>
                    </a:lnT>
                    <a:lnB>
                      <a:noFill/>
                    </a:lnB>
                    <a:lnTlToBr w="12700" cmpd="sng">
                      <a:noFill/>
                      <a:prstDash val="solid"/>
                    </a:lnTlToBr>
                    <a:lnBlToTr w="12700" cmpd="sng">
                      <a:noFill/>
                      <a:prstDash val="solid"/>
                    </a:lnBlToTr>
                    <a:solidFill>
                      <a:srgbClr val="242852"/>
                    </a:solidFill>
                  </a:tcPr>
                </a:tc>
                <a:extLst>
                  <a:ext uri="{0D108BD9-81ED-4DB2-BD59-A6C34878D82A}">
                    <a16:rowId xmlns:a16="http://schemas.microsoft.com/office/drawing/2014/main" val="2346396761"/>
                  </a:ext>
                </a:extLst>
              </a:tr>
              <a:tr h="455981">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US" sz="1800" b="1" kern="1200" noProof="0" dirty="0">
                          <a:solidFill>
                            <a:schemeClr val="bg1"/>
                          </a:solidFill>
                          <a:latin typeface="Palatino Linotype" panose="02040502050505030304" pitchFamily="18" charset="0"/>
                          <a:ea typeface="楷体" panose="02010609060101010101" pitchFamily="49" charset="-122"/>
                          <a:cs typeface="+mn-cs"/>
                        </a:rPr>
                        <a:t>A</a:t>
                      </a:r>
                      <a:r>
                        <a:rPr lang="zh-CN" altLang="en-US" sz="1800" b="1" kern="1200" noProof="0" dirty="0">
                          <a:solidFill>
                            <a:schemeClr val="bg1"/>
                          </a:solidFill>
                          <a:latin typeface="楷体" panose="02010609060101010101" pitchFamily="49" charset="-122"/>
                          <a:ea typeface="楷体" panose="02010609060101010101" pitchFamily="49" charset="-122"/>
                          <a:cs typeface="+mn-cs"/>
                        </a:rPr>
                        <a:t>轮到</a:t>
                      </a:r>
                      <a:r>
                        <a:rPr lang="en-US" sz="1800" b="1" kern="1200" noProof="0" dirty="0">
                          <a:solidFill>
                            <a:schemeClr val="bg1"/>
                          </a:solidFill>
                          <a:latin typeface="Palatino Linotype" panose="02040502050505030304" pitchFamily="18" charset="0"/>
                          <a:ea typeface="楷体" panose="02010609060101010101" pitchFamily="49" charset="-122"/>
                          <a:cs typeface="+mn-cs"/>
                        </a:rPr>
                        <a:t>B+</a:t>
                      </a:r>
                      <a:r>
                        <a:rPr lang="zh-CN" altLang="en-US" sz="1800" b="1" kern="1200" noProof="0" dirty="0">
                          <a:solidFill>
                            <a:schemeClr val="bg1"/>
                          </a:solidFill>
                          <a:latin typeface="Palatino Linotype" panose="02040502050505030304" pitchFamily="18" charset="0"/>
                          <a:ea typeface="楷体" panose="02010609060101010101" pitchFamily="49" charset="-122"/>
                          <a:cs typeface="+mn-cs"/>
                        </a:rPr>
                        <a:t>轮</a:t>
                      </a:r>
                      <a:endParaRPr lang="en-US" sz="1800" b="1" kern="1200" noProof="0" dirty="0">
                        <a:solidFill>
                          <a:schemeClr val="bg1"/>
                        </a:solidFill>
                        <a:latin typeface="Palatino Linotype" panose="02040502050505030304" pitchFamily="18" charset="0"/>
                        <a:ea typeface="楷体" panose="02010609060101010101" pitchFamily="49" charset="-122"/>
                        <a:cs typeface="+mn-cs"/>
                      </a:endParaRPr>
                    </a:p>
                  </a:txBody>
                  <a:tcPr anchor="b">
                    <a:lnL>
                      <a:noFill/>
                    </a:lnL>
                    <a:lnR>
                      <a:noFill/>
                    </a:lnR>
                    <a:lnT>
                      <a:noFill/>
                    </a:lnT>
                    <a:lnB>
                      <a:noFill/>
                    </a:lnB>
                    <a:lnTlToBr w="12700" cmpd="sng">
                      <a:noFill/>
                      <a:prstDash val="solid"/>
                    </a:lnTlToBr>
                    <a:lnBlToTr w="12700" cmpd="sng">
                      <a:noFill/>
                      <a:prstDash val="solid"/>
                    </a:lnBlToTr>
                    <a:solidFill>
                      <a:srgbClr val="4A66AC"/>
                    </a:solidFill>
                  </a:tcPr>
                </a:tc>
                <a:tc>
                  <a:txBody>
                    <a:bodyPr/>
                    <a:lstStyle/>
                    <a:p>
                      <a:pPr algn="ctr"/>
                      <a:r>
                        <a:rPr lang="zh-CN" altLang="en-US" sz="1800" b="1" dirty="0">
                          <a:solidFill>
                            <a:schemeClr val="bg1"/>
                          </a:solidFill>
                          <a:latin typeface="楷体" panose="02010609060101010101" pitchFamily="49" charset="-122"/>
                          <a:ea typeface="楷体" panose="02010609060101010101" pitchFamily="49" charset="-122"/>
                        </a:rPr>
                        <a:t>中小股东</a:t>
                      </a:r>
                      <a:endParaRPr lang="de-DE" sz="1800" b="1" dirty="0">
                        <a:solidFill>
                          <a:schemeClr val="bg1"/>
                        </a:solidFill>
                        <a:latin typeface="楷体" panose="02010609060101010101" pitchFamily="49" charset="-122"/>
                        <a:ea typeface="楷体" panose="02010609060101010101" pitchFamily="49" charset="-122"/>
                      </a:endParaRPr>
                    </a:p>
                  </a:txBody>
                  <a:tcPr anchor="b">
                    <a:lnL>
                      <a:noFill/>
                    </a:lnL>
                    <a:lnR>
                      <a:noFill/>
                    </a:lnR>
                    <a:lnT>
                      <a:noFill/>
                    </a:lnT>
                    <a:lnB>
                      <a:noFill/>
                    </a:lnB>
                    <a:lnTlToBr w="12700" cmpd="sng">
                      <a:noFill/>
                      <a:prstDash val="solid"/>
                    </a:lnTlToBr>
                    <a:lnBlToTr w="12700" cmpd="sng">
                      <a:noFill/>
                      <a:prstDash val="solid"/>
                    </a:lnBlToTr>
                    <a:solidFill>
                      <a:srgbClr val="242852"/>
                    </a:solidFill>
                  </a:tcPr>
                </a:tc>
                <a:tc>
                  <a:txBody>
                    <a:bodyPr/>
                    <a:lstStyle/>
                    <a:p>
                      <a:pPr marL="0" algn="ctr" defTabSz="914400" rtl="0" eaLnBrk="1" latinLnBrk="0" hangingPunct="1"/>
                      <a:r>
                        <a:rPr lang="de-DE" sz="1800" b="1" kern="1200" dirty="0">
                          <a:solidFill>
                            <a:schemeClr val="bg1"/>
                          </a:solidFill>
                          <a:latin typeface="Palatino Linotype" panose="02040502050505030304" pitchFamily="18" charset="0"/>
                          <a:ea typeface="楷体" panose="02010609060101010101" pitchFamily="49" charset="-122"/>
                          <a:cs typeface="+mn-cs"/>
                        </a:rPr>
                        <a:t>2</a:t>
                      </a:r>
                      <a:r>
                        <a:rPr lang="en-US" altLang="zh-CN" sz="1800" b="1" kern="1200" dirty="0">
                          <a:solidFill>
                            <a:schemeClr val="bg1"/>
                          </a:solidFill>
                          <a:latin typeface="Palatino Linotype" panose="02040502050505030304" pitchFamily="18" charset="0"/>
                          <a:ea typeface="楷体" panose="02010609060101010101" pitchFamily="49" charset="-122"/>
                          <a:cs typeface="+mn-cs"/>
                        </a:rPr>
                        <a:t>00-500</a:t>
                      </a:r>
                      <a:r>
                        <a:rPr lang="zh-CN" altLang="en-US" sz="1800" b="1" kern="1200" dirty="0">
                          <a:solidFill>
                            <a:schemeClr val="bg1"/>
                          </a:solidFill>
                          <a:latin typeface="Palatino Linotype" panose="02040502050505030304" pitchFamily="18" charset="0"/>
                          <a:ea typeface="楷体" panose="02010609060101010101" pitchFamily="49" charset="-122"/>
                          <a:cs typeface="+mn-cs"/>
                        </a:rPr>
                        <a:t>万美金</a:t>
                      </a:r>
                      <a:endParaRPr lang="en-US" sz="1800" b="1" kern="1200" dirty="0">
                        <a:solidFill>
                          <a:schemeClr val="bg1"/>
                        </a:solidFill>
                        <a:latin typeface="Palatino Linotype" panose="02040502050505030304" pitchFamily="18" charset="0"/>
                        <a:ea typeface="楷体" panose="02010609060101010101" pitchFamily="49" charset="-122"/>
                        <a:cs typeface="+mn-cs"/>
                      </a:endParaRPr>
                    </a:p>
                  </a:txBody>
                  <a:tcPr anchor="b">
                    <a:lnL>
                      <a:noFill/>
                    </a:lnL>
                    <a:lnR>
                      <a:noFill/>
                    </a:lnR>
                    <a:lnT>
                      <a:noFill/>
                    </a:lnT>
                    <a:lnB>
                      <a:noFill/>
                    </a:lnB>
                    <a:lnTlToBr w="12700" cmpd="sng">
                      <a:noFill/>
                      <a:prstDash val="solid"/>
                    </a:lnTlToBr>
                    <a:lnBlToTr w="12700" cmpd="sng">
                      <a:noFill/>
                      <a:prstDash val="solid"/>
                    </a:lnBlToTr>
                    <a:solidFill>
                      <a:srgbClr val="4A66AC"/>
                    </a:solidFill>
                  </a:tcPr>
                </a:tc>
                <a:extLst>
                  <a:ext uri="{0D108BD9-81ED-4DB2-BD59-A6C34878D82A}">
                    <a16:rowId xmlns:a16="http://schemas.microsoft.com/office/drawing/2014/main" val="2336697785"/>
                  </a:ext>
                </a:extLst>
              </a:tr>
              <a:tr h="443454">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zh-CN" altLang="en-US" sz="1200" noProof="0" dirty="0">
                          <a:solidFill>
                            <a:schemeClr val="bg1"/>
                          </a:solidFill>
                          <a:latin typeface="楷体" panose="02010609060101010101" pitchFamily="49" charset="-122"/>
                          <a:ea typeface="楷体" panose="02010609060101010101" pitchFamily="49" charset="-122"/>
                        </a:rPr>
                        <a:t>投资阶段</a:t>
                      </a:r>
                      <a:endParaRPr lang="en-US" sz="1200" noProof="0" dirty="0">
                        <a:solidFill>
                          <a:schemeClr val="bg1"/>
                        </a:solidFill>
                        <a:latin typeface="楷体" panose="02010609060101010101" pitchFamily="49" charset="-122"/>
                        <a:ea typeface="楷体" panose="02010609060101010101" pitchFamily="49" charset="-122"/>
                      </a:endParaRPr>
                    </a:p>
                  </a:txBody>
                  <a:tcPr>
                    <a:lnL>
                      <a:noFill/>
                    </a:lnL>
                    <a:lnR>
                      <a:noFill/>
                    </a:lnR>
                    <a:lnT>
                      <a:noFill/>
                    </a:lnT>
                    <a:lnB>
                      <a:noFill/>
                    </a:lnB>
                    <a:lnTlToBr w="12700" cmpd="sng">
                      <a:noFill/>
                      <a:prstDash val="solid"/>
                    </a:lnTlToBr>
                    <a:lnBlToTr w="12700" cmpd="sng">
                      <a:noFill/>
                      <a:prstDash val="solid"/>
                    </a:lnBlToTr>
                    <a:solidFill>
                      <a:srgbClr val="4A66AC"/>
                    </a:solidFill>
                  </a:tcPr>
                </a:tc>
                <a:tc>
                  <a:txBody>
                    <a:bodyPr/>
                    <a:lstStyle/>
                    <a:p>
                      <a:pPr algn="ctr"/>
                      <a:r>
                        <a:rPr lang="zh-CN" altLang="en-US" sz="1200" dirty="0">
                          <a:solidFill>
                            <a:schemeClr val="bg1"/>
                          </a:solidFill>
                          <a:latin typeface="楷体" panose="02010609060101010101" pitchFamily="49" charset="-122"/>
                          <a:ea typeface="楷体" panose="02010609060101010101" pitchFamily="49" charset="-122"/>
                        </a:rPr>
                        <a:t>与其他</a:t>
                      </a:r>
                      <a:r>
                        <a:rPr lang="zh-CN" altLang="en-US" sz="1200" dirty="0">
                          <a:solidFill>
                            <a:schemeClr val="bg1"/>
                          </a:solidFill>
                          <a:latin typeface="Palatino Linotype" panose="02040502050505030304" pitchFamily="18" charset="0"/>
                          <a:ea typeface="楷体" panose="02010609060101010101" pitchFamily="49" charset="-122"/>
                        </a:rPr>
                        <a:t>创投</a:t>
                      </a:r>
                      <a:r>
                        <a:rPr lang="zh-CN" altLang="en-US" sz="1200" dirty="0">
                          <a:solidFill>
                            <a:schemeClr val="bg1"/>
                          </a:solidFill>
                          <a:latin typeface="楷体" panose="02010609060101010101" pitchFamily="49" charset="-122"/>
                          <a:ea typeface="楷体" panose="02010609060101010101" pitchFamily="49" charset="-122"/>
                        </a:rPr>
                        <a:t>共同投资</a:t>
                      </a:r>
                      <a:endParaRPr lang="en-US" sz="1200" dirty="0">
                        <a:solidFill>
                          <a:schemeClr val="bg1"/>
                        </a:solidFill>
                        <a:latin typeface="楷体" panose="02010609060101010101" pitchFamily="49" charset="-122"/>
                        <a:ea typeface="楷体" panose="02010609060101010101" pitchFamily="49" charset="-122"/>
                      </a:endParaRPr>
                    </a:p>
                  </a:txBody>
                  <a:tcPr>
                    <a:lnL>
                      <a:noFill/>
                    </a:lnL>
                    <a:lnR>
                      <a:noFill/>
                    </a:lnR>
                    <a:lnT>
                      <a:noFill/>
                    </a:lnT>
                    <a:lnB>
                      <a:noFill/>
                    </a:lnB>
                    <a:lnTlToBr w="12700" cmpd="sng">
                      <a:noFill/>
                      <a:prstDash val="solid"/>
                    </a:lnTlToBr>
                    <a:lnBlToTr w="12700" cmpd="sng">
                      <a:noFill/>
                      <a:prstDash val="solid"/>
                    </a:lnBlToTr>
                    <a:solidFill>
                      <a:srgbClr val="242852"/>
                    </a:solidFill>
                  </a:tcPr>
                </a:tc>
                <a:tc>
                  <a:txBody>
                    <a:bodyPr/>
                    <a:lstStyle/>
                    <a:p>
                      <a:pPr algn="ctr"/>
                      <a:r>
                        <a:rPr lang="zh-CN" altLang="en-US" sz="1200" dirty="0">
                          <a:solidFill>
                            <a:schemeClr val="bg1"/>
                          </a:solidFill>
                          <a:latin typeface="楷体" panose="02010609060101010101" pitchFamily="49" charset="-122"/>
                          <a:ea typeface="楷体" panose="02010609060101010101" pitchFamily="49" charset="-122"/>
                        </a:rPr>
                        <a:t>投资金额</a:t>
                      </a:r>
                      <a:endParaRPr lang="en-US" sz="1200" dirty="0">
                        <a:solidFill>
                          <a:schemeClr val="bg1"/>
                        </a:solidFill>
                        <a:latin typeface="楷体" panose="02010609060101010101" pitchFamily="49" charset="-122"/>
                        <a:ea typeface="楷体" panose="02010609060101010101" pitchFamily="49" charset="-122"/>
                      </a:endParaRPr>
                    </a:p>
                  </a:txBody>
                  <a:tcPr>
                    <a:lnL>
                      <a:noFill/>
                    </a:lnL>
                    <a:lnR>
                      <a:noFill/>
                    </a:lnR>
                    <a:lnT>
                      <a:noFill/>
                    </a:lnT>
                    <a:lnB>
                      <a:noFill/>
                    </a:lnB>
                    <a:lnTlToBr w="12700" cmpd="sng">
                      <a:noFill/>
                      <a:prstDash val="solid"/>
                    </a:lnTlToBr>
                    <a:lnBlToTr w="12700" cmpd="sng">
                      <a:noFill/>
                      <a:prstDash val="solid"/>
                    </a:lnBlToTr>
                    <a:solidFill>
                      <a:srgbClr val="4A66AC"/>
                    </a:solidFill>
                  </a:tcPr>
                </a:tc>
                <a:extLst>
                  <a:ext uri="{0D108BD9-81ED-4DB2-BD59-A6C34878D82A}">
                    <a16:rowId xmlns:a16="http://schemas.microsoft.com/office/drawing/2014/main" val="3629814095"/>
                  </a:ext>
                </a:extLst>
              </a:tr>
            </a:tbl>
          </a:graphicData>
        </a:graphic>
      </p:graphicFrame>
      <p:sp>
        <p:nvSpPr>
          <p:cNvPr id="188" name="Rectangle 187">
            <a:extLst>
              <a:ext uri="{FF2B5EF4-FFF2-40B4-BE49-F238E27FC236}">
                <a16:creationId xmlns:a16="http://schemas.microsoft.com/office/drawing/2014/main" id="{F4816B38-40F2-48A1-885D-EADBBC627575}"/>
              </a:ext>
            </a:extLst>
          </p:cNvPr>
          <p:cNvSpPr>
            <a:spLocks noChangeAspect="1"/>
          </p:cNvSpPr>
          <p:nvPr/>
        </p:nvSpPr>
        <p:spPr>
          <a:xfrm>
            <a:off x="10063793" y="3356530"/>
            <a:ext cx="90000" cy="90000"/>
          </a:xfrm>
          <a:prstGeom prst="rect">
            <a:avLst/>
          </a:prstGeom>
          <a:solidFill>
            <a:srgbClr val="4A66AC"/>
          </a:solidFill>
          <a:ln w="1905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9" name="Rectangle 188">
            <a:extLst>
              <a:ext uri="{FF2B5EF4-FFF2-40B4-BE49-F238E27FC236}">
                <a16:creationId xmlns:a16="http://schemas.microsoft.com/office/drawing/2014/main" id="{6241474C-5176-40FA-BFA6-3D32040A34F9}"/>
              </a:ext>
            </a:extLst>
          </p:cNvPr>
          <p:cNvSpPr>
            <a:spLocks noChangeAspect="1"/>
          </p:cNvSpPr>
          <p:nvPr/>
        </p:nvSpPr>
        <p:spPr>
          <a:xfrm>
            <a:off x="5950926" y="2741681"/>
            <a:ext cx="90000" cy="90000"/>
          </a:xfrm>
          <a:prstGeom prst="rect">
            <a:avLst/>
          </a:prstGeom>
          <a:solidFill>
            <a:srgbClr val="4966AC"/>
          </a:solidFill>
          <a:ln w="1905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0" name="Rectangle 189">
            <a:extLst>
              <a:ext uri="{FF2B5EF4-FFF2-40B4-BE49-F238E27FC236}">
                <a16:creationId xmlns:a16="http://schemas.microsoft.com/office/drawing/2014/main" id="{735793E7-7A33-410B-A909-57D3D9C2F435}"/>
              </a:ext>
            </a:extLst>
          </p:cNvPr>
          <p:cNvSpPr>
            <a:spLocks noChangeAspect="1"/>
          </p:cNvSpPr>
          <p:nvPr/>
        </p:nvSpPr>
        <p:spPr>
          <a:xfrm>
            <a:off x="1176635" y="2863835"/>
            <a:ext cx="90000" cy="90000"/>
          </a:xfrm>
          <a:prstGeom prst="rect">
            <a:avLst/>
          </a:prstGeom>
          <a:solidFill>
            <a:srgbClr val="4A66AC"/>
          </a:solidFill>
          <a:ln w="1905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91" name="Elbow Connector 113">
            <a:extLst>
              <a:ext uri="{FF2B5EF4-FFF2-40B4-BE49-F238E27FC236}">
                <a16:creationId xmlns:a16="http://schemas.microsoft.com/office/drawing/2014/main" id="{9F4C1CFA-A4DF-4DE5-8791-D26DDC3ED10C}"/>
              </a:ext>
            </a:extLst>
          </p:cNvPr>
          <p:cNvCxnSpPr>
            <a:cxnSpLocks/>
            <a:stCxn id="189" idx="1"/>
            <a:endCxn id="183" idx="0"/>
          </p:cNvCxnSpPr>
          <p:nvPr/>
        </p:nvCxnSpPr>
        <p:spPr>
          <a:xfrm rot="10800000" flipV="1">
            <a:off x="5272994" y="2786680"/>
            <a:ext cx="677933" cy="621957"/>
          </a:xfrm>
          <a:prstGeom prst="bentConnector2">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4" name="Elbow Connector 113">
            <a:extLst>
              <a:ext uri="{FF2B5EF4-FFF2-40B4-BE49-F238E27FC236}">
                <a16:creationId xmlns:a16="http://schemas.microsoft.com/office/drawing/2014/main" id="{0DE92F93-165B-4A5F-BBF9-73D53172E12E}"/>
              </a:ext>
            </a:extLst>
          </p:cNvPr>
          <p:cNvCxnSpPr>
            <a:cxnSpLocks/>
            <a:stCxn id="188" idx="3"/>
            <a:endCxn id="186" idx="0"/>
          </p:cNvCxnSpPr>
          <p:nvPr/>
        </p:nvCxnSpPr>
        <p:spPr>
          <a:xfrm>
            <a:off x="10153793" y="3401530"/>
            <a:ext cx="520600" cy="217094"/>
          </a:xfrm>
          <a:prstGeom prst="bentConnector2">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97" name="Rectangle 196">
            <a:extLst>
              <a:ext uri="{FF2B5EF4-FFF2-40B4-BE49-F238E27FC236}">
                <a16:creationId xmlns:a16="http://schemas.microsoft.com/office/drawing/2014/main" id="{4789C1B6-6A39-48EB-8BDE-89C3B0733A0A}"/>
              </a:ext>
            </a:extLst>
          </p:cNvPr>
          <p:cNvSpPr>
            <a:spLocks noChangeAspect="1"/>
          </p:cNvSpPr>
          <p:nvPr/>
        </p:nvSpPr>
        <p:spPr>
          <a:xfrm>
            <a:off x="2779367" y="3082163"/>
            <a:ext cx="90000" cy="90000"/>
          </a:xfrm>
          <a:prstGeom prst="rect">
            <a:avLst/>
          </a:prstGeom>
          <a:solidFill>
            <a:srgbClr val="4A66AC"/>
          </a:solidFill>
          <a:ln w="1905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98" name="Elbow Connector 113">
            <a:extLst>
              <a:ext uri="{FF2B5EF4-FFF2-40B4-BE49-F238E27FC236}">
                <a16:creationId xmlns:a16="http://schemas.microsoft.com/office/drawing/2014/main" id="{B91D86BD-8B71-444B-A47C-B29940495525}"/>
              </a:ext>
            </a:extLst>
          </p:cNvPr>
          <p:cNvCxnSpPr>
            <a:cxnSpLocks/>
          </p:cNvCxnSpPr>
          <p:nvPr/>
        </p:nvCxnSpPr>
        <p:spPr>
          <a:xfrm flipV="1">
            <a:off x="1284055" y="2589037"/>
            <a:ext cx="635964" cy="318847"/>
          </a:xfrm>
          <a:prstGeom prst="bentConnector3">
            <a:avLst>
              <a:gd name="adj1" fmla="val 98947"/>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1" name="Elbow Connector 113">
            <a:extLst>
              <a:ext uri="{FF2B5EF4-FFF2-40B4-BE49-F238E27FC236}">
                <a16:creationId xmlns:a16="http://schemas.microsoft.com/office/drawing/2014/main" id="{C50A8FAD-24E9-4F38-9DE9-7D86845BCDE3}"/>
              </a:ext>
            </a:extLst>
          </p:cNvPr>
          <p:cNvCxnSpPr>
            <a:cxnSpLocks/>
          </p:cNvCxnSpPr>
          <p:nvPr/>
        </p:nvCxnSpPr>
        <p:spPr>
          <a:xfrm rot="16200000" flipV="1">
            <a:off x="2284371" y="2542041"/>
            <a:ext cx="160664" cy="901417"/>
          </a:xfrm>
          <a:prstGeom prst="bentConnector2">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2" name="Elbow Connector 113">
            <a:extLst>
              <a:ext uri="{FF2B5EF4-FFF2-40B4-BE49-F238E27FC236}">
                <a16:creationId xmlns:a16="http://schemas.microsoft.com/office/drawing/2014/main" id="{6B5D4C04-27A3-44EB-9351-AAD364321C39}"/>
              </a:ext>
            </a:extLst>
          </p:cNvPr>
          <p:cNvCxnSpPr>
            <a:cxnSpLocks/>
            <a:stCxn id="214" idx="2"/>
          </p:cNvCxnSpPr>
          <p:nvPr/>
        </p:nvCxnSpPr>
        <p:spPr>
          <a:xfrm rot="5400000">
            <a:off x="6421821" y="3539242"/>
            <a:ext cx="580166" cy="316477"/>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14" name="Rectangle 213">
            <a:extLst>
              <a:ext uri="{FF2B5EF4-FFF2-40B4-BE49-F238E27FC236}">
                <a16:creationId xmlns:a16="http://schemas.microsoft.com/office/drawing/2014/main" id="{51C075FF-3D9F-4C6C-B8D5-65F9B1631B03}"/>
              </a:ext>
            </a:extLst>
          </p:cNvPr>
          <p:cNvSpPr>
            <a:spLocks noChangeAspect="1"/>
          </p:cNvSpPr>
          <p:nvPr/>
        </p:nvSpPr>
        <p:spPr>
          <a:xfrm>
            <a:off x="6825142" y="3317396"/>
            <a:ext cx="90000" cy="90000"/>
          </a:xfrm>
          <a:prstGeom prst="rect">
            <a:avLst/>
          </a:prstGeom>
          <a:solidFill>
            <a:srgbClr val="4966AC"/>
          </a:solidFill>
          <a:ln w="1905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99" name="Elbow Connector 113">
            <a:extLst>
              <a:ext uri="{FF2B5EF4-FFF2-40B4-BE49-F238E27FC236}">
                <a16:creationId xmlns:a16="http://schemas.microsoft.com/office/drawing/2014/main" id="{F0B04D6E-E0DC-4323-9B7C-D1C67F8A7841}"/>
              </a:ext>
            </a:extLst>
          </p:cNvPr>
          <p:cNvCxnSpPr>
            <a:cxnSpLocks/>
          </p:cNvCxnSpPr>
          <p:nvPr/>
        </p:nvCxnSpPr>
        <p:spPr>
          <a:xfrm rot="10800000">
            <a:off x="2429801" y="5246935"/>
            <a:ext cx="1199093" cy="338673"/>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00" name="Rectangle 199">
            <a:extLst>
              <a:ext uri="{FF2B5EF4-FFF2-40B4-BE49-F238E27FC236}">
                <a16:creationId xmlns:a16="http://schemas.microsoft.com/office/drawing/2014/main" id="{8DDEFA7A-255B-4A10-988B-730D27861E7F}"/>
              </a:ext>
            </a:extLst>
          </p:cNvPr>
          <p:cNvSpPr>
            <a:spLocks noChangeAspect="1"/>
          </p:cNvSpPr>
          <p:nvPr/>
        </p:nvSpPr>
        <p:spPr>
          <a:xfrm>
            <a:off x="3655677" y="5531216"/>
            <a:ext cx="89216" cy="90000"/>
          </a:xfrm>
          <a:prstGeom prst="rect">
            <a:avLst/>
          </a:prstGeom>
          <a:solidFill>
            <a:srgbClr val="4966AC"/>
          </a:solidFill>
          <a:ln w="1905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2" name="Textfeld 211">
            <a:extLst>
              <a:ext uri="{FF2B5EF4-FFF2-40B4-BE49-F238E27FC236}">
                <a16:creationId xmlns:a16="http://schemas.microsoft.com/office/drawing/2014/main" id="{A1BABB0B-671D-431E-98B9-6A46D6990C61}"/>
              </a:ext>
            </a:extLst>
          </p:cNvPr>
          <p:cNvSpPr txBox="1"/>
          <p:nvPr/>
        </p:nvSpPr>
        <p:spPr>
          <a:xfrm>
            <a:off x="1491718" y="5143730"/>
            <a:ext cx="909093" cy="215444"/>
          </a:xfrm>
          <a:prstGeom prst="rect">
            <a:avLst/>
          </a:prstGeom>
          <a:noFill/>
        </p:spPr>
        <p:txBody>
          <a:bodyPr wrap="square" lIns="0" tIns="0" rIns="0" bIns="0" rtlCol="0">
            <a:spAutoFit/>
          </a:bodyPr>
          <a:lstStyle/>
          <a:p>
            <a:pPr algn="ctr">
              <a:defRPr/>
            </a:pPr>
            <a:r>
              <a:rPr lang="zh-CN" altLang="en-US" sz="1400" b="1" kern="0" dirty="0">
                <a:solidFill>
                  <a:prstClr val="black"/>
                </a:solidFill>
                <a:latin typeface="楷体" panose="02010609060101010101" pitchFamily="49" charset="-122"/>
                <a:ea typeface="楷体" panose="02010609060101010101" pitchFamily="49" charset="-122"/>
              </a:rPr>
              <a:t>巴西圣保罗</a:t>
            </a:r>
            <a:endParaRPr lang="de-DE" sz="1400" b="1" kern="0" dirty="0">
              <a:solidFill>
                <a:prstClr val="black"/>
              </a:solidFill>
              <a:latin typeface="楷体" panose="02010609060101010101" pitchFamily="49" charset="-122"/>
              <a:ea typeface="楷体" panose="02010609060101010101" pitchFamily="49" charset="-122"/>
            </a:endParaRPr>
          </a:p>
        </p:txBody>
      </p:sp>
      <p:sp>
        <p:nvSpPr>
          <p:cNvPr id="231" name="Textfeld 211">
            <a:extLst>
              <a:ext uri="{FF2B5EF4-FFF2-40B4-BE49-F238E27FC236}">
                <a16:creationId xmlns:a16="http://schemas.microsoft.com/office/drawing/2014/main" id="{AA3A2B80-4C75-42F6-97A0-856D0A80E525}"/>
              </a:ext>
            </a:extLst>
          </p:cNvPr>
          <p:cNvSpPr txBox="1"/>
          <p:nvPr/>
        </p:nvSpPr>
        <p:spPr>
          <a:xfrm>
            <a:off x="7980116" y="4496139"/>
            <a:ext cx="825172" cy="215444"/>
          </a:xfrm>
          <a:prstGeom prst="rect">
            <a:avLst/>
          </a:prstGeom>
          <a:noFill/>
        </p:spPr>
        <p:txBody>
          <a:bodyPr wrap="square" lIns="0" tIns="0" rIns="0" bIns="0" rtlCol="0">
            <a:spAutoFit/>
          </a:bodyPr>
          <a:lstStyle/>
          <a:p>
            <a:pPr algn="ctr">
              <a:defRPr/>
            </a:pPr>
            <a:r>
              <a:rPr lang="zh-CN" altLang="en-US" sz="1400" b="1" kern="0" dirty="0">
                <a:solidFill>
                  <a:prstClr val="black"/>
                </a:solidFill>
                <a:latin typeface="楷体" panose="02010609060101010101" pitchFamily="49" charset="-122"/>
                <a:ea typeface="楷体" panose="02010609060101010101" pitchFamily="49" charset="-122"/>
              </a:rPr>
              <a:t>印度孟买</a:t>
            </a:r>
            <a:endParaRPr lang="en-US" altLang="zh-CN" sz="1400" b="1" kern="0" dirty="0">
              <a:solidFill>
                <a:prstClr val="black"/>
              </a:solidFill>
              <a:latin typeface="楷体" panose="02010609060101010101" pitchFamily="49" charset="-122"/>
              <a:ea typeface="楷体" panose="02010609060101010101" pitchFamily="49" charset="-122"/>
            </a:endParaRPr>
          </a:p>
        </p:txBody>
      </p:sp>
      <p:cxnSp>
        <p:nvCxnSpPr>
          <p:cNvPr id="232" name="Elbow Connector 113">
            <a:extLst>
              <a:ext uri="{FF2B5EF4-FFF2-40B4-BE49-F238E27FC236}">
                <a16:creationId xmlns:a16="http://schemas.microsoft.com/office/drawing/2014/main" id="{DE3DD15E-2373-48B0-8C2D-3EE6BC7E0A60}"/>
              </a:ext>
            </a:extLst>
          </p:cNvPr>
          <p:cNvCxnSpPr>
            <a:cxnSpLocks/>
            <a:stCxn id="233" idx="2"/>
            <a:endCxn id="231" idx="0"/>
          </p:cNvCxnSpPr>
          <p:nvPr/>
        </p:nvCxnSpPr>
        <p:spPr>
          <a:xfrm rot="16200000" flipH="1">
            <a:off x="8108553" y="4211989"/>
            <a:ext cx="568297" cy="1"/>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33" name="Rectangle 232">
            <a:extLst>
              <a:ext uri="{FF2B5EF4-FFF2-40B4-BE49-F238E27FC236}">
                <a16:creationId xmlns:a16="http://schemas.microsoft.com/office/drawing/2014/main" id="{3416EDEB-5143-492D-B323-4106B36B5761}"/>
              </a:ext>
            </a:extLst>
          </p:cNvPr>
          <p:cNvSpPr>
            <a:spLocks noChangeAspect="1"/>
          </p:cNvSpPr>
          <p:nvPr/>
        </p:nvSpPr>
        <p:spPr>
          <a:xfrm>
            <a:off x="8347701" y="3837842"/>
            <a:ext cx="90000" cy="90000"/>
          </a:xfrm>
          <a:prstGeom prst="rect">
            <a:avLst/>
          </a:prstGeom>
          <a:solidFill>
            <a:srgbClr val="4966AC"/>
          </a:solidFill>
          <a:ln w="1905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309086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20">
            <a:extLst>
              <a:ext uri="{FF2B5EF4-FFF2-40B4-BE49-F238E27FC236}">
                <a16:creationId xmlns:a16="http://schemas.microsoft.com/office/drawing/2014/main" id="{BC857A29-89DB-4525-A341-C9198ACD680D}"/>
              </a:ext>
            </a:extLst>
          </p:cNvPr>
          <p:cNvSpPr>
            <a:spLocks noGrp="1"/>
          </p:cNvSpPr>
          <p:nvPr>
            <p:ph type="title"/>
          </p:nvPr>
        </p:nvSpPr>
        <p:spPr>
          <a:xfrm>
            <a:off x="233253" y="479225"/>
            <a:ext cx="6841949" cy="786430"/>
          </a:xfrm>
        </p:spPr>
        <p:txBody>
          <a:bodyPr>
            <a:normAutofit/>
          </a:bodyPr>
          <a:lstStyle/>
          <a:p>
            <a:r>
              <a:rPr lang="en-US" sz="3600" b="1" dirty="0">
                <a:solidFill>
                  <a:schemeClr val="bg1"/>
                </a:solidFill>
                <a:latin typeface="Palatino Linotype" panose="02040502050505030304" pitchFamily="18" charset="0"/>
                <a:ea typeface="楷体" panose="02010609060101010101" pitchFamily="49" charset="-122"/>
              </a:rPr>
              <a:t>2017-201</a:t>
            </a:r>
            <a:r>
              <a:rPr lang="en-US" altLang="zh-CN" sz="3600" b="1" dirty="0">
                <a:solidFill>
                  <a:schemeClr val="bg1"/>
                </a:solidFill>
                <a:latin typeface="Palatino Linotype" panose="02040502050505030304" pitchFamily="18" charset="0"/>
                <a:ea typeface="楷体" panose="02010609060101010101" pitchFamily="49" charset="-122"/>
              </a:rPr>
              <a:t>9</a:t>
            </a:r>
            <a:r>
              <a:rPr lang="zh-CN" altLang="en-US" sz="3600" b="1" dirty="0">
                <a:solidFill>
                  <a:schemeClr val="bg1"/>
                </a:solidFill>
                <a:latin typeface="楷体" panose="02010609060101010101" pitchFamily="49" charset="-122"/>
                <a:ea typeface="楷体" panose="02010609060101010101" pitchFamily="49" charset="-122"/>
              </a:rPr>
              <a:t>年部分被投企业</a:t>
            </a:r>
            <a:endParaRPr lang="en-US" sz="3600" b="1" dirty="0">
              <a:solidFill>
                <a:schemeClr val="bg1"/>
              </a:solidFill>
              <a:latin typeface="楷体" panose="02010609060101010101" pitchFamily="49" charset="-122"/>
              <a:ea typeface="楷体" panose="02010609060101010101" pitchFamily="49" charset="-122"/>
            </a:endParaRPr>
          </a:p>
        </p:txBody>
      </p:sp>
      <p:graphicFrame>
        <p:nvGraphicFramePr>
          <p:cNvPr id="5" name="Objekt 4" hidden="1">
            <a:extLst>
              <a:ext uri="{FF2B5EF4-FFF2-40B4-BE49-F238E27FC236}">
                <a16:creationId xmlns:a16="http://schemas.microsoft.com/office/drawing/2014/main" id="{7292DA8B-E832-413A-AFD8-FB5ED128DF35}"/>
              </a:ext>
            </a:extLst>
          </p:cNvPr>
          <p:cNvGraphicFramePr>
            <a:graphicFrameLocks noChangeAspect="1"/>
          </p:cNvGraphicFramePr>
          <p:nvPr>
            <p:custDataLst>
              <p:tags r:id="rId2"/>
            </p:custDataLst>
            <p:extLst/>
          </p:nvPr>
        </p:nvGraphicFramePr>
        <p:xfrm>
          <a:off x="1525788" y="858442"/>
          <a:ext cx="1190" cy="1190"/>
        </p:xfrm>
        <a:graphic>
          <a:graphicData uri="http://schemas.openxmlformats.org/presentationml/2006/ole">
            <mc:AlternateContent xmlns:mc="http://schemas.openxmlformats.org/markup-compatibility/2006">
              <mc:Choice xmlns:v="urn:schemas-microsoft-com:vml" Requires="v">
                <p:oleObj spid="_x0000_s7170" name="think-cell Folie" r:id="rId5" imgW="306" imgH="306" progId="TCLayout.ActiveDocument.1">
                  <p:embed/>
                </p:oleObj>
              </mc:Choice>
              <mc:Fallback>
                <p:oleObj name="think-cell Folie" r:id="rId5" imgW="306" imgH="306" progId="TCLayout.ActiveDocument.1">
                  <p:embed/>
                  <p:pic>
                    <p:nvPicPr>
                      <p:cNvPr id="5" name="Objekt 4" hidden="1">
                        <a:extLst>
                          <a:ext uri="{FF2B5EF4-FFF2-40B4-BE49-F238E27FC236}">
                            <a16:creationId xmlns:a16="http://schemas.microsoft.com/office/drawing/2014/main" id="{7292DA8B-E832-413A-AFD8-FB5ED128DF35}"/>
                          </a:ext>
                        </a:extLst>
                      </p:cNvPr>
                      <p:cNvPicPr/>
                      <p:nvPr/>
                    </p:nvPicPr>
                    <p:blipFill>
                      <a:blip r:embed="rId6"/>
                      <a:stretch>
                        <a:fillRect/>
                      </a:stretch>
                    </p:blipFill>
                    <p:spPr>
                      <a:xfrm>
                        <a:off x="1525788" y="858442"/>
                        <a:ext cx="1190" cy="1190"/>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F5A4FC88-4B03-436F-AAB9-47D1D6F8326A}"/>
              </a:ext>
            </a:extLst>
          </p:cNvPr>
          <p:cNvSpPr/>
          <p:nvPr>
            <p:custDataLst>
              <p:tags r:id="rId3"/>
            </p:custDataLst>
          </p:nvPr>
        </p:nvSpPr>
        <p:spPr>
          <a:xfrm>
            <a:off x="1524001" y="857251"/>
            <a:ext cx="119063" cy="1190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100" b="1" dirty="0">
              <a:latin typeface="Arial" panose="020B0604020202020204" pitchFamily="34" charset="0"/>
              <a:cs typeface="Arial" panose="020B0604020202020204" pitchFamily="34" charset="0"/>
              <a:sym typeface="Arial" panose="020B0604020202020204" pitchFamily="34" charset="0"/>
            </a:endParaRPr>
          </a:p>
        </p:txBody>
      </p:sp>
      <p:pic>
        <p:nvPicPr>
          <p:cNvPr id="56" name="Grafik 20">
            <a:extLst>
              <a:ext uri="{FF2B5EF4-FFF2-40B4-BE49-F238E27FC236}">
                <a16:creationId xmlns:a16="http://schemas.microsoft.com/office/drawing/2014/main" id="{C649CCAD-F37F-8B4F-B236-08F3360F0EA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851068" y="3883200"/>
            <a:ext cx="1242667" cy="410777"/>
          </a:xfrm>
          <a:prstGeom prst="rect">
            <a:avLst/>
          </a:prstGeom>
        </p:spPr>
      </p:pic>
      <p:pic>
        <p:nvPicPr>
          <p:cNvPr id="63" name="Grafik 42">
            <a:extLst>
              <a:ext uri="{FF2B5EF4-FFF2-40B4-BE49-F238E27FC236}">
                <a16:creationId xmlns:a16="http://schemas.microsoft.com/office/drawing/2014/main" id="{DDA70207-F2F5-E94D-A99E-F5F8119A8935}"/>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258976" y="3648334"/>
            <a:ext cx="1039211" cy="342940"/>
          </a:xfrm>
          <a:prstGeom prst="rect">
            <a:avLst/>
          </a:prstGeom>
        </p:spPr>
      </p:pic>
      <p:sp>
        <p:nvSpPr>
          <p:cNvPr id="64" name="Rechteck 43">
            <a:extLst>
              <a:ext uri="{FF2B5EF4-FFF2-40B4-BE49-F238E27FC236}">
                <a16:creationId xmlns:a16="http://schemas.microsoft.com/office/drawing/2014/main" id="{95455005-00B9-C74B-BE1E-6BAA2318B5D6}"/>
              </a:ext>
            </a:extLst>
          </p:cNvPr>
          <p:cNvSpPr/>
          <p:nvPr/>
        </p:nvSpPr>
        <p:spPr>
          <a:xfrm>
            <a:off x="7258976" y="4079207"/>
            <a:ext cx="1219281" cy="145424"/>
          </a:xfrm>
          <a:prstGeom prst="rect">
            <a:avLst/>
          </a:prstGeom>
        </p:spPr>
        <p:txBody>
          <a:bodyPr wrap="square" lIns="0" tIns="0" rIns="0" bIns="0">
            <a:spAutoFit/>
          </a:bodyPr>
          <a:lstStyle/>
          <a:p>
            <a:pPr>
              <a:lnSpc>
                <a:spcPct val="90000"/>
              </a:lnSpc>
            </a:pPr>
            <a:r>
              <a:rPr lang="en-US" sz="1050" b="1" dirty="0">
                <a:solidFill>
                  <a:srgbClr val="004A96"/>
                </a:solidFill>
                <a:latin typeface="Arial" panose="020B0604020202020204"/>
                <a:cs typeface="Arial"/>
              </a:rPr>
              <a:t>Pheromones (US) </a:t>
            </a:r>
          </a:p>
        </p:txBody>
      </p:sp>
      <p:sp>
        <p:nvSpPr>
          <p:cNvPr id="66" name="Rechteck 51">
            <a:extLst>
              <a:ext uri="{FF2B5EF4-FFF2-40B4-BE49-F238E27FC236}">
                <a16:creationId xmlns:a16="http://schemas.microsoft.com/office/drawing/2014/main" id="{7E011897-D9F2-9C49-A428-5B42475BEED1}"/>
              </a:ext>
            </a:extLst>
          </p:cNvPr>
          <p:cNvSpPr/>
          <p:nvPr/>
        </p:nvSpPr>
        <p:spPr>
          <a:xfrm>
            <a:off x="5320196" y="1903494"/>
            <a:ext cx="3539944" cy="4567644"/>
          </a:xfrm>
          <a:prstGeom prst="rect">
            <a:avLst/>
          </a:prstGeom>
          <a:solidFill>
            <a:schemeClr val="accent2">
              <a:lumMod val="20000"/>
              <a:lumOff val="80000"/>
            </a:schemeClr>
          </a:solidFill>
          <a:ln w="28575">
            <a:solidFill>
              <a:srgbClr val="004A96"/>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zh-CN" altLang="en-US" sz="1500" b="1" u="sng" dirty="0">
                <a:solidFill>
                  <a:srgbClr val="004A96"/>
                </a:solidFill>
                <a:latin typeface="楷体" panose="02010609060101010101" pitchFamily="49" charset="-122"/>
                <a:ea typeface="楷体" panose="02010609060101010101" pitchFamily="49" charset="-122"/>
                <a:cs typeface="Arial"/>
              </a:rPr>
              <a:t>科技之窗</a:t>
            </a:r>
            <a:endParaRPr lang="de-AT" sz="1500" b="1" u="sng" dirty="0">
              <a:solidFill>
                <a:srgbClr val="004A96"/>
              </a:solidFill>
              <a:latin typeface="楷体" panose="02010609060101010101" pitchFamily="49" charset="-122"/>
              <a:ea typeface="楷体" panose="02010609060101010101" pitchFamily="49" charset="-122"/>
              <a:cs typeface="Arial"/>
            </a:endParaRPr>
          </a:p>
        </p:txBody>
      </p:sp>
      <p:sp>
        <p:nvSpPr>
          <p:cNvPr id="71" name="Rechteck 50">
            <a:extLst>
              <a:ext uri="{FF2B5EF4-FFF2-40B4-BE49-F238E27FC236}">
                <a16:creationId xmlns:a16="http://schemas.microsoft.com/office/drawing/2014/main" id="{F46E36C8-ADDE-6641-8AD7-95B3CFEC00BD}"/>
              </a:ext>
            </a:extLst>
          </p:cNvPr>
          <p:cNvSpPr/>
          <p:nvPr/>
        </p:nvSpPr>
        <p:spPr>
          <a:xfrm>
            <a:off x="476851" y="1861261"/>
            <a:ext cx="4394966" cy="4669134"/>
          </a:xfrm>
          <a:prstGeom prst="rect">
            <a:avLst/>
          </a:prstGeom>
          <a:solidFill>
            <a:schemeClr val="accent2">
              <a:lumMod val="20000"/>
              <a:lumOff val="80000"/>
            </a:schemeClr>
          </a:solidFill>
          <a:ln w="28575">
            <a:solidFill>
              <a:srgbClr val="004A96"/>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zh-CN" altLang="en-US" sz="1500" b="1" u="sng" dirty="0">
                <a:solidFill>
                  <a:srgbClr val="004A96"/>
                </a:solidFill>
                <a:latin typeface="楷体" panose="02010609060101010101" pitchFamily="49" charset="-122"/>
                <a:ea typeface="楷体" panose="02010609060101010101" pitchFamily="49" charset="-122"/>
                <a:cs typeface="Arial"/>
              </a:rPr>
              <a:t>创新商业模式</a:t>
            </a:r>
            <a:endParaRPr lang="de-AT" sz="1500" b="1" u="sng" dirty="0">
              <a:solidFill>
                <a:srgbClr val="004A96"/>
              </a:solidFill>
              <a:latin typeface="楷体" panose="02010609060101010101" pitchFamily="49" charset="-122"/>
              <a:ea typeface="楷体" panose="02010609060101010101" pitchFamily="49" charset="-122"/>
              <a:cs typeface="Arial"/>
            </a:endParaRPr>
          </a:p>
        </p:txBody>
      </p:sp>
      <p:sp>
        <p:nvSpPr>
          <p:cNvPr id="85" name="Rechteck 45">
            <a:extLst>
              <a:ext uri="{FF2B5EF4-FFF2-40B4-BE49-F238E27FC236}">
                <a16:creationId xmlns:a16="http://schemas.microsoft.com/office/drawing/2014/main" id="{D09DF382-A939-9C4E-B961-A1D11971E196}"/>
              </a:ext>
            </a:extLst>
          </p:cNvPr>
          <p:cNvSpPr/>
          <p:nvPr/>
        </p:nvSpPr>
        <p:spPr>
          <a:xfrm>
            <a:off x="9371156" y="1797740"/>
            <a:ext cx="2260192" cy="1363591"/>
          </a:xfrm>
          <a:prstGeom prst="rect">
            <a:avLst/>
          </a:prstGeom>
          <a:solidFill>
            <a:schemeClr val="accent2">
              <a:lumMod val="20000"/>
              <a:lumOff val="80000"/>
            </a:schemeClr>
          </a:solidFill>
          <a:ln w="28575">
            <a:solidFill>
              <a:srgbClr val="004A96"/>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zh-CN" altLang="en-US" sz="1500" b="1" u="sng" dirty="0">
                <a:solidFill>
                  <a:srgbClr val="004A96"/>
                </a:solidFill>
                <a:latin typeface="楷体" panose="02010609060101010101" pitchFamily="49" charset="-122"/>
                <a:ea typeface="楷体" panose="02010609060101010101" pitchFamily="49" charset="-122"/>
                <a:cs typeface="Arial"/>
              </a:rPr>
              <a:t>颠覆性变革者</a:t>
            </a:r>
            <a:endParaRPr lang="de-AT" sz="1500" b="1" u="sng" dirty="0">
              <a:solidFill>
                <a:srgbClr val="004A96"/>
              </a:solidFill>
              <a:latin typeface="楷体" panose="02010609060101010101" pitchFamily="49" charset="-122"/>
              <a:ea typeface="楷体" panose="02010609060101010101" pitchFamily="49" charset="-122"/>
              <a:cs typeface="Arial"/>
            </a:endParaRPr>
          </a:p>
        </p:txBody>
      </p:sp>
      <p:sp>
        <p:nvSpPr>
          <p:cNvPr id="95" name="Rechteck 68">
            <a:extLst>
              <a:ext uri="{FF2B5EF4-FFF2-40B4-BE49-F238E27FC236}">
                <a16:creationId xmlns:a16="http://schemas.microsoft.com/office/drawing/2014/main" id="{91D202F6-A666-0342-807E-2F3D10E63F6B}"/>
              </a:ext>
            </a:extLst>
          </p:cNvPr>
          <p:cNvSpPr/>
          <p:nvPr/>
        </p:nvSpPr>
        <p:spPr>
          <a:xfrm>
            <a:off x="9371156" y="3269825"/>
            <a:ext cx="2260192" cy="3201313"/>
          </a:xfrm>
          <a:prstGeom prst="rect">
            <a:avLst/>
          </a:prstGeom>
          <a:solidFill>
            <a:schemeClr val="accent2">
              <a:lumMod val="20000"/>
              <a:lumOff val="80000"/>
            </a:schemeClr>
          </a:solidFill>
          <a:ln w="28575">
            <a:solidFill>
              <a:srgbClr val="004A96"/>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zh-CN" altLang="en-US" sz="1500" b="1" u="sng" dirty="0">
                <a:solidFill>
                  <a:srgbClr val="004A96"/>
                </a:solidFill>
                <a:latin typeface="楷体" panose="02010609060101010101" pitchFamily="49" charset="-122"/>
                <a:ea typeface="楷体" panose="02010609060101010101" pitchFamily="49" charset="-122"/>
                <a:cs typeface="Arial"/>
              </a:rPr>
              <a:t>基金</a:t>
            </a:r>
            <a:endParaRPr lang="de-AT" sz="1200" b="1" dirty="0">
              <a:solidFill>
                <a:schemeClr val="tx1"/>
              </a:solidFill>
              <a:latin typeface="楷体" panose="02010609060101010101" pitchFamily="49" charset="-122"/>
              <a:ea typeface="楷体" panose="02010609060101010101" pitchFamily="49" charset="-122"/>
              <a:cs typeface="Arial"/>
            </a:endParaRPr>
          </a:p>
        </p:txBody>
      </p:sp>
      <p:grpSp>
        <p:nvGrpSpPr>
          <p:cNvPr id="16" name="Group 15">
            <a:extLst>
              <a:ext uri="{FF2B5EF4-FFF2-40B4-BE49-F238E27FC236}">
                <a16:creationId xmlns:a16="http://schemas.microsoft.com/office/drawing/2014/main" id="{F11C198C-257F-7747-9E77-3BB3D76F6993}"/>
              </a:ext>
            </a:extLst>
          </p:cNvPr>
          <p:cNvGrpSpPr/>
          <p:nvPr/>
        </p:nvGrpSpPr>
        <p:grpSpPr>
          <a:xfrm>
            <a:off x="542774" y="2501851"/>
            <a:ext cx="1796817" cy="976054"/>
            <a:chOff x="442960" y="2631261"/>
            <a:chExt cx="1402643" cy="683447"/>
          </a:xfrm>
        </p:grpSpPr>
        <p:pic>
          <p:nvPicPr>
            <p:cNvPr id="89" name="Grafik 60">
              <a:extLst>
                <a:ext uri="{FF2B5EF4-FFF2-40B4-BE49-F238E27FC236}">
                  <a16:creationId xmlns:a16="http://schemas.microsoft.com/office/drawing/2014/main" id="{A665DEB8-C1C8-4A41-9890-286BE9983056}"/>
                </a:ext>
              </a:extLst>
            </p:cNvPr>
            <p:cNvPicPr>
              <a:picLocks noChangeAspect="1"/>
            </p:cNvPicPr>
            <p:nvPr/>
          </p:nvPicPr>
          <p:blipFill rotWithShape="1">
            <a:blip r:embed="rId9"/>
            <a:srcRect t="33041" b="34527"/>
            <a:stretch/>
          </p:blipFill>
          <p:spPr>
            <a:xfrm>
              <a:off x="680402" y="2631261"/>
              <a:ext cx="927760" cy="300893"/>
            </a:xfrm>
            <a:prstGeom prst="rect">
              <a:avLst/>
            </a:prstGeom>
          </p:spPr>
        </p:pic>
        <p:sp>
          <p:nvSpPr>
            <p:cNvPr id="90" name="Rechteck 62">
              <a:extLst>
                <a:ext uri="{FF2B5EF4-FFF2-40B4-BE49-F238E27FC236}">
                  <a16:creationId xmlns:a16="http://schemas.microsoft.com/office/drawing/2014/main" id="{1A6CD57B-455B-9045-9816-C4ACE96CEF3C}"/>
                </a:ext>
              </a:extLst>
            </p:cNvPr>
            <p:cNvSpPr/>
            <p:nvPr/>
          </p:nvSpPr>
          <p:spPr>
            <a:xfrm>
              <a:off x="442960" y="2962447"/>
              <a:ext cx="1402643" cy="290849"/>
            </a:xfrm>
            <a:prstGeom prst="rect">
              <a:avLst/>
            </a:prstGeom>
          </p:spPr>
          <p:txBody>
            <a:bodyPr wrap="square" lIns="0" tIns="0" rIns="0" bIns="0">
              <a:spAutoFit/>
            </a:bodyPr>
            <a:lstStyle/>
            <a:p>
              <a:pPr algn="ctr">
                <a:lnSpc>
                  <a:spcPct val="90000"/>
                </a:lnSpc>
              </a:pPr>
              <a:r>
                <a:rPr lang="en-US" sz="1050" b="1" dirty="0">
                  <a:solidFill>
                    <a:schemeClr val="bg1">
                      <a:lumMod val="50000"/>
                    </a:schemeClr>
                  </a:solidFill>
                  <a:latin typeface="Arial" panose="020B0604020202020204"/>
                  <a:cs typeface="Arial"/>
                </a:rPr>
                <a:t>Filament Additive Manufacturing (DE) </a:t>
              </a:r>
            </a:p>
          </p:txBody>
        </p:sp>
        <p:sp>
          <p:nvSpPr>
            <p:cNvPr id="96" name="Textfeld 5">
              <a:extLst>
                <a:ext uri="{FF2B5EF4-FFF2-40B4-BE49-F238E27FC236}">
                  <a16:creationId xmlns:a16="http://schemas.microsoft.com/office/drawing/2014/main" id="{1D10C555-D0F1-504C-9082-ADFC755E383B}"/>
                </a:ext>
              </a:extLst>
            </p:cNvPr>
            <p:cNvSpPr txBox="1"/>
            <p:nvPr/>
          </p:nvSpPr>
          <p:spPr>
            <a:xfrm>
              <a:off x="702453" y="3199292"/>
              <a:ext cx="884858" cy="115416"/>
            </a:xfrm>
            <a:prstGeom prst="rect">
              <a:avLst/>
            </a:prstGeom>
            <a:noFill/>
          </p:spPr>
          <p:txBody>
            <a:bodyPr wrap="none" lIns="0" tIns="0" rIns="0" bIns="0" rtlCol="0">
              <a:spAutoFit/>
            </a:bodyPr>
            <a:lstStyle/>
            <a:p>
              <a:r>
                <a:rPr lang="de-DE" sz="750" dirty="0">
                  <a:solidFill>
                    <a:schemeClr val="bg1">
                      <a:lumMod val="50000"/>
                    </a:schemeClr>
                  </a:solidFill>
                  <a:latin typeface="Arial" panose="020B0604020202020204"/>
                  <a:cs typeface="Arial"/>
                </a:rPr>
                <a:t>BASF New Business</a:t>
              </a:r>
              <a:endParaRPr lang="de-AT" sz="750" dirty="0" err="1">
                <a:solidFill>
                  <a:schemeClr val="bg1">
                    <a:lumMod val="50000"/>
                  </a:schemeClr>
                </a:solidFill>
                <a:latin typeface="Arial" panose="020B0604020202020204"/>
                <a:cs typeface="Arial"/>
              </a:endParaRPr>
            </a:p>
          </p:txBody>
        </p:sp>
      </p:grpSp>
      <p:grpSp>
        <p:nvGrpSpPr>
          <p:cNvPr id="6" name="Group 5">
            <a:extLst>
              <a:ext uri="{FF2B5EF4-FFF2-40B4-BE49-F238E27FC236}">
                <a16:creationId xmlns:a16="http://schemas.microsoft.com/office/drawing/2014/main" id="{E2AE3985-25C2-9342-86F1-6B8636BA2BE3}"/>
              </a:ext>
            </a:extLst>
          </p:cNvPr>
          <p:cNvGrpSpPr/>
          <p:nvPr/>
        </p:nvGrpSpPr>
        <p:grpSpPr>
          <a:xfrm>
            <a:off x="570863" y="3900328"/>
            <a:ext cx="1796817" cy="694512"/>
            <a:chOff x="429299" y="3653070"/>
            <a:chExt cx="1429966" cy="453632"/>
          </a:xfrm>
        </p:grpSpPr>
        <p:pic>
          <p:nvPicPr>
            <p:cNvPr id="91" name="Grafik 63">
              <a:extLst>
                <a:ext uri="{FF2B5EF4-FFF2-40B4-BE49-F238E27FC236}">
                  <a16:creationId xmlns:a16="http://schemas.microsoft.com/office/drawing/2014/main" id="{F64BB914-6963-E94F-9DEA-4C0641794274}"/>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48696" y="3653070"/>
              <a:ext cx="1191172" cy="162064"/>
            </a:xfrm>
            <a:prstGeom prst="rect">
              <a:avLst/>
            </a:prstGeom>
          </p:spPr>
        </p:pic>
        <p:sp>
          <p:nvSpPr>
            <p:cNvPr id="92" name="Rechteck 82">
              <a:extLst>
                <a:ext uri="{FF2B5EF4-FFF2-40B4-BE49-F238E27FC236}">
                  <a16:creationId xmlns:a16="http://schemas.microsoft.com/office/drawing/2014/main" id="{17AF5687-9D30-9041-94FB-0802E9C46B19}"/>
                </a:ext>
              </a:extLst>
            </p:cNvPr>
            <p:cNvSpPr/>
            <p:nvPr/>
          </p:nvSpPr>
          <p:spPr>
            <a:xfrm>
              <a:off x="429299" y="3851889"/>
              <a:ext cx="1429966" cy="94986"/>
            </a:xfrm>
            <a:prstGeom prst="rect">
              <a:avLst/>
            </a:prstGeom>
          </p:spPr>
          <p:txBody>
            <a:bodyPr wrap="square" lIns="0" tIns="0" rIns="0" bIns="0">
              <a:spAutoFit/>
            </a:bodyPr>
            <a:lstStyle/>
            <a:p>
              <a:pPr algn="ctr">
                <a:lnSpc>
                  <a:spcPct val="90000"/>
                </a:lnSpc>
              </a:pPr>
              <a:r>
                <a:rPr lang="en-US" sz="1050" b="1" dirty="0">
                  <a:solidFill>
                    <a:schemeClr val="bg1">
                      <a:lumMod val="50000"/>
                    </a:schemeClr>
                  </a:solidFill>
                  <a:latin typeface="Arial" panose="020B0604020202020204"/>
                  <a:cs typeface="Arial"/>
                </a:rPr>
                <a:t>Agricultural Robotics (CH)</a:t>
              </a:r>
            </a:p>
          </p:txBody>
        </p:sp>
        <p:sp>
          <p:nvSpPr>
            <p:cNvPr id="98" name="Textfeld 72">
              <a:extLst>
                <a:ext uri="{FF2B5EF4-FFF2-40B4-BE49-F238E27FC236}">
                  <a16:creationId xmlns:a16="http://schemas.microsoft.com/office/drawing/2014/main" id="{3D5D3B1E-C6D8-8E44-BC68-6CE787A4D3AA}"/>
                </a:ext>
              </a:extLst>
            </p:cNvPr>
            <p:cNvSpPr txBox="1"/>
            <p:nvPr/>
          </p:nvSpPr>
          <p:spPr>
            <a:xfrm>
              <a:off x="670453" y="3991286"/>
              <a:ext cx="897682" cy="115416"/>
            </a:xfrm>
            <a:prstGeom prst="rect">
              <a:avLst/>
            </a:prstGeom>
            <a:noFill/>
          </p:spPr>
          <p:txBody>
            <a:bodyPr wrap="none" lIns="0" tIns="0" rIns="0" bIns="0" rtlCol="0">
              <a:spAutoFit/>
            </a:bodyPr>
            <a:lstStyle/>
            <a:p>
              <a:r>
                <a:rPr lang="en-US" sz="750" dirty="0">
                  <a:solidFill>
                    <a:schemeClr val="bg1">
                      <a:lumMod val="50000"/>
                    </a:schemeClr>
                  </a:solidFill>
                  <a:latin typeface="Arial" panose="020B0604020202020204"/>
                  <a:cs typeface="Arial"/>
                </a:rPr>
                <a:t>Agricultural</a:t>
              </a:r>
              <a:r>
                <a:rPr lang="de-DE" sz="750" dirty="0">
                  <a:solidFill>
                    <a:schemeClr val="bg1">
                      <a:lumMod val="50000"/>
                    </a:schemeClr>
                  </a:solidFill>
                  <a:latin typeface="Arial" panose="020B0604020202020204"/>
                  <a:cs typeface="Arial"/>
                </a:rPr>
                <a:t> Solutions</a:t>
              </a:r>
              <a:endParaRPr lang="de-AT" sz="750" dirty="0" err="1">
                <a:solidFill>
                  <a:schemeClr val="bg1">
                    <a:lumMod val="50000"/>
                  </a:schemeClr>
                </a:solidFill>
                <a:latin typeface="Arial" panose="020B0604020202020204"/>
                <a:cs typeface="Arial"/>
              </a:endParaRPr>
            </a:p>
          </p:txBody>
        </p:sp>
      </p:grpSp>
      <p:grpSp>
        <p:nvGrpSpPr>
          <p:cNvPr id="24" name="Group 23">
            <a:extLst>
              <a:ext uri="{FF2B5EF4-FFF2-40B4-BE49-F238E27FC236}">
                <a16:creationId xmlns:a16="http://schemas.microsoft.com/office/drawing/2014/main" id="{FC2AB999-5E32-CE4B-B599-D2F577468EAC}"/>
              </a:ext>
            </a:extLst>
          </p:cNvPr>
          <p:cNvGrpSpPr/>
          <p:nvPr/>
        </p:nvGrpSpPr>
        <p:grpSpPr>
          <a:xfrm>
            <a:off x="7415378" y="2471585"/>
            <a:ext cx="963405" cy="1029072"/>
            <a:chOff x="5904008" y="2238497"/>
            <a:chExt cx="963405" cy="1029072"/>
          </a:xfrm>
        </p:grpSpPr>
        <p:sp>
          <p:nvSpPr>
            <p:cNvPr id="68" name="Rechteck 39">
              <a:extLst>
                <a:ext uri="{FF2B5EF4-FFF2-40B4-BE49-F238E27FC236}">
                  <a16:creationId xmlns:a16="http://schemas.microsoft.com/office/drawing/2014/main" id="{B713BD99-08B9-FA44-A351-A0CD25FC2731}"/>
                </a:ext>
              </a:extLst>
            </p:cNvPr>
            <p:cNvSpPr/>
            <p:nvPr/>
          </p:nvSpPr>
          <p:spPr>
            <a:xfrm>
              <a:off x="5904008" y="2743091"/>
              <a:ext cx="963405" cy="290849"/>
            </a:xfrm>
            <a:prstGeom prst="rect">
              <a:avLst/>
            </a:prstGeom>
          </p:spPr>
          <p:txBody>
            <a:bodyPr wrap="none" lIns="0" tIns="0" rIns="0" bIns="0">
              <a:spAutoFit/>
            </a:bodyPr>
            <a:lstStyle/>
            <a:p>
              <a:pPr algn="ctr">
                <a:lnSpc>
                  <a:spcPct val="90000"/>
                </a:lnSpc>
              </a:pPr>
              <a:r>
                <a:rPr lang="en-US" sz="1050" b="1" dirty="0">
                  <a:solidFill>
                    <a:schemeClr val="bg1">
                      <a:lumMod val="50000"/>
                    </a:schemeClr>
                  </a:solidFill>
                  <a:latin typeface="Arial" panose="020B0604020202020204"/>
                  <a:cs typeface="Arial"/>
                </a:rPr>
                <a:t>Friction </a:t>
              </a:r>
            </a:p>
            <a:p>
              <a:pPr algn="ctr">
                <a:lnSpc>
                  <a:spcPct val="90000"/>
                </a:lnSpc>
              </a:pPr>
              <a:r>
                <a:rPr lang="en-US" sz="1050" b="1" dirty="0">
                  <a:solidFill>
                    <a:schemeClr val="bg1">
                      <a:lumMod val="50000"/>
                    </a:schemeClr>
                  </a:solidFill>
                  <a:latin typeface="Arial" panose="020B0604020202020204"/>
                  <a:cs typeface="Arial"/>
                </a:rPr>
                <a:t>Reduction (SE)</a:t>
              </a:r>
            </a:p>
          </p:txBody>
        </p:sp>
        <p:pic>
          <p:nvPicPr>
            <p:cNvPr id="74" name="Grafik 76">
              <a:extLst>
                <a:ext uri="{FF2B5EF4-FFF2-40B4-BE49-F238E27FC236}">
                  <a16:creationId xmlns:a16="http://schemas.microsoft.com/office/drawing/2014/main" id="{D81CFE9E-7F50-C447-8F9A-CEDDB1FB91E6}"/>
                </a:ext>
              </a:extLst>
            </p:cNvPr>
            <p:cNvPicPr>
              <a:picLocks noChangeAspect="1"/>
            </p:cNvPicPr>
            <p:nvPr/>
          </p:nvPicPr>
          <p:blipFill>
            <a:blip r:embed="rId12"/>
            <a:stretch>
              <a:fillRect/>
            </a:stretch>
          </p:blipFill>
          <p:spPr>
            <a:xfrm>
              <a:off x="6072524" y="2238497"/>
              <a:ext cx="626374" cy="441185"/>
            </a:xfrm>
            <a:prstGeom prst="rect">
              <a:avLst/>
            </a:prstGeom>
          </p:spPr>
        </p:pic>
        <p:sp>
          <p:nvSpPr>
            <p:cNvPr id="99" name="Textfeld 79">
              <a:extLst>
                <a:ext uri="{FF2B5EF4-FFF2-40B4-BE49-F238E27FC236}">
                  <a16:creationId xmlns:a16="http://schemas.microsoft.com/office/drawing/2014/main" id="{4B505F97-6038-3143-9161-A6E125CA5895}"/>
                </a:ext>
              </a:extLst>
            </p:cNvPr>
            <p:cNvSpPr txBox="1"/>
            <p:nvPr/>
          </p:nvSpPr>
          <p:spPr>
            <a:xfrm>
              <a:off x="5943281" y="3036737"/>
              <a:ext cx="884859" cy="230832"/>
            </a:xfrm>
            <a:prstGeom prst="rect">
              <a:avLst/>
            </a:prstGeom>
            <a:noFill/>
          </p:spPr>
          <p:txBody>
            <a:bodyPr wrap="none" lIns="0" tIns="0" rIns="0" bIns="0" rtlCol="0">
              <a:spAutoFit/>
            </a:bodyPr>
            <a:lstStyle/>
            <a:p>
              <a:pPr algn="ctr"/>
              <a:r>
                <a:rPr lang="de-DE" sz="750" dirty="0">
                  <a:solidFill>
                    <a:schemeClr val="bg1">
                      <a:lumMod val="50000"/>
                    </a:schemeClr>
                  </a:solidFill>
                  <a:latin typeface="Arial" panose="020B0604020202020204"/>
                  <a:cs typeface="Arial"/>
                </a:rPr>
                <a:t>BASF New Business</a:t>
              </a:r>
            </a:p>
            <a:p>
              <a:pPr algn="ctr"/>
              <a:r>
                <a:rPr lang="de-DE" sz="750" dirty="0">
                  <a:solidFill>
                    <a:schemeClr val="bg1">
                      <a:lumMod val="50000"/>
                    </a:schemeClr>
                  </a:solidFill>
                  <a:latin typeface="Arial" panose="020B0604020202020204"/>
                  <a:cs typeface="Arial"/>
                </a:rPr>
                <a:t>Coatings</a:t>
              </a:r>
              <a:endParaRPr lang="de-AT" sz="750" dirty="0" err="1">
                <a:solidFill>
                  <a:schemeClr val="bg1">
                    <a:lumMod val="50000"/>
                  </a:schemeClr>
                </a:solidFill>
                <a:latin typeface="Arial" panose="020B0604020202020204"/>
                <a:cs typeface="Arial"/>
              </a:endParaRPr>
            </a:p>
          </p:txBody>
        </p:sp>
      </p:grpSp>
      <p:grpSp>
        <p:nvGrpSpPr>
          <p:cNvPr id="22" name="Group 21">
            <a:extLst>
              <a:ext uri="{FF2B5EF4-FFF2-40B4-BE49-F238E27FC236}">
                <a16:creationId xmlns:a16="http://schemas.microsoft.com/office/drawing/2014/main" id="{3A16CFFC-EC04-D94A-B109-70C645867F7D}"/>
              </a:ext>
            </a:extLst>
          </p:cNvPr>
          <p:cNvGrpSpPr/>
          <p:nvPr/>
        </p:nvGrpSpPr>
        <p:grpSpPr>
          <a:xfrm>
            <a:off x="5404182" y="2479298"/>
            <a:ext cx="1611749" cy="752261"/>
            <a:chOff x="3852088" y="2273141"/>
            <a:chExt cx="1611749" cy="752261"/>
          </a:xfrm>
        </p:grpSpPr>
        <p:sp>
          <p:nvSpPr>
            <p:cNvPr id="70" name="Rechteck 44">
              <a:extLst>
                <a:ext uri="{FF2B5EF4-FFF2-40B4-BE49-F238E27FC236}">
                  <a16:creationId xmlns:a16="http://schemas.microsoft.com/office/drawing/2014/main" id="{024C45DE-C4BB-FD4A-9326-45CE3B0013FE}"/>
                </a:ext>
              </a:extLst>
            </p:cNvPr>
            <p:cNvSpPr/>
            <p:nvPr/>
          </p:nvSpPr>
          <p:spPr>
            <a:xfrm>
              <a:off x="3852088" y="2631261"/>
              <a:ext cx="1611749" cy="145424"/>
            </a:xfrm>
            <a:prstGeom prst="rect">
              <a:avLst/>
            </a:prstGeom>
          </p:spPr>
          <p:txBody>
            <a:bodyPr wrap="square" lIns="0" tIns="0" rIns="0" bIns="0">
              <a:spAutoFit/>
            </a:bodyPr>
            <a:lstStyle/>
            <a:p>
              <a:pPr algn="ctr">
                <a:lnSpc>
                  <a:spcPct val="90000"/>
                </a:lnSpc>
              </a:pPr>
              <a:r>
                <a:rPr lang="en-US" sz="1050" b="1" dirty="0">
                  <a:solidFill>
                    <a:schemeClr val="bg1">
                      <a:lumMod val="50000"/>
                    </a:schemeClr>
                  </a:solidFill>
                  <a:latin typeface="Arial" panose="020B0604020202020204"/>
                  <a:cs typeface="Arial"/>
                </a:rPr>
                <a:t>Oxidation Platform (US) </a:t>
              </a:r>
            </a:p>
          </p:txBody>
        </p:sp>
        <p:pic>
          <p:nvPicPr>
            <p:cNvPr id="73" name="Grafik 75">
              <a:extLst>
                <a:ext uri="{FF2B5EF4-FFF2-40B4-BE49-F238E27FC236}">
                  <a16:creationId xmlns:a16="http://schemas.microsoft.com/office/drawing/2014/main" id="{BD6B7421-A67E-6749-8F4B-964E6EA972B5}"/>
                </a:ext>
              </a:extLst>
            </p:cNvPr>
            <p:cNvPicPr>
              <a:picLocks noChangeAspect="1"/>
            </p:cNvPicPr>
            <p:nvPr/>
          </p:nvPicPr>
          <p:blipFill rotWithShape="1">
            <a:blip r:embed="rId13"/>
            <a:srcRect t="3807"/>
            <a:stretch/>
          </p:blipFill>
          <p:spPr>
            <a:xfrm>
              <a:off x="4437670" y="2273141"/>
              <a:ext cx="440585" cy="317451"/>
            </a:xfrm>
            <a:prstGeom prst="rect">
              <a:avLst/>
            </a:prstGeom>
          </p:spPr>
        </p:pic>
        <p:sp>
          <p:nvSpPr>
            <p:cNvPr id="100" name="Textfeld 81">
              <a:extLst>
                <a:ext uri="{FF2B5EF4-FFF2-40B4-BE49-F238E27FC236}">
                  <a16:creationId xmlns:a16="http://schemas.microsoft.com/office/drawing/2014/main" id="{26584024-FB10-684E-BFDC-0BB40795FDFD}"/>
                </a:ext>
              </a:extLst>
            </p:cNvPr>
            <p:cNvSpPr txBox="1"/>
            <p:nvPr/>
          </p:nvSpPr>
          <p:spPr>
            <a:xfrm>
              <a:off x="4100482" y="2794570"/>
              <a:ext cx="1114961" cy="230832"/>
            </a:xfrm>
            <a:prstGeom prst="rect">
              <a:avLst/>
            </a:prstGeom>
            <a:noFill/>
          </p:spPr>
          <p:txBody>
            <a:bodyPr wrap="square" lIns="0" tIns="0" rIns="0" bIns="0" rtlCol="0">
              <a:spAutoFit/>
            </a:bodyPr>
            <a:lstStyle>
              <a:defPPr>
                <a:defRPr lang="de-DE"/>
              </a:defPPr>
              <a:lvl1pPr algn="ctr">
                <a:defRPr sz="1000">
                  <a:solidFill>
                    <a:srgbClr val="004A96"/>
                  </a:solidFill>
                  <a:latin typeface="Arial" panose="020B0604020202020204"/>
                  <a:cs typeface="Arial"/>
                </a:defRPr>
              </a:lvl1pPr>
            </a:lstStyle>
            <a:p>
              <a:r>
                <a:rPr lang="de-DE" sz="750" dirty="0">
                  <a:solidFill>
                    <a:schemeClr val="bg1">
                      <a:lumMod val="50000"/>
                    </a:schemeClr>
                  </a:solidFill>
                </a:rPr>
                <a:t>Nutrition &amp; Health</a:t>
              </a:r>
            </a:p>
            <a:p>
              <a:r>
                <a:rPr lang="de-DE" sz="750" dirty="0">
                  <a:solidFill>
                    <a:schemeClr val="bg1">
                      <a:lumMod val="50000"/>
                    </a:schemeClr>
                  </a:solidFill>
                </a:rPr>
                <a:t>Intermediates</a:t>
              </a:r>
              <a:endParaRPr lang="de-AT" sz="750" dirty="0" err="1">
                <a:solidFill>
                  <a:schemeClr val="bg1">
                    <a:lumMod val="50000"/>
                  </a:schemeClr>
                </a:solidFill>
              </a:endParaRPr>
            </a:p>
          </p:txBody>
        </p:sp>
      </p:grpSp>
      <p:grpSp>
        <p:nvGrpSpPr>
          <p:cNvPr id="19" name="Group 18">
            <a:extLst>
              <a:ext uri="{FF2B5EF4-FFF2-40B4-BE49-F238E27FC236}">
                <a16:creationId xmlns:a16="http://schemas.microsoft.com/office/drawing/2014/main" id="{24F2414F-4EA4-964D-89FF-3868AAD96880}"/>
              </a:ext>
            </a:extLst>
          </p:cNvPr>
          <p:cNvGrpSpPr/>
          <p:nvPr/>
        </p:nvGrpSpPr>
        <p:grpSpPr>
          <a:xfrm>
            <a:off x="5542376" y="5175099"/>
            <a:ext cx="1310263" cy="823947"/>
            <a:chOff x="4002831" y="4461347"/>
            <a:chExt cx="1310263" cy="823947"/>
          </a:xfrm>
        </p:grpSpPr>
        <p:pic>
          <p:nvPicPr>
            <p:cNvPr id="86" name="Grafik 12">
              <a:extLst>
                <a:ext uri="{FF2B5EF4-FFF2-40B4-BE49-F238E27FC236}">
                  <a16:creationId xmlns:a16="http://schemas.microsoft.com/office/drawing/2014/main" id="{C0255B80-57FA-AA4B-81B5-07FB8125FFFA}"/>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4402145" y="4461347"/>
              <a:ext cx="511636" cy="377758"/>
            </a:xfrm>
            <a:prstGeom prst="rect">
              <a:avLst/>
            </a:prstGeom>
          </p:spPr>
        </p:pic>
        <p:sp>
          <p:nvSpPr>
            <p:cNvPr id="88" name="Rechteck 53">
              <a:extLst>
                <a:ext uri="{FF2B5EF4-FFF2-40B4-BE49-F238E27FC236}">
                  <a16:creationId xmlns:a16="http://schemas.microsoft.com/office/drawing/2014/main" id="{1E9DB62D-7BA7-C140-B510-97FD87EB0EF8}"/>
                </a:ext>
              </a:extLst>
            </p:cNvPr>
            <p:cNvSpPr/>
            <p:nvPr/>
          </p:nvSpPr>
          <p:spPr>
            <a:xfrm>
              <a:off x="4002831" y="4879328"/>
              <a:ext cx="1310263" cy="290849"/>
            </a:xfrm>
            <a:prstGeom prst="rect">
              <a:avLst/>
            </a:prstGeom>
          </p:spPr>
          <p:txBody>
            <a:bodyPr wrap="square" lIns="0" tIns="0" rIns="0" bIns="0">
              <a:spAutoFit/>
            </a:bodyPr>
            <a:lstStyle/>
            <a:p>
              <a:pPr algn="ctr">
                <a:lnSpc>
                  <a:spcPct val="90000"/>
                </a:lnSpc>
              </a:pPr>
              <a:r>
                <a:rPr lang="en-US" sz="1050" b="1" dirty="0">
                  <a:solidFill>
                    <a:schemeClr val="bg1">
                      <a:lumMod val="50000"/>
                    </a:schemeClr>
                  </a:solidFill>
                  <a:latin typeface="Arial" panose="020B0604020202020204" pitchFamily="34" charset="0"/>
                  <a:cs typeface="Arial" panose="020B0604020202020204" pitchFamily="34" charset="0"/>
                </a:rPr>
                <a:t>Milk-Protein based Polymers (FR) </a:t>
              </a:r>
            </a:p>
          </p:txBody>
        </p:sp>
        <p:sp>
          <p:nvSpPr>
            <p:cNvPr id="101" name="Textfeld 84">
              <a:extLst>
                <a:ext uri="{FF2B5EF4-FFF2-40B4-BE49-F238E27FC236}">
                  <a16:creationId xmlns:a16="http://schemas.microsoft.com/office/drawing/2014/main" id="{1DE61793-AA55-4449-9156-D5DE57355D33}"/>
                </a:ext>
              </a:extLst>
            </p:cNvPr>
            <p:cNvSpPr txBox="1"/>
            <p:nvPr/>
          </p:nvSpPr>
          <p:spPr>
            <a:xfrm>
              <a:off x="4316523" y="5169878"/>
              <a:ext cx="679673" cy="115416"/>
            </a:xfrm>
            <a:prstGeom prst="rect">
              <a:avLst/>
            </a:prstGeom>
            <a:noFill/>
          </p:spPr>
          <p:txBody>
            <a:bodyPr wrap="none" lIns="0" tIns="0" rIns="0" bIns="0" rtlCol="0">
              <a:spAutoFit/>
            </a:bodyPr>
            <a:lstStyle/>
            <a:p>
              <a:r>
                <a:rPr lang="de-DE" sz="750" dirty="0">
                  <a:solidFill>
                    <a:schemeClr val="bg1">
                      <a:lumMod val="50000"/>
                    </a:schemeClr>
                  </a:solidFill>
                  <a:latin typeface="Arial" panose="020B0604020202020204"/>
                  <a:cs typeface="Arial"/>
                </a:rPr>
                <a:t>Care Chemicals</a:t>
              </a:r>
              <a:endParaRPr lang="de-AT" sz="750" dirty="0" err="1">
                <a:solidFill>
                  <a:schemeClr val="bg1">
                    <a:lumMod val="50000"/>
                  </a:schemeClr>
                </a:solidFill>
                <a:latin typeface="Arial" panose="020B0604020202020204"/>
                <a:cs typeface="Arial"/>
              </a:endParaRPr>
            </a:p>
          </p:txBody>
        </p:sp>
      </p:grpSp>
      <p:grpSp>
        <p:nvGrpSpPr>
          <p:cNvPr id="18" name="Group 17">
            <a:extLst>
              <a:ext uri="{FF2B5EF4-FFF2-40B4-BE49-F238E27FC236}">
                <a16:creationId xmlns:a16="http://schemas.microsoft.com/office/drawing/2014/main" id="{FD1D0CB2-EDEE-7A46-8E33-D37E8F67BE13}"/>
              </a:ext>
            </a:extLst>
          </p:cNvPr>
          <p:cNvGrpSpPr/>
          <p:nvPr/>
        </p:nvGrpSpPr>
        <p:grpSpPr>
          <a:xfrm>
            <a:off x="2748842" y="2516152"/>
            <a:ext cx="1844727" cy="1243582"/>
            <a:chOff x="2264451" y="2577057"/>
            <a:chExt cx="1234231" cy="896937"/>
          </a:xfrm>
        </p:grpSpPr>
        <p:pic>
          <p:nvPicPr>
            <p:cNvPr id="102" name="Grafik 15">
              <a:extLst>
                <a:ext uri="{FF2B5EF4-FFF2-40B4-BE49-F238E27FC236}">
                  <a16:creationId xmlns:a16="http://schemas.microsoft.com/office/drawing/2014/main" id="{78FF372F-52BC-F34D-999B-B435BEDA7CF2}"/>
                </a:ext>
              </a:extLst>
            </p:cNvPr>
            <p:cNvPicPr>
              <a:picLocks noChangeAspect="1"/>
            </p:cNvPicPr>
            <p:nvPr/>
          </p:nvPicPr>
          <p:blipFill rotWithShape="1">
            <a:blip r:embed="rId15">
              <a:extLst>
                <a:ext uri="{BEBA8EAE-BF5A-486C-A8C5-ECC9F3942E4B}">
                  <a14:imgProps xmlns:a14="http://schemas.microsoft.com/office/drawing/2010/main">
                    <a14:imgLayer r:embed="rId16">
                      <a14:imgEffect>
                        <a14:brightnessContrast bright="-1000"/>
                      </a14:imgEffect>
                    </a14:imgLayer>
                  </a14:imgProps>
                </a:ext>
                <a:ext uri="{28A0092B-C50C-407E-A947-70E740481C1C}">
                  <a14:useLocalDpi xmlns:a14="http://schemas.microsoft.com/office/drawing/2010/main" val="0"/>
                </a:ext>
              </a:extLst>
            </a:blip>
            <a:srcRect l="8746" t="5887" r="8848" b="14504"/>
            <a:stretch/>
          </p:blipFill>
          <p:spPr>
            <a:xfrm>
              <a:off x="2627249" y="2577057"/>
              <a:ext cx="508635" cy="491369"/>
            </a:xfrm>
            <a:prstGeom prst="rect">
              <a:avLst/>
            </a:prstGeom>
          </p:spPr>
        </p:pic>
        <p:sp>
          <p:nvSpPr>
            <p:cNvPr id="103" name="Rechteck 85">
              <a:extLst>
                <a:ext uri="{FF2B5EF4-FFF2-40B4-BE49-F238E27FC236}">
                  <a16:creationId xmlns:a16="http://schemas.microsoft.com/office/drawing/2014/main" id="{7BBD6144-95ED-5D4B-ADF5-A2CF7DB76F11}"/>
                </a:ext>
              </a:extLst>
            </p:cNvPr>
            <p:cNvSpPr/>
            <p:nvPr/>
          </p:nvSpPr>
          <p:spPr>
            <a:xfrm>
              <a:off x="2264451" y="3120644"/>
              <a:ext cx="1234231" cy="209776"/>
            </a:xfrm>
            <a:prstGeom prst="rect">
              <a:avLst/>
            </a:prstGeom>
          </p:spPr>
          <p:txBody>
            <a:bodyPr wrap="square" lIns="0" tIns="0" rIns="0" bIns="0">
              <a:spAutoFit/>
            </a:bodyPr>
            <a:lstStyle/>
            <a:p>
              <a:pPr algn="ctr">
                <a:lnSpc>
                  <a:spcPct val="90000"/>
                </a:lnSpc>
              </a:pPr>
              <a:r>
                <a:rPr lang="zh-CN" altLang="en-US" sz="1050" b="1" dirty="0">
                  <a:solidFill>
                    <a:srgbClr val="004A96"/>
                  </a:solidFill>
                  <a:latin typeface="楷体" panose="02010609060101010101" pitchFamily="49" charset="-122"/>
                  <a:ea typeface="楷体" panose="02010609060101010101" pitchFamily="49" charset="-122"/>
                  <a:cs typeface="Arial"/>
                </a:rPr>
                <a:t>光固化</a:t>
              </a:r>
              <a:r>
                <a:rPr lang="en-US" altLang="zh-CN" sz="1050" b="1" dirty="0">
                  <a:solidFill>
                    <a:srgbClr val="004A96"/>
                  </a:solidFill>
                  <a:latin typeface="楷体" panose="02010609060101010101" pitchFamily="49" charset="-122"/>
                  <a:ea typeface="楷体" panose="02010609060101010101" pitchFamily="49" charset="-122"/>
                  <a:cs typeface="Arial"/>
                </a:rPr>
                <a:t>3D</a:t>
              </a:r>
              <a:r>
                <a:rPr lang="zh-CN" altLang="en-US" sz="1050" b="1" dirty="0">
                  <a:solidFill>
                    <a:srgbClr val="004A96"/>
                  </a:solidFill>
                  <a:latin typeface="楷体" panose="02010609060101010101" pitchFamily="49" charset="-122"/>
                  <a:ea typeface="楷体" panose="02010609060101010101" pitchFamily="49" charset="-122"/>
                  <a:cs typeface="Arial"/>
                </a:rPr>
                <a:t>打印</a:t>
              </a:r>
              <a:endParaRPr lang="en-US" altLang="zh-CN" sz="1050" b="1" dirty="0">
                <a:solidFill>
                  <a:srgbClr val="004A96"/>
                </a:solidFill>
                <a:latin typeface="楷体" panose="02010609060101010101" pitchFamily="49" charset="-122"/>
                <a:ea typeface="楷体" panose="02010609060101010101" pitchFamily="49" charset="-122"/>
                <a:cs typeface="Arial"/>
              </a:endParaRPr>
            </a:p>
            <a:p>
              <a:pPr algn="ctr">
                <a:lnSpc>
                  <a:spcPct val="90000"/>
                </a:lnSpc>
              </a:pPr>
              <a:r>
                <a:rPr lang="en-US" altLang="zh-CN" sz="1050" b="1" dirty="0">
                  <a:solidFill>
                    <a:srgbClr val="004A96"/>
                  </a:solidFill>
                  <a:latin typeface="楷体" panose="02010609060101010101" pitchFamily="49" charset="-122"/>
                  <a:ea typeface="楷体" panose="02010609060101010101" pitchFamily="49" charset="-122"/>
                  <a:cs typeface="Arial"/>
                </a:rPr>
                <a:t>(</a:t>
              </a:r>
              <a:r>
                <a:rPr lang="zh-CN" altLang="en-US" sz="1050" b="1" dirty="0">
                  <a:solidFill>
                    <a:srgbClr val="004A96"/>
                  </a:solidFill>
                  <a:latin typeface="楷体" panose="02010609060101010101" pitchFamily="49" charset="-122"/>
                  <a:ea typeface="楷体" panose="02010609060101010101" pitchFamily="49" charset="-122"/>
                  <a:cs typeface="Arial"/>
                </a:rPr>
                <a:t>中国上海</a:t>
              </a:r>
              <a:r>
                <a:rPr lang="en-US" sz="1050" b="1" dirty="0">
                  <a:solidFill>
                    <a:srgbClr val="004A96"/>
                  </a:solidFill>
                  <a:latin typeface="楷体" panose="02010609060101010101" pitchFamily="49" charset="-122"/>
                  <a:ea typeface="楷体" panose="02010609060101010101" pitchFamily="49" charset="-122"/>
                  <a:cs typeface="Arial"/>
                </a:rPr>
                <a:t>) </a:t>
              </a:r>
            </a:p>
          </p:txBody>
        </p:sp>
        <p:sp>
          <p:nvSpPr>
            <p:cNvPr id="104" name="Textfeld 87">
              <a:extLst>
                <a:ext uri="{FF2B5EF4-FFF2-40B4-BE49-F238E27FC236}">
                  <a16:creationId xmlns:a16="http://schemas.microsoft.com/office/drawing/2014/main" id="{F41FC408-6D28-1142-A8D1-754BA63CC390}"/>
                </a:ext>
              </a:extLst>
            </p:cNvPr>
            <p:cNvSpPr txBox="1"/>
            <p:nvPr/>
          </p:nvSpPr>
          <p:spPr>
            <a:xfrm>
              <a:off x="2591990" y="3390750"/>
              <a:ext cx="579152" cy="83244"/>
            </a:xfrm>
            <a:prstGeom prst="rect">
              <a:avLst/>
            </a:prstGeom>
            <a:noFill/>
          </p:spPr>
          <p:txBody>
            <a:bodyPr wrap="none" lIns="0" tIns="0" rIns="0" bIns="0" rtlCol="0">
              <a:spAutoFit/>
            </a:bodyPr>
            <a:lstStyle/>
            <a:p>
              <a:r>
                <a:rPr lang="zh-CN" altLang="en-US" sz="750" dirty="0">
                  <a:solidFill>
                    <a:srgbClr val="004A96"/>
                  </a:solidFill>
                  <a:latin typeface="楷体" panose="02010609060101010101" pitchFamily="49" charset="-122"/>
                  <a:ea typeface="楷体" panose="02010609060101010101" pitchFamily="49" charset="-122"/>
                  <a:cs typeface="Arial"/>
                </a:rPr>
                <a:t>巴斯夫创新商业模式</a:t>
              </a:r>
              <a:endParaRPr lang="de-AT" sz="750" dirty="0" err="1">
                <a:solidFill>
                  <a:srgbClr val="004A96"/>
                </a:solidFill>
                <a:latin typeface="楷体" panose="02010609060101010101" pitchFamily="49" charset="-122"/>
                <a:ea typeface="楷体" panose="02010609060101010101" pitchFamily="49" charset="-122"/>
                <a:cs typeface="Arial"/>
              </a:endParaRPr>
            </a:p>
          </p:txBody>
        </p:sp>
      </p:grpSp>
      <p:grpSp>
        <p:nvGrpSpPr>
          <p:cNvPr id="30" name="Group 29">
            <a:extLst>
              <a:ext uri="{FF2B5EF4-FFF2-40B4-BE49-F238E27FC236}">
                <a16:creationId xmlns:a16="http://schemas.microsoft.com/office/drawing/2014/main" id="{3D0B5686-C03E-7645-8631-52E9E56EE36B}"/>
              </a:ext>
            </a:extLst>
          </p:cNvPr>
          <p:cNvGrpSpPr/>
          <p:nvPr/>
        </p:nvGrpSpPr>
        <p:grpSpPr>
          <a:xfrm>
            <a:off x="9840507" y="2221715"/>
            <a:ext cx="1407437" cy="750052"/>
            <a:chOff x="7486748" y="2378025"/>
            <a:chExt cx="1407437" cy="750052"/>
          </a:xfrm>
        </p:grpSpPr>
        <p:pic>
          <p:nvPicPr>
            <p:cNvPr id="93" name="Grafik 65">
              <a:extLst>
                <a:ext uri="{FF2B5EF4-FFF2-40B4-BE49-F238E27FC236}">
                  <a16:creationId xmlns:a16="http://schemas.microsoft.com/office/drawing/2014/main" id="{F716881A-E74D-7A49-BBD8-896525728EDB}"/>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7686991" y="2378025"/>
              <a:ext cx="888995" cy="229477"/>
            </a:xfrm>
            <a:prstGeom prst="rect">
              <a:avLst/>
            </a:prstGeom>
          </p:spPr>
        </p:pic>
        <p:sp>
          <p:nvSpPr>
            <p:cNvPr id="94" name="Rechteck 67">
              <a:extLst>
                <a:ext uri="{FF2B5EF4-FFF2-40B4-BE49-F238E27FC236}">
                  <a16:creationId xmlns:a16="http://schemas.microsoft.com/office/drawing/2014/main" id="{3467054B-2688-6F4D-8060-AABEE534551B}"/>
                </a:ext>
              </a:extLst>
            </p:cNvPr>
            <p:cNvSpPr/>
            <p:nvPr/>
          </p:nvSpPr>
          <p:spPr>
            <a:xfrm>
              <a:off x="7574109" y="2687983"/>
              <a:ext cx="1219555" cy="290849"/>
            </a:xfrm>
            <a:prstGeom prst="rect">
              <a:avLst/>
            </a:prstGeom>
          </p:spPr>
          <p:txBody>
            <a:bodyPr wrap="square" lIns="0" tIns="0" rIns="0" bIns="0">
              <a:spAutoFit/>
            </a:bodyPr>
            <a:lstStyle/>
            <a:p>
              <a:pPr algn="ctr">
                <a:lnSpc>
                  <a:spcPct val="90000"/>
                </a:lnSpc>
              </a:pPr>
              <a:r>
                <a:rPr lang="en-US" sz="1050" b="1" dirty="0">
                  <a:solidFill>
                    <a:schemeClr val="bg1">
                      <a:lumMod val="50000"/>
                    </a:schemeClr>
                  </a:solidFill>
                  <a:latin typeface="Arial" panose="020B0604020202020204"/>
                  <a:cs typeface="Arial"/>
                </a:rPr>
                <a:t>Gas-f</a:t>
              </a:r>
              <a:r>
                <a:rPr lang="en-US" sz="1050" b="1" dirty="0">
                  <a:solidFill>
                    <a:schemeClr val="bg1">
                      <a:lumMod val="50000"/>
                    </a:schemeClr>
                  </a:solidFill>
                </a:rPr>
                <a:t>ermented</a:t>
              </a:r>
              <a:endParaRPr lang="en-US" sz="1050" b="1" baseline="-25000" dirty="0">
                <a:solidFill>
                  <a:schemeClr val="bg1">
                    <a:lumMod val="50000"/>
                  </a:schemeClr>
                </a:solidFill>
                <a:latin typeface="Arial" panose="020B0604020202020204"/>
                <a:cs typeface="Arial"/>
              </a:endParaRPr>
            </a:p>
            <a:p>
              <a:pPr algn="ctr">
                <a:lnSpc>
                  <a:spcPct val="90000"/>
                </a:lnSpc>
              </a:pPr>
              <a:r>
                <a:rPr lang="en-US" sz="1050" b="1" dirty="0">
                  <a:solidFill>
                    <a:schemeClr val="bg1">
                      <a:lumMod val="50000"/>
                    </a:schemeClr>
                  </a:solidFill>
                  <a:latin typeface="Arial" panose="020B0604020202020204"/>
                  <a:cs typeface="Arial"/>
                </a:rPr>
                <a:t>Biochemicals (NZ)</a:t>
              </a:r>
            </a:p>
          </p:txBody>
        </p:sp>
        <p:sp>
          <p:nvSpPr>
            <p:cNvPr id="106" name="Textfeld 88">
              <a:extLst>
                <a:ext uri="{FF2B5EF4-FFF2-40B4-BE49-F238E27FC236}">
                  <a16:creationId xmlns:a16="http://schemas.microsoft.com/office/drawing/2014/main" id="{37005E43-FF12-B045-B503-95F497CE256D}"/>
                </a:ext>
              </a:extLst>
            </p:cNvPr>
            <p:cNvSpPr txBox="1"/>
            <p:nvPr/>
          </p:nvSpPr>
          <p:spPr>
            <a:xfrm>
              <a:off x="7486748" y="3012661"/>
              <a:ext cx="1407437" cy="115416"/>
            </a:xfrm>
            <a:prstGeom prst="rect">
              <a:avLst/>
            </a:prstGeom>
            <a:noFill/>
          </p:spPr>
          <p:txBody>
            <a:bodyPr wrap="none" lIns="0" tIns="0" rIns="0" bIns="0" rtlCol="0">
              <a:spAutoFit/>
            </a:bodyPr>
            <a:lstStyle/>
            <a:p>
              <a:r>
                <a:rPr lang="de-DE" sz="750" dirty="0" err="1">
                  <a:solidFill>
                    <a:schemeClr val="bg1">
                      <a:lumMod val="50000"/>
                    </a:schemeClr>
                  </a:solidFill>
                  <a:latin typeface="Arial" panose="020B0604020202020204"/>
                  <a:cs typeface="Arial"/>
                </a:rPr>
                <a:t>Process</a:t>
              </a:r>
              <a:r>
                <a:rPr lang="de-DE" sz="750" dirty="0">
                  <a:solidFill>
                    <a:schemeClr val="bg1">
                      <a:lumMod val="50000"/>
                    </a:schemeClr>
                  </a:solidFill>
                  <a:latin typeface="Arial" panose="020B0604020202020204"/>
                  <a:cs typeface="Arial"/>
                </a:rPr>
                <a:t> Research &amp; Chem. Eng.</a:t>
              </a:r>
              <a:endParaRPr lang="de-AT" sz="750" dirty="0" err="1">
                <a:solidFill>
                  <a:schemeClr val="bg1">
                    <a:lumMod val="50000"/>
                  </a:schemeClr>
                </a:solidFill>
                <a:latin typeface="Arial" panose="020B0604020202020204"/>
                <a:cs typeface="Arial"/>
              </a:endParaRPr>
            </a:p>
          </p:txBody>
        </p:sp>
      </p:grpSp>
      <p:grpSp>
        <p:nvGrpSpPr>
          <p:cNvPr id="20" name="Group 19">
            <a:extLst>
              <a:ext uri="{FF2B5EF4-FFF2-40B4-BE49-F238E27FC236}">
                <a16:creationId xmlns:a16="http://schemas.microsoft.com/office/drawing/2014/main" id="{E02E1198-3A73-CB49-B4C6-09D414CDCABF}"/>
              </a:ext>
            </a:extLst>
          </p:cNvPr>
          <p:cNvGrpSpPr/>
          <p:nvPr/>
        </p:nvGrpSpPr>
        <p:grpSpPr>
          <a:xfrm>
            <a:off x="5510330" y="3758674"/>
            <a:ext cx="1510349" cy="952639"/>
            <a:chOff x="3902788" y="3303644"/>
            <a:chExt cx="1510349" cy="952639"/>
          </a:xfrm>
        </p:grpSpPr>
        <p:sp>
          <p:nvSpPr>
            <p:cNvPr id="69" name="Rechteck 41">
              <a:extLst>
                <a:ext uri="{FF2B5EF4-FFF2-40B4-BE49-F238E27FC236}">
                  <a16:creationId xmlns:a16="http://schemas.microsoft.com/office/drawing/2014/main" id="{879DCE0B-5B26-294B-9FF7-17259154E985}"/>
                </a:ext>
              </a:extLst>
            </p:cNvPr>
            <p:cNvSpPr/>
            <p:nvPr/>
          </p:nvSpPr>
          <p:spPr>
            <a:xfrm>
              <a:off x="3902788" y="3740798"/>
              <a:ext cx="1510349" cy="290849"/>
            </a:xfrm>
            <a:prstGeom prst="rect">
              <a:avLst/>
            </a:prstGeom>
          </p:spPr>
          <p:txBody>
            <a:bodyPr wrap="square" lIns="0" tIns="0" rIns="0" bIns="0">
              <a:spAutoFit/>
            </a:bodyPr>
            <a:lstStyle/>
            <a:p>
              <a:pPr algn="ctr">
                <a:lnSpc>
                  <a:spcPct val="90000"/>
                </a:lnSpc>
              </a:pPr>
              <a:r>
                <a:rPr lang="en-US" sz="1050" b="1" dirty="0">
                  <a:solidFill>
                    <a:schemeClr val="bg1">
                      <a:lumMod val="50000"/>
                    </a:schemeClr>
                  </a:solidFill>
                  <a:latin typeface="Arial" panose="020B0604020202020204"/>
                  <a:cs typeface="Arial"/>
                </a:rPr>
                <a:t>Wettability Solutions (US) </a:t>
              </a:r>
            </a:p>
          </p:txBody>
        </p:sp>
        <p:pic>
          <p:nvPicPr>
            <p:cNvPr id="80" name="Grafik 77">
              <a:extLst>
                <a:ext uri="{FF2B5EF4-FFF2-40B4-BE49-F238E27FC236}">
                  <a16:creationId xmlns:a16="http://schemas.microsoft.com/office/drawing/2014/main" id="{D3F2AB16-233D-5241-AD2F-7929514D7E88}"/>
                </a:ext>
              </a:extLst>
            </p:cNvPr>
            <p:cNvPicPr>
              <a:picLocks noChangeAspect="1"/>
            </p:cNvPicPr>
            <p:nvPr/>
          </p:nvPicPr>
          <p:blipFill rotWithShape="1">
            <a:blip r:embed="rId18"/>
            <a:srcRect t="11026" b="12133"/>
            <a:stretch/>
          </p:blipFill>
          <p:spPr>
            <a:xfrm>
              <a:off x="4235301" y="3303644"/>
              <a:ext cx="845322" cy="401545"/>
            </a:xfrm>
            <a:prstGeom prst="rect">
              <a:avLst/>
            </a:prstGeom>
          </p:spPr>
        </p:pic>
        <p:sp>
          <p:nvSpPr>
            <p:cNvPr id="107" name="Textfeld 89">
              <a:extLst>
                <a:ext uri="{FF2B5EF4-FFF2-40B4-BE49-F238E27FC236}">
                  <a16:creationId xmlns:a16="http://schemas.microsoft.com/office/drawing/2014/main" id="{BA06E36D-1CFE-8F42-B4E1-203DCAC84903}"/>
                </a:ext>
              </a:extLst>
            </p:cNvPr>
            <p:cNvSpPr txBox="1"/>
            <p:nvPr/>
          </p:nvSpPr>
          <p:spPr>
            <a:xfrm>
              <a:off x="4149410" y="4025451"/>
              <a:ext cx="1017105" cy="230832"/>
            </a:xfrm>
            <a:prstGeom prst="rect">
              <a:avLst/>
            </a:prstGeom>
            <a:noFill/>
          </p:spPr>
          <p:txBody>
            <a:bodyPr wrap="square" lIns="0" tIns="0" rIns="0" bIns="0" rtlCol="0">
              <a:spAutoFit/>
            </a:bodyPr>
            <a:lstStyle/>
            <a:p>
              <a:r>
                <a:rPr lang="de-DE" sz="750" dirty="0">
                  <a:solidFill>
                    <a:schemeClr val="bg1">
                      <a:lumMod val="50000"/>
                    </a:schemeClr>
                  </a:solidFill>
                  <a:latin typeface="Arial" panose="020B0604020202020204"/>
                  <a:cs typeface="Arial"/>
                </a:rPr>
                <a:t>Performance Materials</a:t>
              </a:r>
            </a:p>
            <a:p>
              <a:r>
                <a:rPr lang="de-DE" sz="750" dirty="0" err="1">
                  <a:solidFill>
                    <a:schemeClr val="bg1">
                      <a:lumMod val="50000"/>
                    </a:schemeClr>
                  </a:solidFill>
                  <a:latin typeface="Arial" panose="020B0604020202020204"/>
                  <a:cs typeface="Arial"/>
                </a:rPr>
                <a:t>Dispersions</a:t>
              </a:r>
              <a:r>
                <a:rPr lang="de-DE" sz="750" dirty="0">
                  <a:solidFill>
                    <a:schemeClr val="bg1">
                      <a:lumMod val="50000"/>
                    </a:schemeClr>
                  </a:solidFill>
                  <a:latin typeface="Arial" panose="020B0604020202020204"/>
                  <a:cs typeface="Arial"/>
                </a:rPr>
                <a:t> &amp; Pigments</a:t>
              </a:r>
              <a:endParaRPr lang="de-AT" sz="750" dirty="0" err="1">
                <a:solidFill>
                  <a:schemeClr val="bg1">
                    <a:lumMod val="50000"/>
                  </a:schemeClr>
                </a:solidFill>
                <a:latin typeface="Arial" panose="020B0604020202020204"/>
                <a:cs typeface="Arial"/>
              </a:endParaRPr>
            </a:p>
          </p:txBody>
        </p:sp>
      </p:grpSp>
      <p:grpSp>
        <p:nvGrpSpPr>
          <p:cNvPr id="32" name="Group 31">
            <a:extLst>
              <a:ext uri="{FF2B5EF4-FFF2-40B4-BE49-F238E27FC236}">
                <a16:creationId xmlns:a16="http://schemas.microsoft.com/office/drawing/2014/main" id="{569DEF20-6CC1-7942-8625-6C0E4375FF2F}"/>
              </a:ext>
            </a:extLst>
          </p:cNvPr>
          <p:cNvGrpSpPr/>
          <p:nvPr/>
        </p:nvGrpSpPr>
        <p:grpSpPr>
          <a:xfrm>
            <a:off x="9721042" y="4414101"/>
            <a:ext cx="1497055" cy="820844"/>
            <a:chOff x="7407694" y="4782269"/>
            <a:chExt cx="1497055" cy="820844"/>
          </a:xfrm>
        </p:grpSpPr>
        <p:pic>
          <p:nvPicPr>
            <p:cNvPr id="105" name="Grafik 23">
              <a:extLst>
                <a:ext uri="{FF2B5EF4-FFF2-40B4-BE49-F238E27FC236}">
                  <a16:creationId xmlns:a16="http://schemas.microsoft.com/office/drawing/2014/main" id="{D8310E30-7A7C-5346-AC24-E60B06B822BF}"/>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7407694" y="4782269"/>
              <a:ext cx="1497055" cy="499019"/>
            </a:xfrm>
            <a:prstGeom prst="rect">
              <a:avLst/>
            </a:prstGeom>
          </p:spPr>
        </p:pic>
        <p:sp>
          <p:nvSpPr>
            <p:cNvPr id="109" name="Rechteck 91">
              <a:extLst>
                <a:ext uri="{FF2B5EF4-FFF2-40B4-BE49-F238E27FC236}">
                  <a16:creationId xmlns:a16="http://schemas.microsoft.com/office/drawing/2014/main" id="{900D2E56-862F-094B-B817-C33F860DB4B8}"/>
                </a:ext>
              </a:extLst>
            </p:cNvPr>
            <p:cNvSpPr/>
            <p:nvPr/>
          </p:nvSpPr>
          <p:spPr>
            <a:xfrm>
              <a:off x="7539217" y="5312264"/>
              <a:ext cx="1219281" cy="290849"/>
            </a:xfrm>
            <a:prstGeom prst="rect">
              <a:avLst/>
            </a:prstGeom>
          </p:spPr>
          <p:txBody>
            <a:bodyPr wrap="square" lIns="0" tIns="0" rIns="0" bIns="0">
              <a:spAutoFit/>
            </a:bodyPr>
            <a:lstStyle/>
            <a:p>
              <a:pPr algn="ctr">
                <a:lnSpc>
                  <a:spcPct val="90000"/>
                </a:lnSpc>
              </a:pPr>
              <a:r>
                <a:rPr lang="zh-CN" altLang="en-US" sz="1050" b="1" dirty="0">
                  <a:solidFill>
                    <a:srgbClr val="004A96"/>
                  </a:solidFill>
                  <a:latin typeface="楷体" panose="02010609060101010101" pitchFamily="49" charset="-122"/>
                  <a:ea typeface="楷体" panose="02010609060101010101" pitchFamily="49" charset="-122"/>
                  <a:cs typeface="Arial"/>
                </a:rPr>
                <a:t>早期新材料基金</a:t>
              </a:r>
              <a:endParaRPr lang="en-US" altLang="zh-CN" sz="1050" b="1" dirty="0">
                <a:solidFill>
                  <a:srgbClr val="004A96"/>
                </a:solidFill>
                <a:latin typeface="楷体" panose="02010609060101010101" pitchFamily="49" charset="-122"/>
                <a:ea typeface="楷体" panose="02010609060101010101" pitchFamily="49" charset="-122"/>
                <a:cs typeface="Arial"/>
              </a:endParaRPr>
            </a:p>
            <a:p>
              <a:pPr algn="ctr">
                <a:lnSpc>
                  <a:spcPct val="90000"/>
                </a:lnSpc>
              </a:pPr>
              <a:r>
                <a:rPr lang="en-US" sz="1050" b="1" dirty="0">
                  <a:solidFill>
                    <a:srgbClr val="004A96"/>
                  </a:solidFill>
                  <a:latin typeface="楷体" panose="02010609060101010101" pitchFamily="49" charset="-122"/>
                  <a:ea typeface="楷体" panose="02010609060101010101" pitchFamily="49" charset="-122"/>
                  <a:cs typeface="Arial"/>
                </a:rPr>
                <a:t>(</a:t>
              </a:r>
              <a:r>
                <a:rPr lang="zh-CN" altLang="en-US" sz="1050" b="1" dirty="0">
                  <a:solidFill>
                    <a:srgbClr val="004A96"/>
                  </a:solidFill>
                  <a:latin typeface="楷体" panose="02010609060101010101" pitchFamily="49" charset="-122"/>
                  <a:ea typeface="楷体" panose="02010609060101010101" pitchFamily="49" charset="-122"/>
                  <a:cs typeface="Arial"/>
                </a:rPr>
                <a:t>中国上海</a:t>
              </a:r>
              <a:r>
                <a:rPr lang="en-US" sz="1050" b="1" dirty="0">
                  <a:solidFill>
                    <a:srgbClr val="004A96"/>
                  </a:solidFill>
                  <a:latin typeface="楷体" panose="02010609060101010101" pitchFamily="49" charset="-122"/>
                  <a:ea typeface="楷体" panose="02010609060101010101" pitchFamily="49" charset="-122"/>
                  <a:cs typeface="Arial"/>
                </a:rPr>
                <a:t>)</a:t>
              </a:r>
            </a:p>
          </p:txBody>
        </p:sp>
      </p:grpSp>
      <p:grpSp>
        <p:nvGrpSpPr>
          <p:cNvPr id="33" name="Group 32">
            <a:extLst>
              <a:ext uri="{FF2B5EF4-FFF2-40B4-BE49-F238E27FC236}">
                <a16:creationId xmlns:a16="http://schemas.microsoft.com/office/drawing/2014/main" id="{30BB67B0-C153-CC4B-923E-C1BEC66E27DD}"/>
              </a:ext>
            </a:extLst>
          </p:cNvPr>
          <p:cNvGrpSpPr/>
          <p:nvPr/>
        </p:nvGrpSpPr>
        <p:grpSpPr>
          <a:xfrm>
            <a:off x="9886195" y="3662433"/>
            <a:ext cx="1219281" cy="560130"/>
            <a:chOff x="7549384" y="4014348"/>
            <a:chExt cx="1219281" cy="560130"/>
          </a:xfrm>
        </p:grpSpPr>
        <p:sp>
          <p:nvSpPr>
            <p:cNvPr id="108" name="Rechteck 90">
              <a:extLst>
                <a:ext uri="{FF2B5EF4-FFF2-40B4-BE49-F238E27FC236}">
                  <a16:creationId xmlns:a16="http://schemas.microsoft.com/office/drawing/2014/main" id="{71E895E0-A951-4D4E-8AC3-147986E66BC9}"/>
                </a:ext>
              </a:extLst>
            </p:cNvPr>
            <p:cNvSpPr/>
            <p:nvPr/>
          </p:nvSpPr>
          <p:spPr>
            <a:xfrm>
              <a:off x="7549384" y="4429054"/>
              <a:ext cx="1219281" cy="145424"/>
            </a:xfrm>
            <a:prstGeom prst="rect">
              <a:avLst/>
            </a:prstGeom>
          </p:spPr>
          <p:txBody>
            <a:bodyPr wrap="square" lIns="0" tIns="0" rIns="0" bIns="0">
              <a:spAutoFit/>
            </a:bodyPr>
            <a:lstStyle/>
            <a:p>
              <a:pPr algn="ctr">
                <a:lnSpc>
                  <a:spcPct val="90000"/>
                </a:lnSpc>
              </a:pPr>
              <a:r>
                <a:rPr lang="en-US" sz="1050" b="1" dirty="0">
                  <a:solidFill>
                    <a:schemeClr val="bg1">
                      <a:lumMod val="50000"/>
                    </a:schemeClr>
                  </a:solidFill>
                  <a:latin typeface="Arial" panose="020B0604020202020204"/>
                  <a:cs typeface="Arial"/>
                </a:rPr>
                <a:t>HTGF Seed (DE)</a:t>
              </a:r>
            </a:p>
          </p:txBody>
        </p:sp>
        <p:pic>
          <p:nvPicPr>
            <p:cNvPr id="110" name="Grafik 6">
              <a:extLst>
                <a:ext uri="{FF2B5EF4-FFF2-40B4-BE49-F238E27FC236}">
                  <a16:creationId xmlns:a16="http://schemas.microsoft.com/office/drawing/2014/main" id="{09304010-279F-CB4B-B333-FA15F464D139}"/>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7940927" y="4014348"/>
              <a:ext cx="362682" cy="382474"/>
            </a:xfrm>
            <a:prstGeom prst="rect">
              <a:avLst/>
            </a:prstGeom>
          </p:spPr>
        </p:pic>
      </p:grpSp>
      <p:grpSp>
        <p:nvGrpSpPr>
          <p:cNvPr id="14" name="Group 13">
            <a:extLst>
              <a:ext uri="{FF2B5EF4-FFF2-40B4-BE49-F238E27FC236}">
                <a16:creationId xmlns:a16="http://schemas.microsoft.com/office/drawing/2014/main" id="{07F01A55-9EAA-3540-BDB5-458E10567C92}"/>
              </a:ext>
            </a:extLst>
          </p:cNvPr>
          <p:cNvGrpSpPr/>
          <p:nvPr/>
        </p:nvGrpSpPr>
        <p:grpSpPr>
          <a:xfrm>
            <a:off x="579448" y="5018039"/>
            <a:ext cx="1777631" cy="963801"/>
            <a:chOff x="402138" y="4919132"/>
            <a:chExt cx="1429966" cy="768694"/>
          </a:xfrm>
        </p:grpSpPr>
        <p:pic>
          <p:nvPicPr>
            <p:cNvPr id="82" name="Grafik 83">
              <a:extLst>
                <a:ext uri="{FF2B5EF4-FFF2-40B4-BE49-F238E27FC236}">
                  <a16:creationId xmlns:a16="http://schemas.microsoft.com/office/drawing/2014/main" id="{CBE0916D-F614-1948-A2AB-3778A5432998}"/>
                </a:ext>
              </a:extLst>
            </p:cNvPr>
            <p:cNvPicPr>
              <a:picLocks noChangeAspect="1"/>
            </p:cNvPicPr>
            <p:nvPr/>
          </p:nvPicPr>
          <p:blipFill>
            <a:blip r:embed="rId21"/>
            <a:stretch>
              <a:fillRect/>
            </a:stretch>
          </p:blipFill>
          <p:spPr>
            <a:xfrm>
              <a:off x="612170" y="4919132"/>
              <a:ext cx="916422" cy="361949"/>
            </a:xfrm>
            <a:prstGeom prst="rect">
              <a:avLst/>
            </a:prstGeom>
          </p:spPr>
        </p:pic>
        <p:sp>
          <p:nvSpPr>
            <p:cNvPr id="97" name="Textfeld 70">
              <a:extLst>
                <a:ext uri="{FF2B5EF4-FFF2-40B4-BE49-F238E27FC236}">
                  <a16:creationId xmlns:a16="http://schemas.microsoft.com/office/drawing/2014/main" id="{981442DF-9B71-D44D-ADC1-76C6C727E1BF}"/>
                </a:ext>
              </a:extLst>
            </p:cNvPr>
            <p:cNvSpPr txBox="1"/>
            <p:nvPr/>
          </p:nvSpPr>
          <p:spPr>
            <a:xfrm>
              <a:off x="652907" y="5572410"/>
              <a:ext cx="884858" cy="115416"/>
            </a:xfrm>
            <a:prstGeom prst="rect">
              <a:avLst/>
            </a:prstGeom>
            <a:noFill/>
          </p:spPr>
          <p:txBody>
            <a:bodyPr wrap="none" lIns="0" tIns="0" rIns="0" bIns="0" rtlCol="0">
              <a:spAutoFit/>
            </a:bodyPr>
            <a:lstStyle/>
            <a:p>
              <a:r>
                <a:rPr lang="de-DE" sz="750" dirty="0">
                  <a:solidFill>
                    <a:schemeClr val="bg1">
                      <a:lumMod val="50000"/>
                    </a:schemeClr>
                  </a:solidFill>
                  <a:latin typeface="Arial" panose="020B0604020202020204"/>
                  <a:cs typeface="Arial"/>
                </a:rPr>
                <a:t>BASF New Business</a:t>
              </a:r>
              <a:endParaRPr lang="de-AT" sz="750" dirty="0" err="1">
                <a:solidFill>
                  <a:schemeClr val="bg1">
                    <a:lumMod val="50000"/>
                  </a:schemeClr>
                </a:solidFill>
                <a:latin typeface="Arial" panose="020B0604020202020204"/>
                <a:cs typeface="Arial"/>
              </a:endParaRPr>
            </a:p>
          </p:txBody>
        </p:sp>
        <p:sp>
          <p:nvSpPr>
            <p:cNvPr id="111" name="Rechteck 82">
              <a:extLst>
                <a:ext uri="{FF2B5EF4-FFF2-40B4-BE49-F238E27FC236}">
                  <a16:creationId xmlns:a16="http://schemas.microsoft.com/office/drawing/2014/main" id="{CC179F0B-0A71-DB47-8FED-4BFB2353124D}"/>
                </a:ext>
              </a:extLst>
            </p:cNvPr>
            <p:cNvSpPr/>
            <p:nvPr/>
          </p:nvSpPr>
          <p:spPr>
            <a:xfrm>
              <a:off x="402138" y="5359451"/>
              <a:ext cx="1429966" cy="290849"/>
            </a:xfrm>
            <a:prstGeom prst="rect">
              <a:avLst/>
            </a:prstGeom>
          </p:spPr>
          <p:txBody>
            <a:bodyPr wrap="square" lIns="0" tIns="0" rIns="0" bIns="0">
              <a:spAutoFit/>
            </a:bodyPr>
            <a:lstStyle/>
            <a:p>
              <a:pPr algn="ctr">
                <a:lnSpc>
                  <a:spcPct val="90000"/>
                </a:lnSpc>
              </a:pPr>
              <a:r>
                <a:rPr lang="en-US" sz="1050" b="1" dirty="0">
                  <a:solidFill>
                    <a:schemeClr val="bg1">
                      <a:lumMod val="50000"/>
                    </a:schemeClr>
                  </a:solidFill>
                  <a:latin typeface="Arial" panose="020B0604020202020204"/>
                  <a:cs typeface="Arial"/>
                </a:rPr>
                <a:t>Iron Flow Batteries (US)</a:t>
              </a:r>
            </a:p>
          </p:txBody>
        </p:sp>
      </p:grpSp>
      <p:grpSp>
        <p:nvGrpSpPr>
          <p:cNvPr id="25" name="Group 24">
            <a:extLst>
              <a:ext uri="{FF2B5EF4-FFF2-40B4-BE49-F238E27FC236}">
                <a16:creationId xmlns:a16="http://schemas.microsoft.com/office/drawing/2014/main" id="{4BD5B941-5B01-EA40-AEC4-8379FFBAD621}"/>
              </a:ext>
            </a:extLst>
          </p:cNvPr>
          <p:cNvGrpSpPr/>
          <p:nvPr/>
        </p:nvGrpSpPr>
        <p:grpSpPr>
          <a:xfrm>
            <a:off x="7167994" y="3777444"/>
            <a:ext cx="1510349" cy="1020735"/>
            <a:chOff x="5649588" y="3361157"/>
            <a:chExt cx="1510349" cy="1020735"/>
          </a:xfrm>
        </p:grpSpPr>
        <p:pic>
          <p:nvPicPr>
            <p:cNvPr id="112" name="Picture 11">
              <a:extLst>
                <a:ext uri="{FF2B5EF4-FFF2-40B4-BE49-F238E27FC236}">
                  <a16:creationId xmlns:a16="http://schemas.microsoft.com/office/drawing/2014/main" id="{EFAB5EED-5581-8047-B5CD-06066BAD17E3}"/>
                </a:ext>
              </a:extLst>
            </p:cNvPr>
            <p:cNvPicPr>
              <a:picLocks noChangeAspect="1"/>
            </p:cNvPicPr>
            <p:nvPr/>
          </p:nvPicPr>
          <p:blipFill>
            <a:blip r:embed="rId22"/>
            <a:stretch>
              <a:fillRect/>
            </a:stretch>
          </p:blipFill>
          <p:spPr>
            <a:xfrm>
              <a:off x="5792949" y="3361157"/>
              <a:ext cx="1156974" cy="494618"/>
            </a:xfrm>
            <a:prstGeom prst="rect">
              <a:avLst/>
            </a:prstGeom>
          </p:spPr>
        </p:pic>
        <p:sp>
          <p:nvSpPr>
            <p:cNvPr id="113" name="Rechteck 48">
              <a:extLst>
                <a:ext uri="{FF2B5EF4-FFF2-40B4-BE49-F238E27FC236}">
                  <a16:creationId xmlns:a16="http://schemas.microsoft.com/office/drawing/2014/main" id="{0332D526-3BE6-9341-AA11-78C5C446AF89}"/>
                </a:ext>
              </a:extLst>
            </p:cNvPr>
            <p:cNvSpPr/>
            <p:nvPr/>
          </p:nvSpPr>
          <p:spPr>
            <a:xfrm>
              <a:off x="5649588" y="3914736"/>
              <a:ext cx="1510349" cy="290849"/>
            </a:xfrm>
            <a:prstGeom prst="rect">
              <a:avLst/>
            </a:prstGeom>
          </p:spPr>
          <p:txBody>
            <a:bodyPr wrap="square" lIns="0" tIns="0" rIns="0" bIns="0">
              <a:spAutoFit/>
            </a:bodyPr>
            <a:lstStyle/>
            <a:p>
              <a:pPr algn="ctr">
                <a:lnSpc>
                  <a:spcPct val="90000"/>
                </a:lnSpc>
              </a:pPr>
              <a:r>
                <a:rPr lang="en-US" sz="1050" b="1" dirty="0">
                  <a:solidFill>
                    <a:schemeClr val="bg1">
                      <a:lumMod val="50000"/>
                    </a:schemeClr>
                  </a:solidFill>
                  <a:latin typeface="Arial" panose="020B0604020202020204"/>
                  <a:cs typeface="Arial"/>
                </a:rPr>
                <a:t>New class of </a:t>
              </a:r>
              <a:r>
                <a:rPr lang="en-US" sz="1050" b="1" dirty="0" err="1">
                  <a:solidFill>
                    <a:schemeClr val="bg1">
                      <a:lumMod val="50000"/>
                    </a:schemeClr>
                  </a:solidFill>
                  <a:latin typeface="Arial" panose="020B0604020202020204"/>
                  <a:cs typeface="Arial"/>
                </a:rPr>
                <a:t>pheremones</a:t>
              </a:r>
              <a:r>
                <a:rPr lang="en-US" sz="1050" b="1" dirty="0">
                  <a:solidFill>
                    <a:schemeClr val="bg1">
                      <a:lumMod val="50000"/>
                    </a:schemeClr>
                  </a:solidFill>
                  <a:latin typeface="Arial" panose="020B0604020202020204"/>
                  <a:cs typeface="Arial"/>
                </a:rPr>
                <a:t> (US) </a:t>
              </a:r>
            </a:p>
          </p:txBody>
        </p:sp>
        <p:sp>
          <p:nvSpPr>
            <p:cNvPr id="114" name="Textfeld 49">
              <a:extLst>
                <a:ext uri="{FF2B5EF4-FFF2-40B4-BE49-F238E27FC236}">
                  <a16:creationId xmlns:a16="http://schemas.microsoft.com/office/drawing/2014/main" id="{9BC2EBAD-D971-3B44-B482-32915E06109D}"/>
                </a:ext>
              </a:extLst>
            </p:cNvPr>
            <p:cNvSpPr txBox="1"/>
            <p:nvPr/>
          </p:nvSpPr>
          <p:spPr>
            <a:xfrm>
              <a:off x="5911118" y="4266476"/>
              <a:ext cx="1017105" cy="115416"/>
            </a:xfrm>
            <a:prstGeom prst="rect">
              <a:avLst/>
            </a:prstGeom>
            <a:noFill/>
          </p:spPr>
          <p:txBody>
            <a:bodyPr wrap="square" lIns="0" tIns="0" rIns="0" bIns="0" rtlCol="0">
              <a:spAutoFit/>
            </a:bodyPr>
            <a:lstStyle/>
            <a:p>
              <a:r>
                <a:rPr lang="de-DE" sz="750" dirty="0" err="1">
                  <a:solidFill>
                    <a:schemeClr val="bg1">
                      <a:lumMod val="50000"/>
                    </a:schemeClr>
                  </a:solidFill>
                  <a:latin typeface="Arial" panose="020B0604020202020204"/>
                  <a:cs typeface="Arial"/>
                </a:rPr>
                <a:t>Agricultural</a:t>
              </a:r>
              <a:r>
                <a:rPr lang="de-DE" sz="750" dirty="0">
                  <a:solidFill>
                    <a:schemeClr val="bg1">
                      <a:lumMod val="50000"/>
                    </a:schemeClr>
                  </a:solidFill>
                  <a:latin typeface="Arial" panose="020B0604020202020204"/>
                  <a:cs typeface="Arial"/>
                </a:rPr>
                <a:t> Solutions</a:t>
              </a:r>
            </a:p>
          </p:txBody>
        </p:sp>
      </p:grpSp>
      <p:grpSp>
        <p:nvGrpSpPr>
          <p:cNvPr id="28" name="Group 27">
            <a:extLst>
              <a:ext uri="{FF2B5EF4-FFF2-40B4-BE49-F238E27FC236}">
                <a16:creationId xmlns:a16="http://schemas.microsoft.com/office/drawing/2014/main" id="{822A83A9-601B-1345-A1A3-F21018C5B45E}"/>
              </a:ext>
            </a:extLst>
          </p:cNvPr>
          <p:cNvGrpSpPr/>
          <p:nvPr/>
        </p:nvGrpSpPr>
        <p:grpSpPr>
          <a:xfrm>
            <a:off x="7158066" y="5256209"/>
            <a:ext cx="1310263" cy="696338"/>
            <a:chOff x="5675089" y="4587532"/>
            <a:chExt cx="1310263" cy="696338"/>
          </a:xfrm>
        </p:grpSpPr>
        <p:pic>
          <p:nvPicPr>
            <p:cNvPr id="115" name="Picture 149" descr="Re-Flekt">
              <a:hlinkClick r:id="rId23"/>
              <a:extLst>
                <a:ext uri="{FF2B5EF4-FFF2-40B4-BE49-F238E27FC236}">
                  <a16:creationId xmlns:a16="http://schemas.microsoft.com/office/drawing/2014/main" id="{566D21A6-3F82-F34B-B41D-4AA23968644E}"/>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5795443" y="4587532"/>
              <a:ext cx="1071563" cy="142875"/>
            </a:xfrm>
            <a:prstGeom prst="rect">
              <a:avLst/>
            </a:prstGeom>
            <a:noFill/>
            <a:extLst>
              <a:ext uri="{909E8E84-426E-40DD-AFC4-6F175D3DCCD1}">
                <a14:hiddenFill xmlns:a14="http://schemas.microsoft.com/office/drawing/2010/main">
                  <a:solidFill>
                    <a:srgbClr val="FFFFFF"/>
                  </a:solidFill>
                </a14:hiddenFill>
              </a:ext>
            </a:extLst>
          </p:spPr>
        </p:pic>
        <p:sp>
          <p:nvSpPr>
            <p:cNvPr id="116" name="Rechteck 54">
              <a:extLst>
                <a:ext uri="{FF2B5EF4-FFF2-40B4-BE49-F238E27FC236}">
                  <a16:creationId xmlns:a16="http://schemas.microsoft.com/office/drawing/2014/main" id="{18E4DC27-3688-1944-93DA-9A5462134ED8}"/>
                </a:ext>
              </a:extLst>
            </p:cNvPr>
            <p:cNvSpPr/>
            <p:nvPr/>
          </p:nvSpPr>
          <p:spPr>
            <a:xfrm>
              <a:off x="5675089" y="4859450"/>
              <a:ext cx="1310263" cy="290849"/>
            </a:xfrm>
            <a:prstGeom prst="rect">
              <a:avLst/>
            </a:prstGeom>
          </p:spPr>
          <p:txBody>
            <a:bodyPr wrap="square" lIns="0" tIns="0" rIns="0" bIns="0">
              <a:spAutoFit/>
            </a:bodyPr>
            <a:lstStyle/>
            <a:p>
              <a:pPr algn="ctr">
                <a:lnSpc>
                  <a:spcPct val="90000"/>
                </a:lnSpc>
              </a:pPr>
              <a:r>
                <a:rPr lang="en-US" sz="1050" b="1" dirty="0">
                  <a:solidFill>
                    <a:schemeClr val="bg1">
                      <a:lumMod val="50000"/>
                    </a:schemeClr>
                  </a:solidFill>
                  <a:latin typeface="Arial" panose="020B0604020202020204"/>
                  <a:cs typeface="Arial"/>
                </a:rPr>
                <a:t>Augmented Reality  Software (DE) </a:t>
              </a:r>
            </a:p>
          </p:txBody>
        </p:sp>
        <p:sp>
          <p:nvSpPr>
            <p:cNvPr id="117" name="Textfeld 57">
              <a:extLst>
                <a:ext uri="{FF2B5EF4-FFF2-40B4-BE49-F238E27FC236}">
                  <a16:creationId xmlns:a16="http://schemas.microsoft.com/office/drawing/2014/main" id="{98CC8EF0-E29D-534D-AB2C-0CFBB4882660}"/>
                </a:ext>
              </a:extLst>
            </p:cNvPr>
            <p:cNvSpPr txBox="1"/>
            <p:nvPr/>
          </p:nvSpPr>
          <p:spPr>
            <a:xfrm>
              <a:off x="5888754" y="5168454"/>
              <a:ext cx="1017105" cy="115416"/>
            </a:xfrm>
            <a:prstGeom prst="rect">
              <a:avLst/>
            </a:prstGeom>
            <a:noFill/>
          </p:spPr>
          <p:txBody>
            <a:bodyPr wrap="square" lIns="0" tIns="0" rIns="0" bIns="0" rtlCol="0">
              <a:spAutoFit/>
            </a:bodyPr>
            <a:lstStyle/>
            <a:p>
              <a:r>
                <a:rPr lang="de-DE" sz="750" dirty="0">
                  <a:solidFill>
                    <a:schemeClr val="bg1">
                      <a:lumMod val="50000"/>
                    </a:schemeClr>
                  </a:solidFill>
                  <a:latin typeface="Arial" panose="020B0604020202020204"/>
                  <a:cs typeface="Arial"/>
                </a:rPr>
                <a:t>Coatings / BASF 4.0</a:t>
              </a:r>
            </a:p>
          </p:txBody>
        </p:sp>
      </p:grpSp>
      <p:sp>
        <p:nvSpPr>
          <p:cNvPr id="119" name="Rechteck 91">
            <a:extLst>
              <a:ext uri="{FF2B5EF4-FFF2-40B4-BE49-F238E27FC236}">
                <a16:creationId xmlns:a16="http://schemas.microsoft.com/office/drawing/2014/main" id="{BBCBAB5B-0AC7-B548-97DF-EDC7CB4DD16E}"/>
              </a:ext>
            </a:extLst>
          </p:cNvPr>
          <p:cNvSpPr/>
          <p:nvPr/>
        </p:nvSpPr>
        <p:spPr>
          <a:xfrm>
            <a:off x="9840508" y="5894264"/>
            <a:ext cx="1241932" cy="290849"/>
          </a:xfrm>
          <a:prstGeom prst="rect">
            <a:avLst/>
          </a:prstGeom>
        </p:spPr>
        <p:txBody>
          <a:bodyPr wrap="square" lIns="0" tIns="0" rIns="0" bIns="0">
            <a:spAutoFit/>
          </a:bodyPr>
          <a:lstStyle/>
          <a:p>
            <a:pPr algn="ctr">
              <a:lnSpc>
                <a:spcPct val="90000"/>
              </a:lnSpc>
            </a:pPr>
            <a:r>
              <a:rPr lang="zh-CN" altLang="en-US" sz="1050" b="1" dirty="0">
                <a:solidFill>
                  <a:srgbClr val="004A96"/>
                </a:solidFill>
                <a:latin typeface="楷体" panose="02010609060101010101" pitchFamily="49" charset="-122"/>
                <a:ea typeface="楷体" panose="02010609060101010101" pitchFamily="49" charset="-122"/>
                <a:cs typeface="Arial"/>
              </a:rPr>
              <a:t>成长型新材料基金</a:t>
            </a:r>
            <a:endParaRPr lang="en-US" altLang="zh-CN" sz="1050" b="1" dirty="0">
              <a:solidFill>
                <a:srgbClr val="004A96"/>
              </a:solidFill>
              <a:latin typeface="楷体" panose="02010609060101010101" pitchFamily="49" charset="-122"/>
              <a:ea typeface="楷体" panose="02010609060101010101" pitchFamily="49" charset="-122"/>
              <a:cs typeface="Arial"/>
            </a:endParaRPr>
          </a:p>
          <a:p>
            <a:pPr algn="ctr">
              <a:lnSpc>
                <a:spcPct val="90000"/>
              </a:lnSpc>
            </a:pPr>
            <a:r>
              <a:rPr lang="zh-CN" altLang="en-US" sz="1050" b="1" dirty="0">
                <a:solidFill>
                  <a:srgbClr val="004A96"/>
                </a:solidFill>
                <a:latin typeface="楷体" panose="02010609060101010101" pitchFamily="49" charset="-122"/>
                <a:ea typeface="楷体" panose="02010609060101010101" pitchFamily="49" charset="-122"/>
                <a:cs typeface="Arial"/>
              </a:rPr>
              <a:t>（中国上海）</a:t>
            </a:r>
            <a:endParaRPr lang="en-US" sz="1050" b="1" dirty="0">
              <a:solidFill>
                <a:srgbClr val="004A96"/>
              </a:solidFill>
              <a:latin typeface="楷体" panose="02010609060101010101" pitchFamily="49" charset="-122"/>
              <a:ea typeface="楷体" panose="02010609060101010101" pitchFamily="49" charset="-122"/>
              <a:cs typeface="Arial"/>
            </a:endParaRPr>
          </a:p>
        </p:txBody>
      </p:sp>
      <p:sp>
        <p:nvSpPr>
          <p:cNvPr id="126" name="Rounded Rectangle 125">
            <a:extLst>
              <a:ext uri="{FF2B5EF4-FFF2-40B4-BE49-F238E27FC236}">
                <a16:creationId xmlns:a16="http://schemas.microsoft.com/office/drawing/2014/main" id="{B3DD41EC-9063-354F-94E2-70B0C6F6AAB1}"/>
              </a:ext>
            </a:extLst>
          </p:cNvPr>
          <p:cNvSpPr/>
          <p:nvPr/>
        </p:nvSpPr>
        <p:spPr>
          <a:xfrm>
            <a:off x="2629004" y="2422973"/>
            <a:ext cx="2032644" cy="3105154"/>
          </a:xfrm>
          <a:prstGeom prst="roundRect">
            <a:avLst>
              <a:gd name="adj" fmla="val 5633"/>
            </a:avLst>
          </a:prstGeom>
          <a:noFill/>
          <a:ln w="19050">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7" name="Rounded Rectangle 126">
            <a:extLst>
              <a:ext uri="{FF2B5EF4-FFF2-40B4-BE49-F238E27FC236}">
                <a16:creationId xmlns:a16="http://schemas.microsoft.com/office/drawing/2014/main" id="{0EE89B82-6447-614D-BE15-FB83A2B62E63}"/>
              </a:ext>
            </a:extLst>
          </p:cNvPr>
          <p:cNvSpPr/>
          <p:nvPr/>
        </p:nvSpPr>
        <p:spPr>
          <a:xfrm>
            <a:off x="9742455" y="4361593"/>
            <a:ext cx="1445279" cy="1977248"/>
          </a:xfrm>
          <a:prstGeom prst="roundRect">
            <a:avLst>
              <a:gd name="adj" fmla="val 5633"/>
            </a:avLst>
          </a:prstGeom>
          <a:noFill/>
          <a:ln w="19050">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a:extLst>
              <a:ext uri="{FF2B5EF4-FFF2-40B4-BE49-F238E27FC236}">
                <a16:creationId xmlns:a16="http://schemas.microsoft.com/office/drawing/2014/main" id="{C63AD432-186A-4FA7-9FB9-9C39999761C5}"/>
              </a:ext>
            </a:extLst>
          </p:cNvPr>
          <p:cNvPicPr>
            <a:picLocks noChangeAspect="1"/>
          </p:cNvPicPr>
          <p:nvPr/>
        </p:nvPicPr>
        <p:blipFill rotWithShape="1">
          <a:blip r:embed="rId25"/>
          <a:srcRect l="7411" t="8775" r="9706" b="5516"/>
          <a:stretch/>
        </p:blipFill>
        <p:spPr>
          <a:xfrm>
            <a:off x="9795162" y="5470394"/>
            <a:ext cx="1304351" cy="458599"/>
          </a:xfrm>
          <a:prstGeom prst="rect">
            <a:avLst/>
          </a:prstGeom>
        </p:spPr>
      </p:pic>
      <p:grpSp>
        <p:nvGrpSpPr>
          <p:cNvPr id="67" name="Group 66">
            <a:extLst>
              <a:ext uri="{FF2B5EF4-FFF2-40B4-BE49-F238E27FC236}">
                <a16:creationId xmlns:a16="http://schemas.microsoft.com/office/drawing/2014/main" id="{5A74A8F8-FDF3-4640-9495-64FB26CA5CFC}"/>
              </a:ext>
            </a:extLst>
          </p:cNvPr>
          <p:cNvGrpSpPr/>
          <p:nvPr/>
        </p:nvGrpSpPr>
        <p:grpSpPr>
          <a:xfrm>
            <a:off x="2731865" y="4901094"/>
            <a:ext cx="1844727" cy="551759"/>
            <a:chOff x="2306122" y="3204040"/>
            <a:chExt cx="1234231" cy="397958"/>
          </a:xfrm>
        </p:grpSpPr>
        <p:sp>
          <p:nvSpPr>
            <p:cNvPr id="75" name="Rechteck 85">
              <a:extLst>
                <a:ext uri="{FF2B5EF4-FFF2-40B4-BE49-F238E27FC236}">
                  <a16:creationId xmlns:a16="http://schemas.microsoft.com/office/drawing/2014/main" id="{B504B508-731F-40DC-946D-57B8D971BCAF}"/>
                </a:ext>
              </a:extLst>
            </p:cNvPr>
            <p:cNvSpPr/>
            <p:nvPr/>
          </p:nvSpPr>
          <p:spPr>
            <a:xfrm>
              <a:off x="2306122" y="3204040"/>
              <a:ext cx="1234231" cy="209776"/>
            </a:xfrm>
            <a:prstGeom prst="rect">
              <a:avLst/>
            </a:prstGeom>
          </p:spPr>
          <p:txBody>
            <a:bodyPr wrap="square" lIns="0" tIns="0" rIns="0" bIns="0">
              <a:spAutoFit/>
            </a:bodyPr>
            <a:lstStyle/>
            <a:p>
              <a:pPr algn="ctr">
                <a:lnSpc>
                  <a:spcPct val="90000"/>
                </a:lnSpc>
              </a:pPr>
              <a:r>
                <a:rPr lang="zh-CN" altLang="en-US" sz="1050" b="1" dirty="0">
                  <a:solidFill>
                    <a:srgbClr val="004A96"/>
                  </a:solidFill>
                  <a:latin typeface="楷体" panose="02010609060101010101" pitchFamily="49" charset="-122"/>
                  <a:ea typeface="楷体" panose="02010609060101010101" pitchFamily="49" charset="-122"/>
                  <a:cs typeface="Arial"/>
                </a:rPr>
                <a:t>护肤品成分数字化平台</a:t>
              </a:r>
              <a:endParaRPr lang="en-US" altLang="zh-CN" sz="1050" b="1" dirty="0">
                <a:solidFill>
                  <a:srgbClr val="004A96"/>
                </a:solidFill>
                <a:latin typeface="楷体" panose="02010609060101010101" pitchFamily="49" charset="-122"/>
                <a:ea typeface="楷体" panose="02010609060101010101" pitchFamily="49" charset="-122"/>
                <a:cs typeface="Arial"/>
              </a:endParaRPr>
            </a:p>
            <a:p>
              <a:pPr algn="ctr">
                <a:lnSpc>
                  <a:spcPct val="90000"/>
                </a:lnSpc>
              </a:pPr>
              <a:r>
                <a:rPr lang="en-US" altLang="zh-CN" sz="1050" b="1" dirty="0">
                  <a:solidFill>
                    <a:srgbClr val="004A96"/>
                  </a:solidFill>
                  <a:latin typeface="楷体" panose="02010609060101010101" pitchFamily="49" charset="-122"/>
                  <a:ea typeface="楷体" panose="02010609060101010101" pitchFamily="49" charset="-122"/>
                  <a:cs typeface="Arial"/>
                </a:rPr>
                <a:t>(</a:t>
              </a:r>
              <a:r>
                <a:rPr lang="zh-CN" altLang="en-US" sz="1050" b="1" dirty="0">
                  <a:solidFill>
                    <a:srgbClr val="004A96"/>
                  </a:solidFill>
                  <a:latin typeface="楷体" panose="02010609060101010101" pitchFamily="49" charset="-122"/>
                  <a:ea typeface="楷体" panose="02010609060101010101" pitchFamily="49" charset="-122"/>
                  <a:cs typeface="Arial"/>
                </a:rPr>
                <a:t>中国武汉</a:t>
              </a:r>
              <a:r>
                <a:rPr lang="en-US" altLang="zh-CN" sz="1050" b="1" dirty="0">
                  <a:solidFill>
                    <a:srgbClr val="004A96"/>
                  </a:solidFill>
                  <a:latin typeface="楷体" panose="02010609060101010101" pitchFamily="49" charset="-122"/>
                  <a:ea typeface="楷体" panose="02010609060101010101" pitchFamily="49" charset="-122"/>
                  <a:cs typeface="Arial"/>
                </a:rPr>
                <a:t>)</a:t>
              </a:r>
              <a:endParaRPr lang="en-US" sz="1050" b="1" dirty="0">
                <a:solidFill>
                  <a:srgbClr val="004A96"/>
                </a:solidFill>
                <a:latin typeface="楷体" panose="02010609060101010101" pitchFamily="49" charset="-122"/>
                <a:ea typeface="楷体" panose="02010609060101010101" pitchFamily="49" charset="-122"/>
                <a:cs typeface="Arial"/>
              </a:endParaRPr>
            </a:p>
          </p:txBody>
        </p:sp>
        <p:sp>
          <p:nvSpPr>
            <p:cNvPr id="76" name="Textfeld 87">
              <a:extLst>
                <a:ext uri="{FF2B5EF4-FFF2-40B4-BE49-F238E27FC236}">
                  <a16:creationId xmlns:a16="http://schemas.microsoft.com/office/drawing/2014/main" id="{BFC0A40C-039E-417D-AF73-0C2BDDE3EA24}"/>
                </a:ext>
              </a:extLst>
            </p:cNvPr>
            <p:cNvSpPr txBox="1"/>
            <p:nvPr/>
          </p:nvSpPr>
          <p:spPr>
            <a:xfrm>
              <a:off x="2645020" y="3518754"/>
              <a:ext cx="611327" cy="83244"/>
            </a:xfrm>
            <a:prstGeom prst="rect">
              <a:avLst/>
            </a:prstGeom>
            <a:noFill/>
          </p:spPr>
          <p:txBody>
            <a:bodyPr wrap="none" lIns="0" tIns="0" rIns="0" bIns="0" rtlCol="0">
              <a:spAutoFit/>
            </a:bodyPr>
            <a:lstStyle/>
            <a:p>
              <a:r>
                <a:rPr lang="zh-CN" altLang="en-US" sz="750" dirty="0">
                  <a:solidFill>
                    <a:srgbClr val="004A96"/>
                  </a:solidFill>
                  <a:latin typeface="楷体" panose="02010609060101010101" pitchFamily="49" charset="-122"/>
                  <a:ea typeface="楷体" panose="02010609060101010101" pitchFamily="49" charset="-122"/>
                  <a:cs typeface="Arial"/>
                </a:rPr>
                <a:t>巴斯夫狐护理化学品</a:t>
              </a:r>
              <a:r>
                <a:rPr lang="en-US" altLang="zh-CN" sz="750" dirty="0">
                  <a:solidFill>
                    <a:srgbClr val="004A96"/>
                  </a:solidFill>
                  <a:latin typeface="楷体" panose="02010609060101010101" pitchFamily="49" charset="-122"/>
                  <a:ea typeface="楷体" panose="02010609060101010101" pitchFamily="49" charset="-122"/>
                  <a:cs typeface="Arial"/>
                </a:rPr>
                <a:t>s</a:t>
              </a:r>
            </a:p>
          </p:txBody>
        </p:sp>
      </p:grpSp>
      <p:pic>
        <p:nvPicPr>
          <p:cNvPr id="4" name="Graphic 3" descr="Connections">
            <a:extLst>
              <a:ext uri="{FF2B5EF4-FFF2-40B4-BE49-F238E27FC236}">
                <a16:creationId xmlns:a16="http://schemas.microsoft.com/office/drawing/2014/main" id="{E4D9818E-A133-4C64-97B0-3E4F7297136C}"/>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3216367" y="3974693"/>
            <a:ext cx="914400" cy="914400"/>
          </a:xfrm>
          <a:prstGeom prst="rect">
            <a:avLst/>
          </a:prstGeom>
        </p:spPr>
      </p:pic>
    </p:spTree>
    <p:extLst>
      <p:ext uri="{BB962C8B-B14F-4D97-AF65-F5344CB8AC3E}">
        <p14:creationId xmlns:p14="http://schemas.microsoft.com/office/powerpoint/2010/main" val="9234178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Content Placeholder 1">
            <a:extLst>
              <a:ext uri="{FF2B5EF4-FFF2-40B4-BE49-F238E27FC236}">
                <a16:creationId xmlns:a16="http://schemas.microsoft.com/office/drawing/2014/main" id="{31C63DD1-768A-564B-B5AE-43BB8C4DF83E}"/>
              </a:ext>
            </a:extLst>
          </p:cNvPr>
          <p:cNvSpPr txBox="1">
            <a:spLocks/>
          </p:cNvSpPr>
          <p:nvPr/>
        </p:nvSpPr>
        <p:spPr>
          <a:xfrm>
            <a:off x="204516" y="3615976"/>
            <a:ext cx="1577960" cy="786430"/>
          </a:xfrm>
          <a:prstGeom prst="rect">
            <a:avLst/>
          </a:prstGeom>
        </p:spPr>
        <p:txBody>
          <a:bodyPr vert="horz" lIns="91440" tIns="45720" rIns="91440" bIns="45720" rtlCol="0">
            <a:noAutofit/>
          </a:bodyPr>
          <a:lstStyle>
            <a:lvl1pPr marL="228600" indent="-228600" algn="l" defTabSz="914400" rtl="0" eaLnBrk="1" latinLnBrk="0" hangingPunct="1">
              <a:lnSpc>
                <a:spcPct val="12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12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12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12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12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80000"/>
              </a:lnSpc>
              <a:spcBef>
                <a:spcPts val="600"/>
              </a:spcBef>
              <a:buNone/>
            </a:pPr>
            <a:r>
              <a:rPr lang="zh-CN" altLang="en-US" sz="1400" b="1" dirty="0">
                <a:solidFill>
                  <a:srgbClr val="004A96"/>
                </a:solidFill>
                <a:latin typeface="Garamond" panose="02020404030301010803" pitchFamily="18" charset="0"/>
                <a:ea typeface="KaiTi" panose="02010609060101010101" pitchFamily="49" charset="-122"/>
              </a:rPr>
              <a:t>马库斯</a:t>
            </a:r>
            <a:r>
              <a:rPr lang="en-US" altLang="zh-CN" sz="1400" dirty="0">
                <a:solidFill>
                  <a:srgbClr val="004A96"/>
                </a:solidFill>
                <a:latin typeface="Garamond" panose="02020404030301010803" pitchFamily="18" charset="0"/>
                <a:ea typeface="KaiTi" panose="02010609060101010101" pitchFamily="49" charset="-122"/>
              </a:rPr>
              <a:t>·</a:t>
            </a:r>
            <a:r>
              <a:rPr lang="zh-CN" altLang="en-US" sz="1400" b="1" dirty="0">
                <a:solidFill>
                  <a:srgbClr val="004A96"/>
                </a:solidFill>
                <a:latin typeface="Garamond" panose="02020404030301010803" pitchFamily="18" charset="0"/>
                <a:ea typeface="KaiTi" panose="02010609060101010101" pitchFamily="49" charset="-122"/>
              </a:rPr>
              <a:t>索利比达</a:t>
            </a:r>
            <a:endParaRPr lang="en-US" altLang="zh-CN" sz="1400" b="1" dirty="0">
              <a:solidFill>
                <a:srgbClr val="004A96"/>
              </a:solidFill>
              <a:latin typeface="Garamond" panose="02020404030301010803" pitchFamily="18" charset="0"/>
              <a:ea typeface="KaiTi" panose="02010609060101010101" pitchFamily="49" charset="-122"/>
            </a:endParaRPr>
          </a:p>
          <a:p>
            <a:pPr marL="0" indent="0">
              <a:lnSpc>
                <a:spcPct val="80000"/>
              </a:lnSpc>
              <a:spcBef>
                <a:spcPts val="600"/>
              </a:spcBef>
              <a:buNone/>
            </a:pPr>
            <a:r>
              <a:rPr lang="en-US" sz="1400" dirty="0">
                <a:latin typeface="Garamond" panose="02020404030301010803" pitchFamily="18" charset="0"/>
              </a:rPr>
              <a:t>Markus </a:t>
            </a:r>
            <a:r>
              <a:rPr lang="en-US" sz="1400" dirty="0" err="1">
                <a:latin typeface="Garamond" panose="02020404030301010803" pitchFamily="18" charset="0"/>
              </a:rPr>
              <a:t>Solibieda</a:t>
            </a:r>
            <a:endParaRPr lang="en-US" sz="1400" dirty="0">
              <a:latin typeface="Garamond" panose="02020404030301010803" pitchFamily="18" charset="0"/>
            </a:endParaRPr>
          </a:p>
          <a:p>
            <a:pPr marL="0" indent="0">
              <a:lnSpc>
                <a:spcPct val="80000"/>
              </a:lnSpc>
              <a:spcBef>
                <a:spcPts val="600"/>
              </a:spcBef>
              <a:buNone/>
            </a:pPr>
            <a:r>
              <a:rPr lang="en-US" sz="1400" dirty="0" err="1">
                <a:latin typeface="Garamond" panose="02020404030301010803" pitchFamily="18" charset="0"/>
              </a:rPr>
              <a:t>www.basf-vc.com</a:t>
            </a:r>
            <a:endParaRPr lang="en-US" sz="1400" dirty="0">
              <a:latin typeface="Garamond" panose="02020404030301010803" pitchFamily="18" charset="0"/>
            </a:endParaRPr>
          </a:p>
        </p:txBody>
      </p:sp>
      <p:sp>
        <p:nvSpPr>
          <p:cNvPr id="3" name="Title 2">
            <a:extLst>
              <a:ext uri="{FF2B5EF4-FFF2-40B4-BE49-F238E27FC236}">
                <a16:creationId xmlns:a16="http://schemas.microsoft.com/office/drawing/2014/main" id="{F87F41CF-638B-F646-BCF6-854C7993E484}"/>
              </a:ext>
            </a:extLst>
          </p:cNvPr>
          <p:cNvSpPr>
            <a:spLocks noGrp="1"/>
          </p:cNvSpPr>
          <p:nvPr>
            <p:ph type="title"/>
          </p:nvPr>
        </p:nvSpPr>
        <p:spPr>
          <a:xfrm>
            <a:off x="185979" y="461909"/>
            <a:ext cx="6841949" cy="786430"/>
          </a:xfrm>
        </p:spPr>
        <p:txBody>
          <a:bodyPr>
            <a:normAutofit/>
          </a:bodyPr>
          <a:lstStyle/>
          <a:p>
            <a:r>
              <a:rPr lang="en-US" sz="3600" b="1" dirty="0">
                <a:solidFill>
                  <a:schemeClr val="bg1"/>
                </a:solidFill>
                <a:latin typeface="Garamond" panose="02020404030301010803" pitchFamily="18" charset="0"/>
              </a:rPr>
              <a:t>Contacts</a:t>
            </a:r>
          </a:p>
        </p:txBody>
      </p:sp>
      <p:sp>
        <p:nvSpPr>
          <p:cNvPr id="2" name="Content Placeholder 1">
            <a:extLst>
              <a:ext uri="{FF2B5EF4-FFF2-40B4-BE49-F238E27FC236}">
                <a16:creationId xmlns:a16="http://schemas.microsoft.com/office/drawing/2014/main" id="{C8EB2FD9-F1F0-6642-B763-98810406F2CB}"/>
              </a:ext>
            </a:extLst>
          </p:cNvPr>
          <p:cNvSpPr>
            <a:spLocks noGrp="1"/>
          </p:cNvSpPr>
          <p:nvPr>
            <p:ph idx="1"/>
          </p:nvPr>
        </p:nvSpPr>
        <p:spPr>
          <a:xfrm>
            <a:off x="2202999" y="3591347"/>
            <a:ext cx="1577960" cy="786431"/>
          </a:xfrm>
        </p:spPr>
        <p:txBody>
          <a:bodyPr>
            <a:noAutofit/>
          </a:bodyPr>
          <a:lstStyle/>
          <a:p>
            <a:pPr marL="0" indent="0">
              <a:lnSpc>
                <a:spcPct val="80000"/>
              </a:lnSpc>
              <a:spcBef>
                <a:spcPts val="600"/>
              </a:spcBef>
              <a:buNone/>
            </a:pPr>
            <a:r>
              <a:rPr lang="en-US" sz="1400" b="1" dirty="0">
                <a:solidFill>
                  <a:srgbClr val="004A96"/>
                </a:solidFill>
                <a:latin typeface="Garamond" panose="02020404030301010803" pitchFamily="18" charset="0"/>
              </a:rPr>
              <a:t>Han QIN </a:t>
            </a:r>
            <a:r>
              <a:rPr lang="zh-CN" altLang="en-US" sz="1400" b="1" dirty="0">
                <a:solidFill>
                  <a:srgbClr val="004A96"/>
                </a:solidFill>
                <a:latin typeface="Garamond" panose="02020404030301010803" pitchFamily="18" charset="0"/>
                <a:ea typeface="KaiTi" panose="02010609060101010101" pitchFamily="49" charset="-122"/>
              </a:rPr>
              <a:t>秦汉</a:t>
            </a:r>
          </a:p>
          <a:p>
            <a:pPr marL="0" indent="0">
              <a:lnSpc>
                <a:spcPct val="80000"/>
              </a:lnSpc>
              <a:spcBef>
                <a:spcPts val="600"/>
              </a:spcBef>
              <a:buNone/>
            </a:pPr>
            <a:r>
              <a:rPr lang="en-US" sz="1400" dirty="0">
                <a:latin typeface="Garamond" panose="02020404030301010803" pitchFamily="18" charset="0"/>
              </a:rPr>
              <a:t>+86 185 2157 3108</a:t>
            </a:r>
          </a:p>
          <a:p>
            <a:pPr marL="0" indent="0">
              <a:lnSpc>
                <a:spcPct val="80000"/>
              </a:lnSpc>
              <a:spcBef>
                <a:spcPts val="600"/>
              </a:spcBef>
              <a:buNone/>
            </a:pPr>
            <a:r>
              <a:rPr lang="en-US" sz="1400" dirty="0">
                <a:latin typeface="Garamond" panose="02020404030301010803" pitchFamily="18" charset="0"/>
              </a:rPr>
              <a:t>han.qin@basf.com</a:t>
            </a:r>
          </a:p>
        </p:txBody>
      </p:sp>
      <p:sp>
        <p:nvSpPr>
          <p:cNvPr id="4" name="Slide Number Placeholder 3">
            <a:extLst>
              <a:ext uri="{FF2B5EF4-FFF2-40B4-BE49-F238E27FC236}">
                <a16:creationId xmlns:a16="http://schemas.microsoft.com/office/drawing/2014/main" id="{23A640FB-00A0-1045-8316-B21B58AD82CC}"/>
              </a:ext>
            </a:extLst>
          </p:cNvPr>
          <p:cNvSpPr>
            <a:spLocks noGrp="1"/>
          </p:cNvSpPr>
          <p:nvPr>
            <p:ph type="sldNum" sz="quarter" idx="12"/>
          </p:nvPr>
        </p:nvSpPr>
        <p:spPr>
          <a:xfrm>
            <a:off x="-407317" y="4614306"/>
            <a:ext cx="364772" cy="365125"/>
          </a:xfrm>
        </p:spPr>
        <p:txBody>
          <a:bodyPr/>
          <a:lstStyle/>
          <a:p>
            <a:fld id="{D5D29A3D-3D4E-0644-99C6-E19DFF2B4365}" type="slidenum">
              <a:rPr lang="en-US" smtClean="0">
                <a:latin typeface="Garamond" panose="02020404030301010803" pitchFamily="18" charset="0"/>
              </a:rPr>
              <a:t>9</a:t>
            </a:fld>
            <a:endParaRPr lang="en-US" dirty="0">
              <a:latin typeface="Garamond" panose="02020404030301010803" pitchFamily="18" charset="0"/>
            </a:endParaRPr>
          </a:p>
        </p:txBody>
      </p:sp>
      <p:sp>
        <p:nvSpPr>
          <p:cNvPr id="19" name="文本框 1">
            <a:extLst>
              <a:ext uri="{FF2B5EF4-FFF2-40B4-BE49-F238E27FC236}">
                <a16:creationId xmlns:a16="http://schemas.microsoft.com/office/drawing/2014/main" id="{64C07A0B-4E4C-0D4F-8117-05A029CA6491}"/>
              </a:ext>
            </a:extLst>
          </p:cNvPr>
          <p:cNvSpPr txBox="1"/>
          <p:nvPr/>
        </p:nvSpPr>
        <p:spPr>
          <a:xfrm>
            <a:off x="186511" y="1626789"/>
            <a:ext cx="947477" cy="400110"/>
          </a:xfrm>
          <a:prstGeom prst="rect">
            <a:avLst/>
          </a:prstGeom>
          <a:noFill/>
        </p:spPr>
        <p:txBody>
          <a:bodyPr wrap="square" rtlCol="0">
            <a:spAutoFit/>
          </a:bodyPr>
          <a:lstStyle/>
          <a:p>
            <a:r>
              <a:rPr lang="en-US" altLang="zh-CN" sz="2000" b="1" dirty="0">
                <a:latin typeface="Garamond" panose="02020404030301010803" pitchFamily="18" charset="0"/>
              </a:rPr>
              <a:t>China</a:t>
            </a:r>
            <a:endParaRPr lang="zh-CN" altLang="en-US" sz="2000" b="1" dirty="0">
              <a:latin typeface="Garamond" panose="02020404030301010803" pitchFamily="18" charset="0"/>
            </a:endParaRPr>
          </a:p>
        </p:txBody>
      </p:sp>
      <p:sp>
        <p:nvSpPr>
          <p:cNvPr id="20" name="文本框 1">
            <a:extLst>
              <a:ext uri="{FF2B5EF4-FFF2-40B4-BE49-F238E27FC236}">
                <a16:creationId xmlns:a16="http://schemas.microsoft.com/office/drawing/2014/main" id="{4EE8E6AB-F3E8-0141-8585-714049ADABE4}"/>
              </a:ext>
            </a:extLst>
          </p:cNvPr>
          <p:cNvSpPr txBox="1"/>
          <p:nvPr/>
        </p:nvSpPr>
        <p:spPr>
          <a:xfrm>
            <a:off x="8074111" y="1626789"/>
            <a:ext cx="1125911" cy="400110"/>
          </a:xfrm>
          <a:prstGeom prst="rect">
            <a:avLst/>
          </a:prstGeom>
          <a:noFill/>
        </p:spPr>
        <p:txBody>
          <a:bodyPr wrap="square" rtlCol="0">
            <a:spAutoFit/>
          </a:bodyPr>
          <a:lstStyle/>
          <a:p>
            <a:r>
              <a:rPr lang="en-US" altLang="zh-CN" sz="2000" b="1" dirty="0">
                <a:latin typeface="Garamond" panose="02020404030301010803" pitchFamily="18" charset="0"/>
              </a:rPr>
              <a:t>Europe</a:t>
            </a:r>
            <a:endParaRPr lang="zh-CN" altLang="en-US" sz="2000" b="1" dirty="0">
              <a:latin typeface="Garamond" panose="02020404030301010803" pitchFamily="18" charset="0"/>
            </a:endParaRPr>
          </a:p>
        </p:txBody>
      </p:sp>
      <p:sp>
        <p:nvSpPr>
          <p:cNvPr id="21" name="文本框 1">
            <a:extLst>
              <a:ext uri="{FF2B5EF4-FFF2-40B4-BE49-F238E27FC236}">
                <a16:creationId xmlns:a16="http://schemas.microsoft.com/office/drawing/2014/main" id="{90F943F0-8B78-C440-8FE0-50AF55377783}"/>
              </a:ext>
            </a:extLst>
          </p:cNvPr>
          <p:cNvSpPr txBox="1"/>
          <p:nvPr/>
        </p:nvSpPr>
        <p:spPr>
          <a:xfrm>
            <a:off x="204516" y="4680035"/>
            <a:ext cx="947477" cy="400110"/>
          </a:xfrm>
          <a:prstGeom prst="rect">
            <a:avLst/>
          </a:prstGeom>
          <a:noFill/>
        </p:spPr>
        <p:txBody>
          <a:bodyPr wrap="square" rtlCol="0">
            <a:spAutoFit/>
          </a:bodyPr>
          <a:lstStyle/>
          <a:p>
            <a:r>
              <a:rPr lang="en-US" altLang="zh-CN" sz="2000" b="1" dirty="0">
                <a:latin typeface="Garamond" panose="02020404030301010803" pitchFamily="18" charset="0"/>
              </a:rPr>
              <a:t>USA</a:t>
            </a:r>
            <a:endParaRPr lang="zh-CN" altLang="en-US" sz="2000" b="1" dirty="0">
              <a:latin typeface="Garamond" panose="02020404030301010803" pitchFamily="18" charset="0"/>
            </a:endParaRPr>
          </a:p>
        </p:txBody>
      </p:sp>
      <p:sp>
        <p:nvSpPr>
          <p:cNvPr id="13" name="Rectangle 12">
            <a:extLst>
              <a:ext uri="{FF2B5EF4-FFF2-40B4-BE49-F238E27FC236}">
                <a16:creationId xmlns:a16="http://schemas.microsoft.com/office/drawing/2014/main" id="{E28B774C-5BDB-E048-8F48-9FD9C0A7D182}"/>
              </a:ext>
            </a:extLst>
          </p:cNvPr>
          <p:cNvSpPr/>
          <p:nvPr/>
        </p:nvSpPr>
        <p:spPr>
          <a:xfrm>
            <a:off x="8085823" y="3107390"/>
            <a:ext cx="1202124" cy="276999"/>
          </a:xfrm>
          <a:prstGeom prst="rect">
            <a:avLst/>
          </a:prstGeom>
        </p:spPr>
        <p:txBody>
          <a:bodyPr wrap="square">
            <a:spAutoFit/>
          </a:bodyPr>
          <a:lstStyle/>
          <a:p>
            <a:r>
              <a:rPr lang="en-US" sz="1200" dirty="0">
                <a:latin typeface="Garamond" panose="02020404030301010803" pitchFamily="18" charset="0"/>
              </a:rPr>
              <a:t>Claus </a:t>
            </a:r>
            <a:r>
              <a:rPr lang="en-US" sz="1200" dirty="0" err="1">
                <a:latin typeface="Garamond" panose="02020404030301010803" pitchFamily="18" charset="0"/>
              </a:rPr>
              <a:t>Hackmann</a:t>
            </a:r>
            <a:endParaRPr lang="en-US" sz="1200" dirty="0">
              <a:latin typeface="Garamond" panose="02020404030301010803" pitchFamily="18" charset="0"/>
            </a:endParaRPr>
          </a:p>
        </p:txBody>
      </p:sp>
      <p:sp>
        <p:nvSpPr>
          <p:cNvPr id="23" name="Rectangle 22">
            <a:extLst>
              <a:ext uri="{FF2B5EF4-FFF2-40B4-BE49-F238E27FC236}">
                <a16:creationId xmlns:a16="http://schemas.microsoft.com/office/drawing/2014/main" id="{30A15761-52D7-C744-9106-D3688AD84442}"/>
              </a:ext>
            </a:extLst>
          </p:cNvPr>
          <p:cNvSpPr/>
          <p:nvPr/>
        </p:nvSpPr>
        <p:spPr>
          <a:xfrm>
            <a:off x="9551560" y="3101877"/>
            <a:ext cx="1107996" cy="276999"/>
          </a:xfrm>
          <a:prstGeom prst="rect">
            <a:avLst/>
          </a:prstGeom>
        </p:spPr>
        <p:txBody>
          <a:bodyPr wrap="square">
            <a:spAutoFit/>
          </a:bodyPr>
          <a:lstStyle/>
          <a:p>
            <a:r>
              <a:rPr lang="en-US" sz="1200" dirty="0">
                <a:latin typeface="Garamond" panose="02020404030301010803" pitchFamily="18" charset="0"/>
              </a:rPr>
              <a:t>Maximilian Hill</a:t>
            </a:r>
          </a:p>
        </p:txBody>
      </p:sp>
      <p:pic>
        <p:nvPicPr>
          <p:cNvPr id="27" name="Picture 26">
            <a:extLst>
              <a:ext uri="{FF2B5EF4-FFF2-40B4-BE49-F238E27FC236}">
                <a16:creationId xmlns:a16="http://schemas.microsoft.com/office/drawing/2014/main" id="{956B3EE2-DB38-AF4E-89F1-94BE3046DD35}"/>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14552" r="16466"/>
          <a:stretch/>
        </p:blipFill>
        <p:spPr>
          <a:xfrm>
            <a:off x="10934541" y="3616794"/>
            <a:ext cx="1031500" cy="1061851"/>
          </a:xfrm>
          <a:prstGeom prst="rect">
            <a:avLst/>
          </a:prstGeom>
        </p:spPr>
      </p:pic>
      <p:sp>
        <p:nvSpPr>
          <p:cNvPr id="29" name="Rectangle 28">
            <a:extLst>
              <a:ext uri="{FF2B5EF4-FFF2-40B4-BE49-F238E27FC236}">
                <a16:creationId xmlns:a16="http://schemas.microsoft.com/office/drawing/2014/main" id="{C6885770-60D2-A340-A1CF-73236B6B6746}"/>
              </a:ext>
            </a:extLst>
          </p:cNvPr>
          <p:cNvSpPr/>
          <p:nvPr/>
        </p:nvSpPr>
        <p:spPr>
          <a:xfrm>
            <a:off x="10970987" y="3107390"/>
            <a:ext cx="1001493" cy="276999"/>
          </a:xfrm>
          <a:prstGeom prst="rect">
            <a:avLst/>
          </a:prstGeom>
        </p:spPr>
        <p:txBody>
          <a:bodyPr wrap="square">
            <a:spAutoFit/>
          </a:bodyPr>
          <a:lstStyle/>
          <a:p>
            <a:r>
              <a:rPr lang="en-US" sz="1200" dirty="0">
                <a:latin typeface="Garamond" panose="02020404030301010803" pitchFamily="18" charset="0"/>
              </a:rPr>
              <a:t>Kim </a:t>
            </a:r>
            <a:r>
              <a:rPr lang="en-US" sz="1200" dirty="0" err="1">
                <a:latin typeface="Garamond" panose="02020404030301010803" pitchFamily="18" charset="0"/>
              </a:rPr>
              <a:t>Höffken</a:t>
            </a:r>
            <a:endParaRPr lang="en-US" sz="1200" dirty="0">
              <a:latin typeface="Garamond" panose="02020404030301010803" pitchFamily="18" charset="0"/>
            </a:endParaRPr>
          </a:p>
        </p:txBody>
      </p:sp>
      <p:sp>
        <p:nvSpPr>
          <p:cNvPr id="30" name="Rectangle 29">
            <a:extLst>
              <a:ext uri="{FF2B5EF4-FFF2-40B4-BE49-F238E27FC236}">
                <a16:creationId xmlns:a16="http://schemas.microsoft.com/office/drawing/2014/main" id="{63C0479F-714F-114E-B087-4018EDA472A2}"/>
              </a:ext>
            </a:extLst>
          </p:cNvPr>
          <p:cNvSpPr/>
          <p:nvPr/>
        </p:nvSpPr>
        <p:spPr>
          <a:xfrm>
            <a:off x="8073759" y="4700182"/>
            <a:ext cx="1305422" cy="276999"/>
          </a:xfrm>
          <a:prstGeom prst="rect">
            <a:avLst/>
          </a:prstGeom>
        </p:spPr>
        <p:txBody>
          <a:bodyPr wrap="square">
            <a:spAutoFit/>
          </a:bodyPr>
          <a:lstStyle/>
          <a:p>
            <a:r>
              <a:rPr lang="en-US" sz="1200" dirty="0">
                <a:latin typeface="Garamond" panose="02020404030301010803" pitchFamily="18" charset="0"/>
              </a:rPr>
              <a:t>Christoph Koehler</a:t>
            </a:r>
          </a:p>
        </p:txBody>
      </p:sp>
      <p:sp>
        <p:nvSpPr>
          <p:cNvPr id="31" name="Rectangle 30">
            <a:extLst>
              <a:ext uri="{FF2B5EF4-FFF2-40B4-BE49-F238E27FC236}">
                <a16:creationId xmlns:a16="http://schemas.microsoft.com/office/drawing/2014/main" id="{D450128F-918A-B34B-9CA5-F2CE797A0501}"/>
              </a:ext>
            </a:extLst>
          </p:cNvPr>
          <p:cNvSpPr/>
          <p:nvPr/>
        </p:nvSpPr>
        <p:spPr>
          <a:xfrm>
            <a:off x="9583133" y="4703885"/>
            <a:ext cx="1100503" cy="276999"/>
          </a:xfrm>
          <a:prstGeom prst="rect">
            <a:avLst/>
          </a:prstGeom>
        </p:spPr>
        <p:txBody>
          <a:bodyPr wrap="square">
            <a:spAutoFit/>
          </a:bodyPr>
          <a:lstStyle/>
          <a:p>
            <a:r>
              <a:rPr lang="en-US" sz="1200" dirty="0">
                <a:latin typeface="Garamond" panose="02020404030301010803" pitchFamily="18" charset="0"/>
              </a:rPr>
              <a:t>Marc Leduc</a:t>
            </a:r>
          </a:p>
        </p:txBody>
      </p:sp>
      <p:sp>
        <p:nvSpPr>
          <p:cNvPr id="32" name="Rectangle 31">
            <a:extLst>
              <a:ext uri="{FF2B5EF4-FFF2-40B4-BE49-F238E27FC236}">
                <a16:creationId xmlns:a16="http://schemas.microsoft.com/office/drawing/2014/main" id="{8BB8BC1D-AD88-D741-BE70-7591944C6A54}"/>
              </a:ext>
            </a:extLst>
          </p:cNvPr>
          <p:cNvSpPr/>
          <p:nvPr/>
        </p:nvSpPr>
        <p:spPr>
          <a:xfrm>
            <a:off x="10752654" y="4712036"/>
            <a:ext cx="2439652" cy="276999"/>
          </a:xfrm>
          <a:prstGeom prst="rect">
            <a:avLst/>
          </a:prstGeom>
        </p:spPr>
        <p:txBody>
          <a:bodyPr wrap="square">
            <a:spAutoFit/>
          </a:bodyPr>
          <a:lstStyle/>
          <a:p>
            <a:r>
              <a:rPr lang="en-US" sz="1200" dirty="0">
                <a:latin typeface="Garamond" panose="02020404030301010803" pitchFamily="18" charset="0"/>
              </a:rPr>
              <a:t>Michael </a:t>
            </a:r>
            <a:r>
              <a:rPr lang="en-US" sz="1200" dirty="0" err="1">
                <a:latin typeface="Garamond" panose="02020404030301010803" pitchFamily="18" charset="0"/>
              </a:rPr>
              <a:t>Nettersheim</a:t>
            </a:r>
            <a:endParaRPr lang="en-US" sz="1200" dirty="0">
              <a:latin typeface="Garamond" panose="02020404030301010803" pitchFamily="18" charset="0"/>
            </a:endParaRPr>
          </a:p>
        </p:txBody>
      </p:sp>
      <p:sp>
        <p:nvSpPr>
          <p:cNvPr id="33" name="Rectangle 32">
            <a:extLst>
              <a:ext uri="{FF2B5EF4-FFF2-40B4-BE49-F238E27FC236}">
                <a16:creationId xmlns:a16="http://schemas.microsoft.com/office/drawing/2014/main" id="{50A09031-76E2-7540-975B-BA0D7AC7CF8D}"/>
              </a:ext>
            </a:extLst>
          </p:cNvPr>
          <p:cNvSpPr/>
          <p:nvPr/>
        </p:nvSpPr>
        <p:spPr>
          <a:xfrm>
            <a:off x="8201573" y="6294255"/>
            <a:ext cx="1068715" cy="276999"/>
          </a:xfrm>
          <a:prstGeom prst="rect">
            <a:avLst/>
          </a:prstGeom>
        </p:spPr>
        <p:txBody>
          <a:bodyPr wrap="square">
            <a:spAutoFit/>
          </a:bodyPr>
          <a:lstStyle/>
          <a:p>
            <a:r>
              <a:rPr lang="en-US" sz="1200" dirty="0">
                <a:latin typeface="Garamond" panose="02020404030301010803" pitchFamily="18" charset="0"/>
              </a:rPr>
              <a:t>Sven </a:t>
            </a:r>
            <a:r>
              <a:rPr lang="en-US" sz="1200" dirty="0" err="1">
                <a:latin typeface="Garamond" panose="02020404030301010803" pitchFamily="18" charset="0"/>
              </a:rPr>
              <a:t>Thate</a:t>
            </a:r>
            <a:endParaRPr lang="en-US" sz="1200" dirty="0">
              <a:latin typeface="Garamond" panose="02020404030301010803" pitchFamily="18" charset="0"/>
            </a:endParaRPr>
          </a:p>
        </p:txBody>
      </p:sp>
      <p:sp>
        <p:nvSpPr>
          <p:cNvPr id="37" name="Rectangle 36">
            <a:extLst>
              <a:ext uri="{FF2B5EF4-FFF2-40B4-BE49-F238E27FC236}">
                <a16:creationId xmlns:a16="http://schemas.microsoft.com/office/drawing/2014/main" id="{7A525B49-5CE3-4A43-90E7-B8A253FD2A00}"/>
              </a:ext>
            </a:extLst>
          </p:cNvPr>
          <p:cNvSpPr/>
          <p:nvPr/>
        </p:nvSpPr>
        <p:spPr>
          <a:xfrm>
            <a:off x="186511" y="6235364"/>
            <a:ext cx="1350578" cy="276999"/>
          </a:xfrm>
          <a:prstGeom prst="rect">
            <a:avLst/>
          </a:prstGeom>
        </p:spPr>
        <p:txBody>
          <a:bodyPr wrap="square">
            <a:spAutoFit/>
          </a:bodyPr>
          <a:lstStyle/>
          <a:p>
            <a:r>
              <a:rPr lang="en-US" sz="1200" dirty="0">
                <a:latin typeface="Garamond" panose="02020404030301010803" pitchFamily="18" charset="0"/>
              </a:rPr>
              <a:t>Jacob E. Grose</a:t>
            </a:r>
          </a:p>
        </p:txBody>
      </p:sp>
      <p:sp>
        <p:nvSpPr>
          <p:cNvPr id="38" name="Rectangle 37">
            <a:extLst>
              <a:ext uri="{FF2B5EF4-FFF2-40B4-BE49-F238E27FC236}">
                <a16:creationId xmlns:a16="http://schemas.microsoft.com/office/drawing/2014/main" id="{F6446736-F7E7-8647-A10C-19AAE8E69807}"/>
              </a:ext>
            </a:extLst>
          </p:cNvPr>
          <p:cNvSpPr/>
          <p:nvPr/>
        </p:nvSpPr>
        <p:spPr>
          <a:xfrm>
            <a:off x="1514480" y="6245997"/>
            <a:ext cx="1358278" cy="276999"/>
          </a:xfrm>
          <a:prstGeom prst="rect">
            <a:avLst/>
          </a:prstGeom>
        </p:spPr>
        <p:txBody>
          <a:bodyPr wrap="square">
            <a:spAutoFit/>
          </a:bodyPr>
          <a:lstStyle/>
          <a:p>
            <a:r>
              <a:rPr lang="en-US" sz="1200" dirty="0">
                <a:latin typeface="Garamond" panose="02020404030301010803" pitchFamily="18" charset="0"/>
              </a:rPr>
              <a:t>Laurie </a:t>
            </a:r>
            <a:r>
              <a:rPr lang="en-US" sz="1200" dirty="0" err="1">
                <a:latin typeface="Garamond" panose="02020404030301010803" pitchFamily="18" charset="0"/>
              </a:rPr>
              <a:t>Menoud</a:t>
            </a:r>
            <a:endParaRPr lang="en-US" sz="1200" dirty="0">
              <a:latin typeface="Garamond" panose="02020404030301010803" pitchFamily="18" charset="0"/>
            </a:endParaRPr>
          </a:p>
        </p:txBody>
      </p:sp>
      <p:sp>
        <p:nvSpPr>
          <p:cNvPr id="39" name="Rectangle 38">
            <a:extLst>
              <a:ext uri="{FF2B5EF4-FFF2-40B4-BE49-F238E27FC236}">
                <a16:creationId xmlns:a16="http://schemas.microsoft.com/office/drawing/2014/main" id="{4BC24D1F-B2F4-6949-8FB3-61BFC93C9B92}"/>
              </a:ext>
            </a:extLst>
          </p:cNvPr>
          <p:cNvSpPr/>
          <p:nvPr/>
        </p:nvSpPr>
        <p:spPr>
          <a:xfrm>
            <a:off x="2812383" y="6256631"/>
            <a:ext cx="1760899" cy="276999"/>
          </a:xfrm>
          <a:prstGeom prst="rect">
            <a:avLst/>
          </a:prstGeom>
        </p:spPr>
        <p:txBody>
          <a:bodyPr wrap="square">
            <a:spAutoFit/>
          </a:bodyPr>
          <a:lstStyle/>
          <a:p>
            <a:r>
              <a:rPr lang="en-US" sz="1200" dirty="0" err="1">
                <a:latin typeface="Garamond" panose="02020404030301010803" pitchFamily="18" charset="0"/>
              </a:rPr>
              <a:t>Pulakesh</a:t>
            </a:r>
            <a:r>
              <a:rPr lang="en-US" sz="1200" dirty="0">
                <a:latin typeface="Garamond" panose="02020404030301010803" pitchFamily="18" charset="0"/>
              </a:rPr>
              <a:t> Mukherjee</a:t>
            </a:r>
          </a:p>
        </p:txBody>
      </p:sp>
      <p:sp>
        <p:nvSpPr>
          <p:cNvPr id="42" name="Content Placeholder 1">
            <a:extLst>
              <a:ext uri="{FF2B5EF4-FFF2-40B4-BE49-F238E27FC236}">
                <a16:creationId xmlns:a16="http://schemas.microsoft.com/office/drawing/2014/main" id="{4CDEB525-B74C-AF46-B721-C46A9A5BBB68}"/>
              </a:ext>
            </a:extLst>
          </p:cNvPr>
          <p:cNvSpPr txBox="1">
            <a:spLocks/>
          </p:cNvSpPr>
          <p:nvPr/>
        </p:nvSpPr>
        <p:spPr>
          <a:xfrm>
            <a:off x="4215591" y="3629762"/>
            <a:ext cx="1636252" cy="788400"/>
          </a:xfrm>
          <a:prstGeom prst="rect">
            <a:avLst/>
          </a:prstGeom>
        </p:spPr>
        <p:txBody>
          <a:bodyPr vert="horz" lIns="91440" tIns="45720" rIns="91440" bIns="45720" rtlCol="0">
            <a:noAutofit/>
          </a:bodyPr>
          <a:lstStyle>
            <a:lvl1pPr marL="228600" indent="-228600" algn="l" defTabSz="914400" rtl="0" eaLnBrk="1" latinLnBrk="0" hangingPunct="1">
              <a:lnSpc>
                <a:spcPct val="12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12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12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12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12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80000"/>
              </a:lnSpc>
              <a:spcBef>
                <a:spcPts val="600"/>
              </a:spcBef>
              <a:buNone/>
            </a:pPr>
            <a:r>
              <a:rPr lang="en-US" sz="1400" b="1" dirty="0">
                <a:solidFill>
                  <a:srgbClr val="004A96"/>
                </a:solidFill>
                <a:latin typeface="Garamond" panose="02020404030301010803" pitchFamily="18" charset="0"/>
              </a:rPr>
              <a:t>Li </a:t>
            </a:r>
            <a:r>
              <a:rPr lang="en-US" sz="1400" b="1" dirty="0" err="1">
                <a:solidFill>
                  <a:srgbClr val="004A96"/>
                </a:solidFill>
                <a:latin typeface="Garamond" panose="02020404030301010803" pitchFamily="18" charset="0"/>
              </a:rPr>
              <a:t>LI</a:t>
            </a:r>
            <a:r>
              <a:rPr lang="en-US" sz="1400" b="1" dirty="0">
                <a:solidFill>
                  <a:srgbClr val="004A96"/>
                </a:solidFill>
                <a:latin typeface="Garamond" panose="02020404030301010803" pitchFamily="18" charset="0"/>
              </a:rPr>
              <a:t> </a:t>
            </a:r>
            <a:r>
              <a:rPr lang="zh-CN" altLang="en-US" sz="1400" b="1" dirty="0">
                <a:solidFill>
                  <a:srgbClr val="004A96"/>
                </a:solidFill>
                <a:latin typeface="Garamond" panose="02020404030301010803" pitchFamily="18" charset="0"/>
                <a:ea typeface="KaiTi" panose="02010609060101010101" pitchFamily="49" charset="-122"/>
              </a:rPr>
              <a:t>李莉</a:t>
            </a:r>
          </a:p>
          <a:p>
            <a:pPr marL="0" indent="0">
              <a:lnSpc>
                <a:spcPct val="80000"/>
              </a:lnSpc>
              <a:spcBef>
                <a:spcPts val="600"/>
              </a:spcBef>
              <a:buNone/>
            </a:pPr>
            <a:r>
              <a:rPr lang="en-US" sz="1400" dirty="0">
                <a:latin typeface="Garamond" panose="02020404030301010803" pitchFamily="18" charset="0"/>
              </a:rPr>
              <a:t>+86 181 2101 3903</a:t>
            </a:r>
          </a:p>
          <a:p>
            <a:pPr marL="0" indent="0">
              <a:lnSpc>
                <a:spcPct val="80000"/>
              </a:lnSpc>
              <a:spcBef>
                <a:spcPts val="600"/>
              </a:spcBef>
              <a:buNone/>
            </a:pPr>
            <a:r>
              <a:rPr lang="en-US" sz="1400" dirty="0">
                <a:latin typeface="Garamond" panose="02020404030301010803" pitchFamily="18" charset="0"/>
              </a:rPr>
              <a:t>li.li@basf.com</a:t>
            </a:r>
          </a:p>
        </p:txBody>
      </p:sp>
      <p:sp>
        <p:nvSpPr>
          <p:cNvPr id="41" name="Content Placeholder 1">
            <a:extLst>
              <a:ext uri="{FF2B5EF4-FFF2-40B4-BE49-F238E27FC236}">
                <a16:creationId xmlns:a16="http://schemas.microsoft.com/office/drawing/2014/main" id="{6BA84E40-A997-4C73-95A0-F565728DE35A}"/>
              </a:ext>
            </a:extLst>
          </p:cNvPr>
          <p:cNvSpPr txBox="1">
            <a:spLocks/>
          </p:cNvSpPr>
          <p:nvPr/>
        </p:nvSpPr>
        <p:spPr>
          <a:xfrm>
            <a:off x="5996924" y="3615976"/>
            <a:ext cx="1923378" cy="788400"/>
          </a:xfrm>
          <a:prstGeom prst="rect">
            <a:avLst/>
          </a:prstGeom>
        </p:spPr>
        <p:txBody>
          <a:bodyPr vert="horz" lIns="91440" tIns="45720" rIns="91440" bIns="45720" rtlCol="0">
            <a:noAutofit/>
          </a:bodyPr>
          <a:lstStyle>
            <a:lvl1pPr marL="228600" indent="-228600" algn="l" defTabSz="914400" rtl="0" eaLnBrk="1" latinLnBrk="0" hangingPunct="1">
              <a:lnSpc>
                <a:spcPct val="12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12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12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12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12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80000"/>
              </a:lnSpc>
              <a:spcBef>
                <a:spcPts val="600"/>
              </a:spcBef>
              <a:buNone/>
            </a:pPr>
            <a:r>
              <a:rPr lang="en-US" altLang="zh-CN" sz="1400" b="1" dirty="0" err="1">
                <a:solidFill>
                  <a:srgbClr val="004A96"/>
                </a:solidFill>
                <a:latin typeface="Garamond" panose="02020404030301010803" pitchFamily="18" charset="0"/>
                <a:ea typeface="KaiTi" panose="02010609060101010101" pitchFamily="49" charset="-122"/>
              </a:rPr>
              <a:t>Wanyi</a:t>
            </a:r>
            <a:r>
              <a:rPr lang="en-US" altLang="zh-CN" sz="1400" b="1" dirty="0">
                <a:solidFill>
                  <a:srgbClr val="004A96"/>
                </a:solidFill>
                <a:latin typeface="Garamond" panose="02020404030301010803" pitchFamily="18" charset="0"/>
                <a:ea typeface="KaiTi" panose="02010609060101010101" pitchFamily="49" charset="-122"/>
              </a:rPr>
              <a:t> ZHAO</a:t>
            </a:r>
            <a:r>
              <a:rPr lang="zh-CN" altLang="en-US" sz="1400" b="1" dirty="0">
                <a:solidFill>
                  <a:srgbClr val="004A96"/>
                </a:solidFill>
                <a:latin typeface="Garamond" panose="02020404030301010803" pitchFamily="18" charset="0"/>
                <a:ea typeface="KaiTi" panose="02010609060101010101" pitchFamily="49" charset="-122"/>
              </a:rPr>
              <a:t>赵婉伊</a:t>
            </a:r>
          </a:p>
          <a:p>
            <a:pPr marL="0" indent="0">
              <a:lnSpc>
                <a:spcPct val="80000"/>
              </a:lnSpc>
              <a:spcBef>
                <a:spcPts val="600"/>
              </a:spcBef>
              <a:buNone/>
            </a:pPr>
            <a:r>
              <a:rPr lang="en-US" sz="1400" dirty="0">
                <a:latin typeface="Garamond" panose="02020404030301010803" pitchFamily="18" charset="0"/>
              </a:rPr>
              <a:t>+86 18</a:t>
            </a:r>
            <a:r>
              <a:rPr lang="en-US" altLang="zh-CN" sz="1400" dirty="0">
                <a:latin typeface="Garamond" panose="02020404030301010803" pitchFamily="18" charset="0"/>
              </a:rPr>
              <a:t>5</a:t>
            </a:r>
            <a:r>
              <a:rPr lang="en-US" sz="1400" dirty="0">
                <a:latin typeface="Garamond" panose="02020404030301010803" pitchFamily="18" charset="0"/>
              </a:rPr>
              <a:t> </a:t>
            </a:r>
            <a:r>
              <a:rPr lang="en-US" altLang="zh-CN" sz="1400" dirty="0">
                <a:latin typeface="Garamond" panose="02020404030301010803" pitchFamily="18" charset="0"/>
              </a:rPr>
              <a:t>2102</a:t>
            </a:r>
            <a:r>
              <a:rPr lang="en-US" sz="1400" dirty="0">
                <a:latin typeface="Garamond" panose="02020404030301010803" pitchFamily="18" charset="0"/>
              </a:rPr>
              <a:t> 7</a:t>
            </a:r>
            <a:r>
              <a:rPr lang="en-US" altLang="zh-CN" sz="1400" dirty="0">
                <a:latin typeface="Garamond" panose="02020404030301010803" pitchFamily="18" charset="0"/>
              </a:rPr>
              <a:t>79</a:t>
            </a:r>
            <a:r>
              <a:rPr lang="en-US" sz="1400" dirty="0">
                <a:latin typeface="Garamond" panose="02020404030301010803" pitchFamily="18" charset="0"/>
              </a:rPr>
              <a:t>2</a:t>
            </a:r>
          </a:p>
          <a:p>
            <a:pPr marL="0" indent="0">
              <a:lnSpc>
                <a:spcPct val="80000"/>
              </a:lnSpc>
              <a:spcBef>
                <a:spcPts val="600"/>
              </a:spcBef>
              <a:buNone/>
            </a:pPr>
            <a:r>
              <a:rPr lang="en-US" sz="1400" dirty="0">
                <a:latin typeface="Garamond" panose="02020404030301010803" pitchFamily="18" charset="0"/>
              </a:rPr>
              <a:t>wan-yi.zhao@basf.com</a:t>
            </a:r>
          </a:p>
        </p:txBody>
      </p:sp>
      <p:sp>
        <p:nvSpPr>
          <p:cNvPr id="44" name="Rectangle 43">
            <a:extLst>
              <a:ext uri="{FF2B5EF4-FFF2-40B4-BE49-F238E27FC236}">
                <a16:creationId xmlns:a16="http://schemas.microsoft.com/office/drawing/2014/main" id="{6C78F5DB-A3E1-4F23-BC5B-1664A75BD281}"/>
              </a:ext>
            </a:extLst>
          </p:cNvPr>
          <p:cNvSpPr/>
          <p:nvPr/>
        </p:nvSpPr>
        <p:spPr>
          <a:xfrm>
            <a:off x="4551961" y="6219195"/>
            <a:ext cx="1760899" cy="276999"/>
          </a:xfrm>
          <a:prstGeom prst="rect">
            <a:avLst/>
          </a:prstGeom>
        </p:spPr>
        <p:txBody>
          <a:bodyPr wrap="square">
            <a:spAutoFit/>
          </a:bodyPr>
          <a:lstStyle/>
          <a:p>
            <a:r>
              <a:rPr lang="fi-FI" sz="1200" dirty="0">
                <a:latin typeface="Garamond" panose="02020404030301010803" pitchFamily="18" charset="0"/>
              </a:rPr>
              <a:t>Ashwani Sai Ram</a:t>
            </a:r>
            <a:endParaRPr lang="en-US" sz="1200" dirty="0">
              <a:latin typeface="Garamond" panose="02020404030301010803" pitchFamily="18" charset="0"/>
            </a:endParaRPr>
          </a:p>
        </p:txBody>
      </p:sp>
      <p:sp>
        <p:nvSpPr>
          <p:cNvPr id="45" name="Rectangle 44">
            <a:extLst>
              <a:ext uri="{FF2B5EF4-FFF2-40B4-BE49-F238E27FC236}">
                <a16:creationId xmlns:a16="http://schemas.microsoft.com/office/drawing/2014/main" id="{BC5E64CE-6F73-4F14-B27F-259D89C5A25E}"/>
              </a:ext>
            </a:extLst>
          </p:cNvPr>
          <p:cNvSpPr/>
          <p:nvPr/>
        </p:nvSpPr>
        <p:spPr>
          <a:xfrm>
            <a:off x="6312860" y="6223196"/>
            <a:ext cx="1760899" cy="276999"/>
          </a:xfrm>
          <a:prstGeom prst="rect">
            <a:avLst/>
          </a:prstGeom>
        </p:spPr>
        <p:txBody>
          <a:bodyPr wrap="square">
            <a:spAutoFit/>
          </a:bodyPr>
          <a:lstStyle/>
          <a:p>
            <a:r>
              <a:rPr lang="pt-BR" sz="1200" dirty="0">
                <a:latin typeface="Garamond" panose="02020404030301010803" pitchFamily="18" charset="0"/>
              </a:rPr>
              <a:t>Thais Perico</a:t>
            </a:r>
            <a:endParaRPr lang="en-US" sz="1200" dirty="0">
              <a:latin typeface="Garamond" panose="02020404030301010803" pitchFamily="18" charset="0"/>
            </a:endParaRPr>
          </a:p>
        </p:txBody>
      </p:sp>
      <p:sp>
        <p:nvSpPr>
          <p:cNvPr id="46" name="文本框 1">
            <a:extLst>
              <a:ext uri="{FF2B5EF4-FFF2-40B4-BE49-F238E27FC236}">
                <a16:creationId xmlns:a16="http://schemas.microsoft.com/office/drawing/2014/main" id="{1C053870-540D-4F2F-9BC8-5D86FB9C8F80}"/>
              </a:ext>
            </a:extLst>
          </p:cNvPr>
          <p:cNvSpPr txBox="1"/>
          <p:nvPr/>
        </p:nvSpPr>
        <p:spPr>
          <a:xfrm>
            <a:off x="4643604" y="4678645"/>
            <a:ext cx="947477" cy="400110"/>
          </a:xfrm>
          <a:prstGeom prst="rect">
            <a:avLst/>
          </a:prstGeom>
          <a:noFill/>
        </p:spPr>
        <p:txBody>
          <a:bodyPr wrap="square" rtlCol="0">
            <a:spAutoFit/>
          </a:bodyPr>
          <a:lstStyle/>
          <a:p>
            <a:r>
              <a:rPr lang="en-US" altLang="zh-CN" sz="2000" b="1" dirty="0">
                <a:latin typeface="Garamond" panose="02020404030301010803" pitchFamily="18" charset="0"/>
              </a:rPr>
              <a:t>India</a:t>
            </a:r>
            <a:endParaRPr lang="zh-CN" altLang="en-US" sz="2000" b="1" dirty="0">
              <a:latin typeface="Garamond" panose="02020404030301010803" pitchFamily="18" charset="0"/>
            </a:endParaRPr>
          </a:p>
        </p:txBody>
      </p:sp>
      <p:sp>
        <p:nvSpPr>
          <p:cNvPr id="47" name="文本框 1">
            <a:extLst>
              <a:ext uri="{FF2B5EF4-FFF2-40B4-BE49-F238E27FC236}">
                <a16:creationId xmlns:a16="http://schemas.microsoft.com/office/drawing/2014/main" id="{A229F24E-5FDE-4BD2-8D38-1B9F876E5176}"/>
              </a:ext>
            </a:extLst>
          </p:cNvPr>
          <p:cNvSpPr txBox="1"/>
          <p:nvPr/>
        </p:nvSpPr>
        <p:spPr>
          <a:xfrm>
            <a:off x="6408037" y="4684296"/>
            <a:ext cx="947477" cy="400110"/>
          </a:xfrm>
          <a:prstGeom prst="rect">
            <a:avLst/>
          </a:prstGeom>
          <a:noFill/>
        </p:spPr>
        <p:txBody>
          <a:bodyPr wrap="square" rtlCol="0">
            <a:spAutoFit/>
          </a:bodyPr>
          <a:lstStyle/>
          <a:p>
            <a:r>
              <a:rPr lang="en-US" altLang="zh-CN" sz="2000" b="1" dirty="0">
                <a:latin typeface="Garamond" panose="02020404030301010803" pitchFamily="18" charset="0"/>
              </a:rPr>
              <a:t>Brazil</a:t>
            </a:r>
            <a:endParaRPr lang="zh-CN" altLang="en-US" sz="2000" b="1" dirty="0">
              <a:latin typeface="Garamond" panose="02020404030301010803" pitchFamily="18" charset="0"/>
            </a:endParaRPr>
          </a:p>
        </p:txBody>
      </p:sp>
      <p:cxnSp>
        <p:nvCxnSpPr>
          <p:cNvPr id="12" name="Straight Connector 11">
            <a:extLst>
              <a:ext uri="{FF2B5EF4-FFF2-40B4-BE49-F238E27FC236}">
                <a16:creationId xmlns:a16="http://schemas.microsoft.com/office/drawing/2014/main" id="{354D70CC-6687-490F-AF89-C1CD94990266}"/>
              </a:ext>
            </a:extLst>
          </p:cNvPr>
          <p:cNvCxnSpPr/>
          <p:nvPr/>
        </p:nvCxnSpPr>
        <p:spPr>
          <a:xfrm>
            <a:off x="58644" y="4526263"/>
            <a:ext cx="7815772" cy="4034"/>
          </a:xfrm>
          <a:prstGeom prst="line">
            <a:avLst/>
          </a:prstGeom>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88D2DE0C-54D7-4501-9D3D-D9FE8FAC0A67}"/>
              </a:ext>
            </a:extLst>
          </p:cNvPr>
          <p:cNvCxnSpPr>
            <a:cxnSpLocks/>
          </p:cNvCxnSpPr>
          <p:nvPr/>
        </p:nvCxnSpPr>
        <p:spPr>
          <a:xfrm>
            <a:off x="7912809" y="1626789"/>
            <a:ext cx="7493" cy="4902816"/>
          </a:xfrm>
          <a:prstGeom prst="line">
            <a:avLst/>
          </a:prstGeom>
        </p:spPr>
        <p:style>
          <a:lnRef idx="1">
            <a:schemeClr val="accent1"/>
          </a:lnRef>
          <a:fillRef idx="0">
            <a:schemeClr val="accent1"/>
          </a:fillRef>
          <a:effectRef idx="0">
            <a:schemeClr val="accent1"/>
          </a:effectRef>
          <a:fontRef idx="minor">
            <a:schemeClr val="tx1"/>
          </a:fontRef>
        </p:style>
      </p:cxnSp>
      <p:pic>
        <p:nvPicPr>
          <p:cNvPr id="16" name="Picture 15">
            <a:extLst>
              <a:ext uri="{FF2B5EF4-FFF2-40B4-BE49-F238E27FC236}">
                <a16:creationId xmlns:a16="http://schemas.microsoft.com/office/drawing/2014/main" id="{4B3557EB-32E5-4A04-9ED2-E5BFC7A51367}"/>
              </a:ext>
            </a:extLst>
          </p:cNvPr>
          <p:cNvPicPr>
            <a:picLocks noChangeAspect="1"/>
          </p:cNvPicPr>
          <p:nvPr/>
        </p:nvPicPr>
        <p:blipFill rotWithShape="1">
          <a:blip r:embed="rId3"/>
          <a:srcRect l="37522" t="6305" r="20396" b="34820"/>
          <a:stretch/>
        </p:blipFill>
        <p:spPr>
          <a:xfrm>
            <a:off x="2162562" y="2019603"/>
            <a:ext cx="1575980" cy="1481824"/>
          </a:xfrm>
          <a:prstGeom prst="rect">
            <a:avLst/>
          </a:prstGeom>
        </p:spPr>
      </p:pic>
      <p:pic>
        <p:nvPicPr>
          <p:cNvPr id="9" name="Picture 8">
            <a:extLst>
              <a:ext uri="{FF2B5EF4-FFF2-40B4-BE49-F238E27FC236}">
                <a16:creationId xmlns:a16="http://schemas.microsoft.com/office/drawing/2014/main" id="{40D455E2-2E84-4C62-8FD3-F37439E6E210}"/>
              </a:ext>
            </a:extLst>
          </p:cNvPr>
          <p:cNvPicPr>
            <a:picLocks noChangeAspect="1"/>
          </p:cNvPicPr>
          <p:nvPr/>
        </p:nvPicPr>
        <p:blipFill rotWithShape="1">
          <a:blip r:embed="rId4"/>
          <a:srcRect l="35137" t="8024" r="22934" b="33045"/>
          <a:stretch/>
        </p:blipFill>
        <p:spPr>
          <a:xfrm>
            <a:off x="275652" y="2019602"/>
            <a:ext cx="1582033" cy="1481825"/>
          </a:xfrm>
          <a:prstGeom prst="rect">
            <a:avLst/>
          </a:prstGeom>
        </p:spPr>
      </p:pic>
      <p:pic>
        <p:nvPicPr>
          <p:cNvPr id="48" name="Picture 47">
            <a:extLst>
              <a:ext uri="{FF2B5EF4-FFF2-40B4-BE49-F238E27FC236}">
                <a16:creationId xmlns:a16="http://schemas.microsoft.com/office/drawing/2014/main" id="{928A8534-DCE8-4F99-B112-54E92F3484C4}"/>
              </a:ext>
            </a:extLst>
          </p:cNvPr>
          <p:cNvPicPr>
            <a:picLocks noChangeAspect="1"/>
          </p:cNvPicPr>
          <p:nvPr/>
        </p:nvPicPr>
        <p:blipFill rotWithShape="1">
          <a:blip r:embed="rId5"/>
          <a:srcRect l="42509" t="12245" r="19933" b="34768"/>
          <a:stretch/>
        </p:blipFill>
        <p:spPr>
          <a:xfrm>
            <a:off x="4095478" y="2019603"/>
            <a:ext cx="1584000" cy="1477798"/>
          </a:xfrm>
          <a:prstGeom prst="rect">
            <a:avLst/>
          </a:prstGeom>
        </p:spPr>
      </p:pic>
      <p:pic>
        <p:nvPicPr>
          <p:cNvPr id="50" name="Picture 49">
            <a:extLst>
              <a:ext uri="{FF2B5EF4-FFF2-40B4-BE49-F238E27FC236}">
                <a16:creationId xmlns:a16="http://schemas.microsoft.com/office/drawing/2014/main" id="{89D8E489-D304-4B9B-B1C7-7ADB0CF97B7C}"/>
              </a:ext>
            </a:extLst>
          </p:cNvPr>
          <p:cNvPicPr>
            <a:picLocks noChangeAspect="1"/>
          </p:cNvPicPr>
          <p:nvPr/>
        </p:nvPicPr>
        <p:blipFill rotWithShape="1">
          <a:blip r:embed="rId6"/>
          <a:srcRect l="40408" t="16109" r="24001" b="34178"/>
          <a:stretch/>
        </p:blipFill>
        <p:spPr>
          <a:xfrm>
            <a:off x="6022581" y="2019572"/>
            <a:ext cx="1584000" cy="1474517"/>
          </a:xfrm>
          <a:prstGeom prst="rect">
            <a:avLst/>
          </a:prstGeom>
        </p:spPr>
      </p:pic>
      <p:pic>
        <p:nvPicPr>
          <p:cNvPr id="52" name="Picture 51">
            <a:extLst>
              <a:ext uri="{FF2B5EF4-FFF2-40B4-BE49-F238E27FC236}">
                <a16:creationId xmlns:a16="http://schemas.microsoft.com/office/drawing/2014/main" id="{A68344E6-5333-41FA-9B26-A8D18D59CDCE}"/>
              </a:ext>
            </a:extLst>
          </p:cNvPr>
          <p:cNvPicPr>
            <a:picLocks noChangeAspect="1"/>
          </p:cNvPicPr>
          <p:nvPr/>
        </p:nvPicPr>
        <p:blipFill rotWithShape="1">
          <a:blip r:embed="rId7"/>
          <a:srcRect l="41080" t="6306" r="19172" b="35576"/>
          <a:stretch/>
        </p:blipFill>
        <p:spPr>
          <a:xfrm>
            <a:off x="255356" y="5229883"/>
            <a:ext cx="1033200" cy="1006751"/>
          </a:xfrm>
          <a:prstGeom prst="rect">
            <a:avLst/>
          </a:prstGeom>
        </p:spPr>
      </p:pic>
      <p:pic>
        <p:nvPicPr>
          <p:cNvPr id="54" name="Picture 53">
            <a:extLst>
              <a:ext uri="{FF2B5EF4-FFF2-40B4-BE49-F238E27FC236}">
                <a16:creationId xmlns:a16="http://schemas.microsoft.com/office/drawing/2014/main" id="{E0A148AE-2606-453F-A4B6-83A414EE127C}"/>
              </a:ext>
            </a:extLst>
          </p:cNvPr>
          <p:cNvPicPr>
            <a:picLocks noChangeAspect="1"/>
          </p:cNvPicPr>
          <p:nvPr/>
        </p:nvPicPr>
        <p:blipFill rotWithShape="1">
          <a:blip r:embed="rId8"/>
          <a:srcRect l="168791" t="-193994" r="-103790" b="237792"/>
          <a:stretch/>
        </p:blipFill>
        <p:spPr>
          <a:xfrm>
            <a:off x="5279660" y="635696"/>
            <a:ext cx="1033200" cy="1105678"/>
          </a:xfrm>
          <a:prstGeom prst="rect">
            <a:avLst/>
          </a:prstGeom>
        </p:spPr>
      </p:pic>
      <p:pic>
        <p:nvPicPr>
          <p:cNvPr id="56" name="Picture 55">
            <a:extLst>
              <a:ext uri="{FF2B5EF4-FFF2-40B4-BE49-F238E27FC236}">
                <a16:creationId xmlns:a16="http://schemas.microsoft.com/office/drawing/2014/main" id="{5C2FF060-A9DD-461F-B462-1AD511D7DD66}"/>
              </a:ext>
            </a:extLst>
          </p:cNvPr>
          <p:cNvPicPr>
            <a:picLocks noChangeAspect="1"/>
          </p:cNvPicPr>
          <p:nvPr/>
        </p:nvPicPr>
        <p:blipFill rotWithShape="1">
          <a:blip r:embed="rId8"/>
          <a:srcRect l="40770" t="8024" r="23881" b="40355"/>
          <a:stretch/>
        </p:blipFill>
        <p:spPr>
          <a:xfrm>
            <a:off x="1594784" y="5229883"/>
            <a:ext cx="1033200" cy="1005481"/>
          </a:xfrm>
          <a:prstGeom prst="rect">
            <a:avLst/>
          </a:prstGeom>
        </p:spPr>
      </p:pic>
      <p:pic>
        <p:nvPicPr>
          <p:cNvPr id="58" name="Picture 57">
            <a:extLst>
              <a:ext uri="{FF2B5EF4-FFF2-40B4-BE49-F238E27FC236}">
                <a16:creationId xmlns:a16="http://schemas.microsoft.com/office/drawing/2014/main" id="{8ADD0193-2E23-47CC-AD97-D0B6DF584C2D}"/>
              </a:ext>
            </a:extLst>
          </p:cNvPr>
          <p:cNvPicPr>
            <a:picLocks noChangeAspect="1"/>
          </p:cNvPicPr>
          <p:nvPr/>
        </p:nvPicPr>
        <p:blipFill rotWithShape="1">
          <a:blip r:embed="rId9"/>
          <a:srcRect l="40408" t="9269" r="26959" b="42449"/>
          <a:stretch/>
        </p:blipFill>
        <p:spPr>
          <a:xfrm>
            <a:off x="2936374" y="5227268"/>
            <a:ext cx="1033200" cy="1018730"/>
          </a:xfrm>
          <a:prstGeom prst="rect">
            <a:avLst/>
          </a:prstGeom>
        </p:spPr>
      </p:pic>
      <p:pic>
        <p:nvPicPr>
          <p:cNvPr id="60" name="Picture 59">
            <a:extLst>
              <a:ext uri="{FF2B5EF4-FFF2-40B4-BE49-F238E27FC236}">
                <a16:creationId xmlns:a16="http://schemas.microsoft.com/office/drawing/2014/main" id="{03D5CC29-E576-4509-AF78-142F01AE3469}"/>
              </a:ext>
            </a:extLst>
          </p:cNvPr>
          <p:cNvPicPr>
            <a:picLocks noChangeAspect="1"/>
          </p:cNvPicPr>
          <p:nvPr/>
        </p:nvPicPr>
        <p:blipFill rotWithShape="1">
          <a:blip r:embed="rId10"/>
          <a:srcRect l="44155" t="9269" r="28728" b="50781"/>
          <a:stretch/>
        </p:blipFill>
        <p:spPr>
          <a:xfrm>
            <a:off x="4633652" y="5229883"/>
            <a:ext cx="1037386" cy="1016114"/>
          </a:xfrm>
          <a:prstGeom prst="rect">
            <a:avLst/>
          </a:prstGeom>
        </p:spPr>
      </p:pic>
      <p:pic>
        <p:nvPicPr>
          <p:cNvPr id="62" name="Picture 61">
            <a:extLst>
              <a:ext uri="{FF2B5EF4-FFF2-40B4-BE49-F238E27FC236}">
                <a16:creationId xmlns:a16="http://schemas.microsoft.com/office/drawing/2014/main" id="{7D1AE5B1-2BBE-4320-BCF8-06295FE8C9EB}"/>
              </a:ext>
            </a:extLst>
          </p:cNvPr>
          <p:cNvPicPr>
            <a:picLocks noChangeAspect="1"/>
          </p:cNvPicPr>
          <p:nvPr/>
        </p:nvPicPr>
        <p:blipFill rotWithShape="1">
          <a:blip r:embed="rId11"/>
          <a:srcRect l="36494" t="19337" r="32272" b="34570"/>
          <a:stretch/>
        </p:blipFill>
        <p:spPr>
          <a:xfrm>
            <a:off x="6333137" y="5229883"/>
            <a:ext cx="1033200" cy="1016114"/>
          </a:xfrm>
          <a:prstGeom prst="rect">
            <a:avLst/>
          </a:prstGeom>
        </p:spPr>
      </p:pic>
      <p:pic>
        <p:nvPicPr>
          <p:cNvPr id="64" name="Picture 63">
            <a:extLst>
              <a:ext uri="{FF2B5EF4-FFF2-40B4-BE49-F238E27FC236}">
                <a16:creationId xmlns:a16="http://schemas.microsoft.com/office/drawing/2014/main" id="{974BFD57-9F69-416A-B4F8-383CEF5F1161}"/>
              </a:ext>
            </a:extLst>
          </p:cNvPr>
          <p:cNvPicPr>
            <a:picLocks noChangeAspect="1"/>
          </p:cNvPicPr>
          <p:nvPr/>
        </p:nvPicPr>
        <p:blipFill rotWithShape="1">
          <a:blip r:embed="rId12"/>
          <a:srcRect l="36698" t="10316" r="32272" b="41248"/>
          <a:stretch/>
        </p:blipFill>
        <p:spPr>
          <a:xfrm>
            <a:off x="8166465" y="2018887"/>
            <a:ext cx="1033200" cy="1074798"/>
          </a:xfrm>
          <a:prstGeom prst="rect">
            <a:avLst/>
          </a:prstGeom>
        </p:spPr>
      </p:pic>
      <p:pic>
        <p:nvPicPr>
          <p:cNvPr id="66" name="Picture 65">
            <a:extLst>
              <a:ext uri="{FF2B5EF4-FFF2-40B4-BE49-F238E27FC236}">
                <a16:creationId xmlns:a16="http://schemas.microsoft.com/office/drawing/2014/main" id="{2916D87B-C6A4-42B8-9328-1D06962634D0}"/>
              </a:ext>
            </a:extLst>
          </p:cNvPr>
          <p:cNvPicPr>
            <a:picLocks noChangeAspect="1"/>
          </p:cNvPicPr>
          <p:nvPr/>
        </p:nvPicPr>
        <p:blipFill rotWithShape="1">
          <a:blip r:embed="rId13"/>
          <a:srcRect l="33328" t="11891" r="34821" b="38393"/>
          <a:stretch/>
        </p:blipFill>
        <p:spPr>
          <a:xfrm>
            <a:off x="9583149" y="2026899"/>
            <a:ext cx="1033200" cy="1074798"/>
          </a:xfrm>
          <a:prstGeom prst="rect">
            <a:avLst/>
          </a:prstGeom>
        </p:spPr>
      </p:pic>
      <p:pic>
        <p:nvPicPr>
          <p:cNvPr id="68" name="Picture 67">
            <a:extLst>
              <a:ext uri="{FF2B5EF4-FFF2-40B4-BE49-F238E27FC236}">
                <a16:creationId xmlns:a16="http://schemas.microsoft.com/office/drawing/2014/main" id="{8172C6B3-CB88-4632-B768-BF013959CB3F}"/>
              </a:ext>
            </a:extLst>
          </p:cNvPr>
          <p:cNvPicPr>
            <a:picLocks noChangeAspect="1"/>
          </p:cNvPicPr>
          <p:nvPr/>
        </p:nvPicPr>
        <p:blipFill rotWithShape="1">
          <a:blip r:embed="rId14"/>
          <a:srcRect l="43516" t="13825" r="27643" b="40843"/>
          <a:stretch/>
        </p:blipFill>
        <p:spPr>
          <a:xfrm>
            <a:off x="10958104" y="2019604"/>
            <a:ext cx="1033200" cy="1082274"/>
          </a:xfrm>
          <a:prstGeom prst="rect">
            <a:avLst/>
          </a:prstGeom>
        </p:spPr>
      </p:pic>
      <p:pic>
        <p:nvPicPr>
          <p:cNvPr id="72" name="Picture 71">
            <a:extLst>
              <a:ext uri="{FF2B5EF4-FFF2-40B4-BE49-F238E27FC236}">
                <a16:creationId xmlns:a16="http://schemas.microsoft.com/office/drawing/2014/main" id="{BE64DFA3-48A4-456E-B98B-8AF3F815E32F}"/>
              </a:ext>
            </a:extLst>
          </p:cNvPr>
          <p:cNvPicPr>
            <a:picLocks noChangeAspect="1"/>
          </p:cNvPicPr>
          <p:nvPr/>
        </p:nvPicPr>
        <p:blipFill rotWithShape="1">
          <a:blip r:embed="rId15"/>
          <a:srcRect l="39890" t="12570" r="30818" b="33165"/>
          <a:stretch/>
        </p:blipFill>
        <p:spPr>
          <a:xfrm>
            <a:off x="8168523" y="3615976"/>
            <a:ext cx="1031499" cy="1087909"/>
          </a:xfrm>
          <a:prstGeom prst="rect">
            <a:avLst/>
          </a:prstGeom>
        </p:spPr>
      </p:pic>
      <p:pic>
        <p:nvPicPr>
          <p:cNvPr id="74" name="Picture 73">
            <a:extLst>
              <a:ext uri="{FF2B5EF4-FFF2-40B4-BE49-F238E27FC236}">
                <a16:creationId xmlns:a16="http://schemas.microsoft.com/office/drawing/2014/main" id="{4A94838F-EC45-42FF-830D-6CA2239EEF0F}"/>
              </a:ext>
            </a:extLst>
          </p:cNvPr>
          <p:cNvPicPr>
            <a:picLocks noChangeAspect="1"/>
          </p:cNvPicPr>
          <p:nvPr/>
        </p:nvPicPr>
        <p:blipFill rotWithShape="1">
          <a:blip r:embed="rId16"/>
          <a:srcRect l="40334" t="10620" r="29368" b="35214"/>
          <a:stretch/>
        </p:blipFill>
        <p:spPr>
          <a:xfrm>
            <a:off x="9583133" y="3615976"/>
            <a:ext cx="1032154" cy="1064059"/>
          </a:xfrm>
          <a:prstGeom prst="rect">
            <a:avLst/>
          </a:prstGeom>
        </p:spPr>
      </p:pic>
      <p:pic>
        <p:nvPicPr>
          <p:cNvPr id="76" name="Picture 75">
            <a:extLst>
              <a:ext uri="{FF2B5EF4-FFF2-40B4-BE49-F238E27FC236}">
                <a16:creationId xmlns:a16="http://schemas.microsoft.com/office/drawing/2014/main" id="{960A7D79-1433-4248-93AB-4B53E4B0EC2E}"/>
              </a:ext>
            </a:extLst>
          </p:cNvPr>
          <p:cNvPicPr>
            <a:picLocks noChangeAspect="1"/>
          </p:cNvPicPr>
          <p:nvPr/>
        </p:nvPicPr>
        <p:blipFill rotWithShape="1">
          <a:blip r:embed="rId17"/>
          <a:srcRect l="43821" t="12099" r="29016" b="40001"/>
          <a:stretch/>
        </p:blipFill>
        <p:spPr>
          <a:xfrm>
            <a:off x="8164545" y="5078755"/>
            <a:ext cx="1033200" cy="1214219"/>
          </a:xfrm>
          <a:prstGeom prst="rect">
            <a:avLst/>
          </a:prstGeom>
        </p:spPr>
      </p:pic>
    </p:spTree>
    <p:extLst>
      <p:ext uri="{BB962C8B-B14F-4D97-AF65-F5344CB8AC3E}">
        <p14:creationId xmlns:p14="http://schemas.microsoft.com/office/powerpoint/2010/main" val="6139536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_BASF_CONVERTED_TO_TAGS" val="1"/>
</p:tagLst>
</file>

<file path=ppt/tags/tag10.xml><?xml version="1.0" encoding="utf-8"?>
<p:tagLst xmlns:a="http://schemas.openxmlformats.org/drawingml/2006/main" xmlns:r="http://schemas.openxmlformats.org/officeDocument/2006/relationships" xmlns:p="http://schemas.openxmlformats.org/presentationml/2006/main">
  <p:tag name="WIZPLACEHOLDER" val="1"/>
</p:tagLst>
</file>

<file path=ppt/tags/tag11.xml><?xml version="1.0" encoding="utf-8"?>
<p:tagLst xmlns:a="http://schemas.openxmlformats.org/drawingml/2006/main" xmlns:r="http://schemas.openxmlformats.org/officeDocument/2006/relationships" xmlns:p="http://schemas.openxmlformats.org/presentationml/2006/main">
  <p:tag name="WIZPLACEHOLDER" val="1"/>
</p:tagLst>
</file>

<file path=ppt/tags/tag12.xml><?xml version="1.0" encoding="utf-8"?>
<p:tagLst xmlns:a="http://schemas.openxmlformats.org/drawingml/2006/main" xmlns:r="http://schemas.openxmlformats.org/officeDocument/2006/relationships" xmlns:p="http://schemas.openxmlformats.org/presentationml/2006/main">
  <p:tag name="WIZPLACEHOLDER" val="1"/>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POSITION" val="0/0,6/25,39/3,8"/>
  <p:tag name="LOCKED" val="1"/>
</p:tagLst>
</file>

<file path=ppt/tags/tag15.xml><?xml version="1.0" encoding="utf-8"?>
<p:tagLst xmlns:a="http://schemas.openxmlformats.org/drawingml/2006/main" xmlns:r="http://schemas.openxmlformats.org/officeDocument/2006/relationships" xmlns:p="http://schemas.openxmlformats.org/presentationml/2006/main">
  <p:tag name="POSITION" val="5/1,8/19,8/2,37"/>
  <p:tag name="LOCKED" val="1"/>
  <p:tag name="WIZSHAPE" val="WizShape"/>
  <p:tag name="VISIBLE" val="System.Xml.XmlAttribute"/>
</p:tagLst>
</file>

<file path=ppt/tags/tag16.xml><?xml version="1.0" encoding="utf-8"?>
<p:tagLst xmlns:a="http://schemas.openxmlformats.org/drawingml/2006/main" xmlns:r="http://schemas.openxmlformats.org/officeDocument/2006/relationships" xmlns:p="http://schemas.openxmlformats.org/presentationml/2006/main">
  <p:tag name="POSITION" val="5/1,8/19,8/2,37"/>
  <p:tag name="LOCKED" val="1"/>
  <p:tag name="WIZSHAPE" val="WizShape"/>
  <p:tag name="VISIBLE" val="System.Xml.XmlAttribute"/>
</p:tagLst>
</file>

<file path=ppt/tags/tag17.xml><?xml version="1.0" encoding="utf-8"?>
<p:tagLst xmlns:a="http://schemas.openxmlformats.org/drawingml/2006/main" xmlns:r="http://schemas.openxmlformats.org/officeDocument/2006/relationships" xmlns:p="http://schemas.openxmlformats.org/presentationml/2006/main">
  <p:tag name="POSITION" val="5/1,8/19,8/2,37"/>
  <p:tag name="LOCKED" val="1"/>
  <p:tag name="WIZSHAPE" val="WizShape"/>
  <p:tag name="VISIBLE" val="System.Xml.XmlAttribu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POSITION" val="0/0,6/25,39/3,8"/>
  <p:tag name="LOCKED" val="1"/>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x4OYsNQHRAmtop3dN5vuw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POSITION" val="0/0,6/25,39/3,8"/>
  <p:tag name="LOCKED" val="1"/>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WIZPLACEHOLDER" val="1"/>
</p:tagLst>
</file>

<file path=ppt/tags/tag9.xml><?xml version="1.0" encoding="utf-8"?>
<p:tagLst xmlns:a="http://schemas.openxmlformats.org/drawingml/2006/main" xmlns:r="http://schemas.openxmlformats.org/officeDocument/2006/relationships" xmlns:p="http://schemas.openxmlformats.org/presentationml/2006/main">
  <p:tag name="WIZPLACEHOLDER" val="1"/>
</p:tagLst>
</file>

<file path=ppt/theme/theme1.xml><?xml version="1.0" encoding="utf-8"?>
<a:theme xmlns:a="http://schemas.openxmlformats.org/drawingml/2006/main" name="Top Banner">
  <a:themeElements>
    <a:clrScheme name="Blue Warm">
      <a:dk1>
        <a:srgbClr val="000000"/>
      </a:dk1>
      <a:lt1>
        <a:srgbClr val="FFFFFF"/>
      </a:lt1>
      <a:dk2>
        <a:srgbClr val="002875"/>
      </a:dk2>
      <a:lt2>
        <a:srgbClr val="FFFFFF"/>
      </a:lt2>
      <a:accent1>
        <a:srgbClr val="004A96"/>
      </a:accent1>
      <a:accent2>
        <a:srgbClr val="4472AA"/>
      </a:accent2>
      <a:accent3>
        <a:srgbClr val="7CA0C6"/>
      </a:accent3>
      <a:accent4>
        <a:srgbClr val="A6C0DA"/>
      </a:accent4>
      <a:accent5>
        <a:srgbClr val="E0E9F2"/>
      </a:accent5>
      <a:accent6>
        <a:srgbClr val="808080"/>
      </a:accent6>
      <a:hlink>
        <a:srgbClr val="0000FF"/>
      </a:hlink>
      <a:folHlink>
        <a:srgbClr val="800080"/>
      </a:folHlink>
    </a:clrScheme>
    <a:fontScheme name="Garamond">
      <a:majorFont>
        <a:latin typeface="Garamond" panose="02020404030301010803"/>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Garamond" panose="02020404030301010803"/>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BASF_FolienDesign_V10">
  <a:themeElements>
    <a:clrScheme name="01 BASF darkblue_colorsheme">
      <a:dk1>
        <a:srgbClr val="000000"/>
      </a:dk1>
      <a:lt1>
        <a:srgbClr val="FFFFFF"/>
      </a:lt1>
      <a:dk2>
        <a:srgbClr val="002875"/>
      </a:dk2>
      <a:lt2>
        <a:srgbClr val="FFFFFF"/>
      </a:lt2>
      <a:accent1>
        <a:srgbClr val="004A96"/>
      </a:accent1>
      <a:accent2>
        <a:srgbClr val="4472AA"/>
      </a:accent2>
      <a:accent3>
        <a:srgbClr val="7CA0C6"/>
      </a:accent3>
      <a:accent4>
        <a:srgbClr val="A6C0DA"/>
      </a:accent4>
      <a:accent5>
        <a:srgbClr val="E0E9F2"/>
      </a:accent5>
      <a:accent6>
        <a:srgbClr val="808080"/>
      </a:accent6>
      <a:hlink>
        <a:srgbClr val="0000FF"/>
      </a:hlink>
      <a:folHlink>
        <a:srgbClr val="800080"/>
      </a:folHlink>
    </a:clrScheme>
    <a:fontScheme name="Arial">
      <a:majorFont>
        <a:latin typeface="Arial" panose="020B0604020202020204"/>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defRPr dirty="0" err="1" smtClean="0"/>
        </a:defPPr>
      </a:lstStyle>
    </a:txDef>
  </a:objectDefaults>
  <a:extraClrSchemeLst/>
  <a:custClrLst>
    <a:custClr>
      <a:srgbClr val="F39500"/>
    </a:custClr>
    <a:custClr>
      <a:srgbClr val="F4A134"/>
    </a:custClr>
    <a:custClr>
      <a:srgbClr val="F7B64F"/>
    </a:custClr>
    <a:custClr>
      <a:srgbClr val="FACF8C"/>
    </a:custClr>
    <a:custClr>
      <a:srgbClr val="FDF0DB"/>
    </a:custClr>
    <a:custClr>
      <a:srgbClr val="808080"/>
    </a:custClr>
    <a:custClr>
      <a:srgbClr val="999999"/>
    </a:custClr>
    <a:custClr>
      <a:srgbClr val="666666"/>
    </a:custClr>
    <a:custClr>
      <a:srgbClr val="333333"/>
    </a:custClr>
    <a:custClr>
      <a:srgbClr val="000000"/>
    </a:custClr>
    <a:custClr>
      <a:srgbClr val="C50022"/>
    </a:custClr>
    <a:custClr>
      <a:srgbClr val="CE485C"/>
    </a:custClr>
    <a:custClr>
      <a:srgbClr val="E07789"/>
    </a:custClr>
    <a:custClr>
      <a:srgbClr val="EBA6B2"/>
    </a:custClr>
    <a:custClr>
      <a:srgbClr val="F8E0E4"/>
    </a:custClr>
    <a:custClr>
      <a:srgbClr val="808080"/>
    </a:custClr>
    <a:custClr>
      <a:srgbClr val="999999"/>
    </a:custClr>
    <a:custClr>
      <a:srgbClr val="666666"/>
    </a:custClr>
    <a:custClr>
      <a:srgbClr val="333333"/>
    </a:custClr>
    <a:custClr>
      <a:srgbClr val="000000"/>
    </a:custClr>
    <a:custClr>
      <a:srgbClr val="21A0D2"/>
    </a:custClr>
    <a:custClr>
      <a:srgbClr val="4EABD6"/>
    </a:custClr>
    <a:custClr>
      <a:srgbClr val="75C4E3"/>
    </a:custClr>
    <a:custClr>
      <a:srgbClr val="9BD4EB"/>
    </a:custClr>
    <a:custClr>
      <a:srgbClr val="DAEFF8"/>
    </a:custClr>
    <a:custClr>
      <a:srgbClr val="808080"/>
    </a:custClr>
    <a:custClr>
      <a:srgbClr val="999999"/>
    </a:custClr>
    <a:custClr>
      <a:srgbClr val="666666"/>
    </a:custClr>
    <a:custClr>
      <a:srgbClr val="333333"/>
    </a:custClr>
    <a:custClr>
      <a:srgbClr val="000000"/>
    </a:custClr>
    <a:custClr>
      <a:srgbClr val="65AC1E"/>
    </a:custClr>
    <a:custClr>
      <a:srgbClr val="7EB74A"/>
    </a:custClr>
    <a:custClr>
      <a:srgbClr val="95C664"/>
    </a:custClr>
    <a:custClr>
      <a:srgbClr val="BADA9A"/>
    </a:custClr>
    <a:custClr>
      <a:srgbClr val="E9F3DE"/>
    </a:custClr>
    <a:custClr>
      <a:srgbClr val="808080"/>
    </a:custClr>
    <a:custClr>
      <a:srgbClr val="999999"/>
    </a:custClr>
    <a:custClr>
      <a:srgbClr val="666666"/>
    </a:custClr>
    <a:custClr>
      <a:srgbClr val="333333"/>
    </a:custClr>
    <a:custClr>
      <a:srgbClr val="000000"/>
    </a:custClr>
    <a:custClr>
      <a:srgbClr val="00793A"/>
    </a:custClr>
    <a:custClr>
      <a:srgbClr val="379665"/>
    </a:custClr>
    <a:custClr>
      <a:srgbClr val="62AC86"/>
    </a:custClr>
    <a:custClr>
      <a:srgbClr val="A6D0BA"/>
    </a:custClr>
    <a:custClr>
      <a:srgbClr val="E0EFE7"/>
    </a:custClr>
    <a:custClr>
      <a:srgbClr val="808080"/>
    </a:custClr>
    <a:custClr>
      <a:srgbClr val="999999"/>
    </a:custClr>
    <a:custClr>
      <a:srgbClr val="666666"/>
    </a:custClr>
    <a:custClr>
      <a:srgbClr val="333333"/>
    </a:custClr>
    <a:custClr>
      <a:srgbClr val="000000"/>
    </a:custClr>
  </a:custClrLst>
  <a:extLst>
    <a:ext uri="{05A4C25C-085E-4340-85A3-A5531E510DB2}">
      <thm15:themeFamily xmlns:thm15="http://schemas.microsoft.com/office/thememl/2012/main" name="Präsentation6" id="{037919FB-2303-452E-8E3D-95DA4141C5AB}" vid="{EE6271D4-6DD1-48C3-A2A3-817EBE0B4B94}"/>
    </a:ext>
  </a:extLst>
</a:theme>
</file>

<file path=ppt/theme/theme3.xml><?xml version="1.0" encoding="utf-8"?>
<a:theme xmlns:a="http://schemas.openxmlformats.org/drawingml/2006/main" name="1_Top Banner">
  <a:themeElements>
    <a:clrScheme name="Office Theme">
      <a:dk1>
        <a:srgbClr val="000000"/>
      </a:dk1>
      <a:lt1>
        <a:srgbClr val="FFFFFF"/>
      </a:lt1>
      <a:dk2>
        <a:srgbClr val="002875"/>
      </a:dk2>
      <a:lt2>
        <a:srgbClr val="FFFFFF"/>
      </a:lt2>
      <a:accent1>
        <a:srgbClr val="004A96"/>
      </a:accent1>
      <a:accent2>
        <a:srgbClr val="4472AA"/>
      </a:accent2>
      <a:accent3>
        <a:srgbClr val="7CA0C6"/>
      </a:accent3>
      <a:accent4>
        <a:srgbClr val="A6C0DA"/>
      </a:accent4>
      <a:accent5>
        <a:srgbClr val="E0E9F2"/>
      </a:accent5>
      <a:accent6>
        <a:srgbClr val="808080"/>
      </a:accent6>
      <a:hlink>
        <a:srgbClr val="0000FF"/>
      </a:hlink>
      <a:folHlink>
        <a:srgbClr val="800080"/>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BASF_Finale_V10">
  <a:themeElements>
    <a:clrScheme name="Larissa">
      <a:dk1>
        <a:srgbClr val="000000"/>
      </a:dk1>
      <a:lt1>
        <a:srgbClr val="FFFFFF"/>
      </a:lt1>
      <a:dk2>
        <a:srgbClr val="002875"/>
      </a:dk2>
      <a:lt2>
        <a:srgbClr val="FFFFFF"/>
      </a:lt2>
      <a:accent1>
        <a:srgbClr val="004A96"/>
      </a:accent1>
      <a:accent2>
        <a:srgbClr val="4472AA"/>
      </a:accent2>
      <a:accent3>
        <a:srgbClr val="7CA0C6"/>
      </a:accent3>
      <a:accent4>
        <a:srgbClr val="A6C0DA"/>
      </a:accent4>
      <a:accent5>
        <a:srgbClr val="E0E9F2"/>
      </a:accent5>
      <a:accent6>
        <a:srgbClr val="808080"/>
      </a:accent6>
      <a:hlink>
        <a:srgbClr val="0000FF"/>
      </a:hlink>
      <a:folHlink>
        <a:srgbClr val="800080"/>
      </a:folHlink>
    </a:clrScheme>
    <a:fontScheme name="BASF">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BASF_Finale_V10" id="{03DD7B2E-C5B6-4C75-BDCC-F89119E3C33D}" vid="{A04FD191-080D-494D-B2DB-800F6FA11398}"/>
    </a:ext>
  </a:extLst>
</a:theme>
</file>

<file path=ppt/theme/theme5.xml><?xml version="1.0" encoding="utf-8"?>
<a:theme xmlns:a="http://schemas.openxmlformats.org/drawingml/2006/main" name="2_Top Banner">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Garamond">
      <a:majorFont>
        <a:latin typeface="Garamond" panose="02020404030301010803"/>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Garamond" panose="02020404030301010803"/>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BASF_TitelDesign">
  <a:themeElements>
    <a:clrScheme name="BASF_colour_darkblue">
      <a:dk1>
        <a:srgbClr val="000000"/>
      </a:dk1>
      <a:lt1>
        <a:srgbClr val="FFFFFF"/>
      </a:lt1>
      <a:dk2>
        <a:srgbClr val="002875"/>
      </a:dk2>
      <a:lt2>
        <a:srgbClr val="FFFFFF"/>
      </a:lt2>
      <a:accent1>
        <a:srgbClr val="004A96"/>
      </a:accent1>
      <a:accent2>
        <a:srgbClr val="4472AA"/>
      </a:accent2>
      <a:accent3>
        <a:srgbClr val="7CA0C6"/>
      </a:accent3>
      <a:accent4>
        <a:srgbClr val="A6C0DA"/>
      </a:accent4>
      <a:accent5>
        <a:srgbClr val="E0E9F2"/>
      </a:accent5>
      <a:accent6>
        <a:srgbClr val="808080"/>
      </a:accent6>
      <a:hlink>
        <a:srgbClr val="F39500"/>
      </a:hlink>
      <a:folHlink>
        <a:srgbClr val="FACF8C"/>
      </a:folHlink>
    </a:clrScheme>
    <a:fontScheme name="Larissa Klassisch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fontScheme name="Arial">
    <a:majorFont>
      <a:latin typeface="Arial" panose="020B0604020202020204"/>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themeOverride>
</file>

<file path=docProps/app.xml><?xml version="1.0" encoding="utf-8"?>
<Properties xmlns="http://schemas.openxmlformats.org/officeDocument/2006/extended-properties" xmlns:vt="http://schemas.openxmlformats.org/officeDocument/2006/docPropsVTypes">
  <Template/>
  <TotalTime>0</TotalTime>
  <Words>727</Words>
  <Application>Microsoft Office PowerPoint</Application>
  <PresentationFormat>Widescreen</PresentationFormat>
  <Paragraphs>133</Paragraphs>
  <Slides>10</Slides>
  <Notes>3</Notes>
  <HiddenSlides>0</HiddenSlides>
  <MMClips>0</MMClips>
  <ScaleCrop>false</ScaleCrop>
  <HeadingPairs>
    <vt:vector size="8" baseType="variant">
      <vt:variant>
        <vt:lpstr>Fonts Used</vt:lpstr>
      </vt:variant>
      <vt:variant>
        <vt:i4>13</vt:i4>
      </vt:variant>
      <vt:variant>
        <vt:lpstr>Theme</vt:lpstr>
      </vt:variant>
      <vt:variant>
        <vt:i4>6</vt:i4>
      </vt:variant>
      <vt:variant>
        <vt:lpstr>Embedded OLE Servers</vt:lpstr>
      </vt:variant>
      <vt:variant>
        <vt:i4>1</vt:i4>
      </vt:variant>
      <vt:variant>
        <vt:lpstr>Slide Titles</vt:lpstr>
      </vt:variant>
      <vt:variant>
        <vt:i4>10</vt:i4>
      </vt:variant>
    </vt:vector>
  </HeadingPairs>
  <TitlesOfParts>
    <vt:vector size="30" baseType="lpstr">
      <vt:lpstr>KaiTi</vt:lpstr>
      <vt:lpstr>等线</vt:lpstr>
      <vt:lpstr>等线 Light</vt:lpstr>
      <vt:lpstr>方正舒体</vt:lpstr>
      <vt:lpstr>华文楷体</vt:lpstr>
      <vt:lpstr>楷体</vt:lpstr>
      <vt:lpstr>Arial</vt:lpstr>
      <vt:lpstr>Calibri</vt:lpstr>
      <vt:lpstr>Calibri Light</vt:lpstr>
      <vt:lpstr>Garamond</vt:lpstr>
      <vt:lpstr>Palatino Linotype</vt:lpstr>
      <vt:lpstr>Wingdings</vt:lpstr>
      <vt:lpstr>Wingdings 3</vt:lpstr>
      <vt:lpstr>Top Banner</vt:lpstr>
      <vt:lpstr>BASF_FolienDesign_V10</vt:lpstr>
      <vt:lpstr>1_Top Banner</vt:lpstr>
      <vt:lpstr>BASF_Finale_V10</vt:lpstr>
      <vt:lpstr>2_Top Banner</vt:lpstr>
      <vt:lpstr>BASF_TitelDesign</vt:lpstr>
      <vt:lpstr>think-cell Folie</vt:lpstr>
      <vt:lpstr>PowerPoint Presentation</vt:lpstr>
      <vt:lpstr>PowerPoint Presentation</vt:lpstr>
      <vt:lpstr>PowerPoint Presentation</vt:lpstr>
      <vt:lpstr>PowerPoint Presentation</vt:lpstr>
      <vt:lpstr>PowerPoint Presentation</vt:lpstr>
      <vt:lpstr>PowerPoint Presentation</vt:lpstr>
      <vt:lpstr>团队概况</vt:lpstr>
      <vt:lpstr>2017-2019年部分被投企业</vt:lpstr>
      <vt:lpstr>Contact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user</dc:creator>
  <cp:lastModifiedBy>Han QIN</cp:lastModifiedBy>
  <cp:revision>530</cp:revision>
  <cp:lastPrinted>2018-08-22T07:07:01Z</cp:lastPrinted>
  <dcterms:created xsi:type="dcterms:W3CDTF">2018-08-14T13:42:08Z</dcterms:created>
  <dcterms:modified xsi:type="dcterms:W3CDTF">2019-06-20T06:27: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lassification_to_AIP">
    <vt:i4>0</vt:i4>
  </property>
</Properties>
</file>